
<file path=[Content_Types].xml><?xml version="1.0" encoding="utf-8"?>
<Types xmlns="http://schemas.openxmlformats.org/package/2006/content-types">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sldIdLst>
    <p:sldId id="256" r:id="rId5"/>
    <p:sldId id="2147479602" r:id="rId6"/>
    <p:sldId id="2076137167" r:id="rId7"/>
    <p:sldId id="264" r:id="rId8"/>
    <p:sldId id="2076137165" r:id="rId9"/>
    <p:sldId id="2076137400" r:id="rId10"/>
    <p:sldId id="258" r:id="rId11"/>
    <p:sldId id="2147479608" r:id="rId12"/>
    <p:sldId id="2147479609" r:id="rId13"/>
    <p:sldId id="288" r:id="rId14"/>
    <p:sldId id="2076137168" r:id="rId15"/>
    <p:sldId id="2147479605" r:id="rId16"/>
    <p:sldId id="2147479607" r:id="rId17"/>
    <p:sldId id="2147479606" r:id="rId18"/>
    <p:sldId id="2076137407"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93B610-7C7C-00DF-8314-89AF58D8FA2F}" name="Jonathan Leon" initials="JL" userId="S::jonathan.leon@accelirate.com::2ce68458-9b08-4737-bc10-9e264b6529a5" providerId="AD"/>
  <p188:author id="{55FB163D-0DFA-5188-C7BB-5BB80CF6D2CB}" name="Amos Ford" initials="AF" userId="S::amos.ford@accelirate.com::5eddffe8-7cad-4eb1-aef8-69cb9024c0d9" providerId="AD"/>
  <p188:author id="{E1B0ED67-EA81-CA2D-6009-557D655C7F4A}" name="Isel Tula Gonzalez" initials="" userId="S::isel.tula@accelirate.com::edecd9bf-fb3a-4d61-856b-1e4afd590d78" providerId="AD"/>
  <p188:author id="{2B74E9BD-B50E-1EAB-6AE0-E92DD78EC29B}" name="Jonathan Leon" initials="JL" userId="Jonathan Leo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51DF"/>
    <a:srgbClr val="DCEBFF"/>
    <a:srgbClr val="FFFFFF"/>
    <a:srgbClr val="BFBFBF"/>
    <a:srgbClr val="F6F9FF"/>
    <a:srgbClr val="35A1F8"/>
    <a:srgbClr val="71A2FF"/>
    <a:srgbClr val="595959"/>
    <a:srgbClr val="40B4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6D056C-CD1E-4019-8550-1028FA6DC340}" v="124" dt="2025-09-26T17:05:18.795"/>
    <p1510:client id="{22BC007D-05DB-D2BE-B30E-BA993E1F657B}" v="187" dt="2025-09-26T17:01:59.826"/>
    <p1510:client id="{3494C97C-F886-4E08-B332-3AEB98512791}" v="73" dt="2025-09-26T20:41:04.418"/>
    <p1510:client id="{4F3EBC56-990E-F6C5-B296-D939830131B2}" v="210" dt="2025-09-26T15:22:29.002"/>
    <p1510:client id="{AF7A7335-7D9F-BBBB-5A01-4221F58D570C}" v="11" dt="2025-09-26T16:08:56.747"/>
    <p1510:client id="{C5B680E6-B7EB-B49A-82A3-B9D8E833557D}" v="124" dt="2025-09-26T20:29:18.615"/>
    <p1510:client id="{C7875A67-AC5A-2AD1-0075-4280AC107D86}" v="1" dt="2025-09-26T14:47:32.729"/>
    <p1510:client id="{D42EF85E-0FBE-4767-93FD-B93CCACB4775}" v="4" dt="2025-09-26T21:12:59.1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7" d="100"/>
          <a:sy n="97" d="100"/>
        </p:scale>
        <p:origin x="1074"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a Alejandra Gomez" userId="S::maria.gomez@accelirate.com::384863ea-e335-4b5c-b2eb-08a7ddbf02c9" providerId="AD" clId="Web-{04B17F4B-49F5-882B-CC5D-A2498495D64A}"/>
    <pc:docChg chg="delSld">
      <pc:chgData name="Maria Alejandra Gomez" userId="S::maria.gomez@accelirate.com::384863ea-e335-4b5c-b2eb-08a7ddbf02c9" providerId="AD" clId="Web-{04B17F4B-49F5-882B-CC5D-A2498495D64A}" dt="2025-09-16T20:51:24.583" v="1"/>
      <pc:docMkLst>
        <pc:docMk/>
      </pc:docMkLst>
    </pc:docChg>
  </pc:docChgLst>
  <pc:docChgLst>
    <pc:chgData name="Aaron Arsenault" userId="S::aaron.arsenault@accelirate.com::364a9df8-2241-4005-8ffd-d26281e42ef3" providerId="AD" clId="Web-{C7875A67-AC5A-2AD1-0075-4280AC107D86}"/>
    <pc:docChg chg="sldOrd">
      <pc:chgData name="Aaron Arsenault" userId="S::aaron.arsenault@accelirate.com::364a9df8-2241-4005-8ffd-d26281e42ef3" providerId="AD" clId="Web-{C7875A67-AC5A-2AD1-0075-4280AC107D86}" dt="2025-09-26T14:47:32.729" v="0"/>
      <pc:docMkLst>
        <pc:docMk/>
      </pc:docMkLst>
      <pc:sldChg chg="ord">
        <pc:chgData name="Aaron Arsenault" userId="S::aaron.arsenault@accelirate.com::364a9df8-2241-4005-8ffd-d26281e42ef3" providerId="AD" clId="Web-{C7875A67-AC5A-2AD1-0075-4280AC107D86}" dt="2025-09-26T14:47:32.729" v="0"/>
        <pc:sldMkLst>
          <pc:docMk/>
          <pc:sldMk cId="0" sldId="288"/>
        </pc:sldMkLst>
      </pc:sldChg>
    </pc:docChg>
  </pc:docChgLst>
  <pc:docChgLst>
    <pc:chgData name="Maria Alejandra Gomez" userId="S::maria.gomez@accelirate.com::384863ea-e335-4b5c-b2eb-08a7ddbf02c9" providerId="AD" clId="Web-{4F3EBC56-990E-F6C5-B296-D939830131B2}"/>
    <pc:docChg chg="addSld delSld modSld sldOrd">
      <pc:chgData name="Maria Alejandra Gomez" userId="S::maria.gomez@accelirate.com::384863ea-e335-4b5c-b2eb-08a7ddbf02c9" providerId="AD" clId="Web-{4F3EBC56-990E-F6C5-B296-D939830131B2}" dt="2025-09-26T15:22:28.377" v="190"/>
      <pc:docMkLst>
        <pc:docMk/>
      </pc:docMkLst>
      <pc:sldChg chg="modSp">
        <pc:chgData name="Maria Alejandra Gomez" userId="S::maria.gomez@accelirate.com::384863ea-e335-4b5c-b2eb-08a7ddbf02c9" providerId="AD" clId="Web-{4F3EBC56-990E-F6C5-B296-D939830131B2}" dt="2025-09-26T14:26:49.310" v="102"/>
        <pc:sldMkLst>
          <pc:docMk/>
          <pc:sldMk cId="1737979954" sldId="258"/>
        </pc:sldMkLst>
        <pc:spChg chg="mod">
          <ac:chgData name="Maria Alejandra Gomez" userId="S::maria.gomez@accelirate.com::384863ea-e335-4b5c-b2eb-08a7ddbf02c9" providerId="AD" clId="Web-{4F3EBC56-990E-F6C5-B296-D939830131B2}" dt="2025-09-26T14:26:49.263" v="100"/>
          <ac:spMkLst>
            <pc:docMk/>
            <pc:sldMk cId="1737979954" sldId="258"/>
            <ac:spMk id="18" creationId="{26E43B2D-2075-0984-2724-C17A4DDEEA32}"/>
          </ac:spMkLst>
        </pc:spChg>
        <pc:spChg chg="mod">
          <ac:chgData name="Maria Alejandra Gomez" userId="S::maria.gomez@accelirate.com::384863ea-e335-4b5c-b2eb-08a7ddbf02c9" providerId="AD" clId="Web-{4F3EBC56-990E-F6C5-B296-D939830131B2}" dt="2025-09-26T14:26:49.263" v="101"/>
          <ac:spMkLst>
            <pc:docMk/>
            <pc:sldMk cId="1737979954" sldId="258"/>
            <ac:spMk id="20" creationId="{7D09CF57-3BF2-C2C6-88F0-693BB2DA64F1}"/>
          </ac:spMkLst>
        </pc:spChg>
        <pc:spChg chg="mod">
          <ac:chgData name="Maria Alejandra Gomez" userId="S::maria.gomez@accelirate.com::384863ea-e335-4b5c-b2eb-08a7ddbf02c9" providerId="AD" clId="Web-{4F3EBC56-990E-F6C5-B296-D939830131B2}" dt="2025-09-26T14:26:49.263" v="99"/>
          <ac:spMkLst>
            <pc:docMk/>
            <pc:sldMk cId="1737979954" sldId="258"/>
            <ac:spMk id="25" creationId="{DE2B0FD3-204F-ED46-3B23-6C0692073617}"/>
          </ac:spMkLst>
        </pc:spChg>
        <pc:spChg chg="mod">
          <ac:chgData name="Maria Alejandra Gomez" userId="S::maria.gomez@accelirate.com::384863ea-e335-4b5c-b2eb-08a7ddbf02c9" providerId="AD" clId="Web-{4F3EBC56-990E-F6C5-B296-D939830131B2}" dt="2025-09-26T14:26:49.310" v="102"/>
          <ac:spMkLst>
            <pc:docMk/>
            <pc:sldMk cId="1737979954" sldId="258"/>
            <ac:spMk id="70" creationId="{9120DA1F-B324-5505-799D-887F59F0A932}"/>
          </ac:spMkLst>
        </pc:spChg>
      </pc:sldChg>
      <pc:sldChg chg="del">
        <pc:chgData name="Maria Alejandra Gomez" userId="S::maria.gomez@accelirate.com::384863ea-e335-4b5c-b2eb-08a7ddbf02c9" providerId="AD" clId="Web-{4F3EBC56-990E-F6C5-B296-D939830131B2}" dt="2025-09-26T14:28:29.034" v="104"/>
        <pc:sldMkLst>
          <pc:docMk/>
          <pc:sldMk cId="1249240104" sldId="260"/>
        </pc:sldMkLst>
      </pc:sldChg>
      <pc:sldChg chg="modSp">
        <pc:chgData name="Maria Alejandra Gomez" userId="S::maria.gomez@accelirate.com::384863ea-e335-4b5c-b2eb-08a7ddbf02c9" providerId="AD" clId="Web-{4F3EBC56-990E-F6C5-B296-D939830131B2}" dt="2025-09-26T14:24:53.289" v="59" actId="1076"/>
        <pc:sldMkLst>
          <pc:docMk/>
          <pc:sldMk cId="2943038519" sldId="264"/>
        </pc:sldMkLst>
        <pc:spChg chg="mod">
          <ac:chgData name="Maria Alejandra Gomez" userId="S::maria.gomez@accelirate.com::384863ea-e335-4b5c-b2eb-08a7ddbf02c9" providerId="AD" clId="Web-{4F3EBC56-990E-F6C5-B296-D939830131B2}" dt="2025-09-26T14:24:53.258" v="58" actId="1076"/>
          <ac:spMkLst>
            <pc:docMk/>
            <pc:sldMk cId="2943038519" sldId="264"/>
            <ac:spMk id="5" creationId="{364B29AA-DEB1-6C2F-1C71-711996446958}"/>
          </ac:spMkLst>
        </pc:spChg>
        <pc:spChg chg="mod">
          <ac:chgData name="Maria Alejandra Gomez" userId="S::maria.gomez@accelirate.com::384863ea-e335-4b5c-b2eb-08a7ddbf02c9" providerId="AD" clId="Web-{4F3EBC56-990E-F6C5-B296-D939830131B2}" dt="2025-09-26T14:05:33.079" v="43" actId="14100"/>
          <ac:spMkLst>
            <pc:docMk/>
            <pc:sldMk cId="2943038519" sldId="264"/>
            <ac:spMk id="16" creationId="{06FB1183-CF1D-FBBB-F98E-22945D2C0D76}"/>
          </ac:spMkLst>
        </pc:spChg>
        <pc:spChg chg="mod">
          <ac:chgData name="Maria Alejandra Gomez" userId="S::maria.gomez@accelirate.com::384863ea-e335-4b5c-b2eb-08a7ddbf02c9" providerId="AD" clId="Web-{4F3EBC56-990E-F6C5-B296-D939830131B2}" dt="2025-09-26T14:24:31.414" v="53" actId="1076"/>
          <ac:spMkLst>
            <pc:docMk/>
            <pc:sldMk cId="2943038519" sldId="264"/>
            <ac:spMk id="19" creationId="{7C468372-C2C6-C697-1CA2-803E8ECDF17E}"/>
          </ac:spMkLst>
        </pc:spChg>
        <pc:spChg chg="mod">
          <ac:chgData name="Maria Alejandra Gomez" userId="S::maria.gomez@accelirate.com::384863ea-e335-4b5c-b2eb-08a7ddbf02c9" providerId="AD" clId="Web-{4F3EBC56-990E-F6C5-B296-D939830131B2}" dt="2025-09-26T14:24:33.305" v="54" actId="1076"/>
          <ac:spMkLst>
            <pc:docMk/>
            <pc:sldMk cId="2943038519" sldId="264"/>
            <ac:spMk id="20" creationId="{AE17CD6C-53EE-423B-9AE4-13D57F201F54}"/>
          </ac:spMkLst>
        </pc:spChg>
        <pc:spChg chg="mod">
          <ac:chgData name="Maria Alejandra Gomez" userId="S::maria.gomez@accelirate.com::384863ea-e335-4b5c-b2eb-08a7ddbf02c9" providerId="AD" clId="Web-{4F3EBC56-990E-F6C5-B296-D939830131B2}" dt="2025-09-26T14:24:40.555" v="56" actId="1076"/>
          <ac:spMkLst>
            <pc:docMk/>
            <pc:sldMk cId="2943038519" sldId="264"/>
            <ac:spMk id="21" creationId="{4D2C970E-50AE-73A0-B21B-93EC0FBFBC95}"/>
          </ac:spMkLst>
        </pc:spChg>
        <pc:spChg chg="mod">
          <ac:chgData name="Maria Alejandra Gomez" userId="S::maria.gomez@accelirate.com::384863ea-e335-4b5c-b2eb-08a7ddbf02c9" providerId="AD" clId="Web-{4F3EBC56-990E-F6C5-B296-D939830131B2}" dt="2025-09-26T14:24:35.805" v="55" actId="1076"/>
          <ac:spMkLst>
            <pc:docMk/>
            <pc:sldMk cId="2943038519" sldId="264"/>
            <ac:spMk id="22" creationId="{C8C860DD-B2E3-875C-B0A0-413DB69F5553}"/>
          </ac:spMkLst>
        </pc:spChg>
        <pc:grpChg chg="mod">
          <ac:chgData name="Maria Alejandra Gomez" userId="S::maria.gomez@accelirate.com::384863ea-e335-4b5c-b2eb-08a7ddbf02c9" providerId="AD" clId="Web-{4F3EBC56-990E-F6C5-B296-D939830131B2}" dt="2025-09-26T14:24:53.289" v="59" actId="1076"/>
          <ac:grpSpMkLst>
            <pc:docMk/>
            <pc:sldMk cId="2943038519" sldId="264"/>
            <ac:grpSpMk id="34" creationId="{66F9B93B-E105-19AC-912B-A0ADB62DCCA5}"/>
          </ac:grpSpMkLst>
        </pc:grpChg>
        <pc:picChg chg="mod modCrop">
          <ac:chgData name="Maria Alejandra Gomez" userId="S::maria.gomez@accelirate.com::384863ea-e335-4b5c-b2eb-08a7ddbf02c9" providerId="AD" clId="Web-{4F3EBC56-990E-F6C5-B296-D939830131B2}" dt="2025-09-26T14:24:46.664" v="57" actId="1076"/>
          <ac:picMkLst>
            <pc:docMk/>
            <pc:sldMk cId="2943038519" sldId="264"/>
            <ac:picMk id="7" creationId="{D27D900D-8B60-E0C5-E118-ED3CB23DADB6}"/>
          </ac:picMkLst>
        </pc:picChg>
      </pc:sldChg>
      <pc:sldChg chg="modSp">
        <pc:chgData name="Maria Alejandra Gomez" userId="S::maria.gomez@accelirate.com::384863ea-e335-4b5c-b2eb-08a7ddbf02c9" providerId="AD" clId="Web-{4F3EBC56-990E-F6C5-B296-D939830131B2}" dt="2025-09-26T14:49:25.177" v="119" actId="1076"/>
        <pc:sldMkLst>
          <pc:docMk/>
          <pc:sldMk cId="0" sldId="288"/>
        </pc:sldMkLst>
        <pc:spChg chg="mod">
          <ac:chgData name="Maria Alejandra Gomez" userId="S::maria.gomez@accelirate.com::384863ea-e335-4b5c-b2eb-08a7ddbf02c9" providerId="AD" clId="Web-{4F3EBC56-990E-F6C5-B296-D939830131B2}" dt="2025-09-26T14:48:59.208" v="118"/>
          <ac:spMkLst>
            <pc:docMk/>
            <pc:sldMk cId="0" sldId="288"/>
            <ac:spMk id="4" creationId="{308E15C3-3C31-20EE-F4D3-754E3C9D3FFA}"/>
          </ac:spMkLst>
        </pc:spChg>
        <pc:spChg chg="mod">
          <ac:chgData name="Maria Alejandra Gomez" userId="S::maria.gomez@accelirate.com::384863ea-e335-4b5c-b2eb-08a7ddbf02c9" providerId="AD" clId="Web-{4F3EBC56-990E-F6C5-B296-D939830131B2}" dt="2025-09-26T14:49:25.177" v="119" actId="1076"/>
          <ac:spMkLst>
            <pc:docMk/>
            <pc:sldMk cId="0" sldId="288"/>
            <ac:spMk id="4777" creationId="{00000000-0000-0000-0000-000000000000}"/>
          </ac:spMkLst>
        </pc:spChg>
      </pc:sldChg>
      <pc:sldChg chg="modSp del">
        <pc:chgData name="Maria Alejandra Gomez" userId="S::maria.gomez@accelirate.com::384863ea-e335-4b5c-b2eb-08a7ddbf02c9" providerId="AD" clId="Web-{4F3EBC56-990E-F6C5-B296-D939830131B2}" dt="2025-09-26T15:22:28.377" v="190"/>
        <pc:sldMkLst>
          <pc:docMk/>
          <pc:sldMk cId="1422042742" sldId="2076137162"/>
        </pc:sldMkLst>
        <pc:spChg chg="mod">
          <ac:chgData name="Maria Alejandra Gomez" userId="S::maria.gomez@accelirate.com::384863ea-e335-4b5c-b2eb-08a7ddbf02c9" providerId="AD" clId="Web-{4F3EBC56-990E-F6C5-B296-D939830131B2}" dt="2025-09-26T15:15:14.571" v="124" actId="20577"/>
          <ac:spMkLst>
            <pc:docMk/>
            <pc:sldMk cId="1422042742" sldId="2076137162"/>
            <ac:spMk id="12" creationId="{7815BB07-E5B4-4AE3-ECC8-780756ED60CC}"/>
          </ac:spMkLst>
        </pc:spChg>
        <pc:spChg chg="mod">
          <ac:chgData name="Maria Alejandra Gomez" userId="S::maria.gomez@accelirate.com::384863ea-e335-4b5c-b2eb-08a7ddbf02c9" providerId="AD" clId="Web-{4F3EBC56-990E-F6C5-B296-D939830131B2}" dt="2025-09-26T15:16:36.573" v="127" actId="20577"/>
          <ac:spMkLst>
            <pc:docMk/>
            <pc:sldMk cId="1422042742" sldId="2076137162"/>
            <ac:spMk id="34" creationId="{9A6E2906-C1EB-D368-7E9B-7DDF47ED5452}"/>
          </ac:spMkLst>
        </pc:spChg>
        <pc:picChg chg="mod">
          <ac:chgData name="Maria Alejandra Gomez" userId="S::maria.gomez@accelirate.com::384863ea-e335-4b5c-b2eb-08a7ddbf02c9" providerId="AD" clId="Web-{4F3EBC56-990E-F6C5-B296-D939830131B2}" dt="2025-09-26T15:19:27.561" v="130"/>
          <ac:picMkLst>
            <pc:docMk/>
            <pc:sldMk cId="1422042742" sldId="2076137162"/>
            <ac:picMk id="5" creationId="{E7576279-76CD-AC97-7763-E7C6AAB56A53}"/>
          </ac:picMkLst>
        </pc:picChg>
      </pc:sldChg>
      <pc:sldChg chg="delSp modSp">
        <pc:chgData name="Maria Alejandra Gomez" userId="S::maria.gomez@accelirate.com::384863ea-e335-4b5c-b2eb-08a7ddbf02c9" providerId="AD" clId="Web-{4F3EBC56-990E-F6C5-B296-D939830131B2}" dt="2025-09-26T14:26:10.011" v="98" actId="1076"/>
        <pc:sldMkLst>
          <pc:docMk/>
          <pc:sldMk cId="1654501947" sldId="2076137165"/>
        </pc:sldMkLst>
        <pc:spChg chg="mod">
          <ac:chgData name="Maria Alejandra Gomez" userId="S::maria.gomez@accelirate.com::384863ea-e335-4b5c-b2eb-08a7ddbf02c9" providerId="AD" clId="Web-{4F3EBC56-990E-F6C5-B296-D939830131B2}" dt="2025-09-26T14:26:09.354" v="76" actId="1076"/>
          <ac:spMkLst>
            <pc:docMk/>
            <pc:sldMk cId="1654501947" sldId="2076137165"/>
            <ac:spMk id="6" creationId="{02F1F23C-C93E-6C33-A8FD-4CBD70A9C867}"/>
          </ac:spMkLst>
        </pc:spChg>
        <pc:spChg chg="mod">
          <ac:chgData name="Maria Alejandra Gomez" userId="S::maria.gomez@accelirate.com::384863ea-e335-4b5c-b2eb-08a7ddbf02c9" providerId="AD" clId="Web-{4F3EBC56-990E-F6C5-B296-D939830131B2}" dt="2025-09-26T14:26:09.370" v="77" actId="1076"/>
          <ac:spMkLst>
            <pc:docMk/>
            <pc:sldMk cId="1654501947" sldId="2076137165"/>
            <ac:spMk id="7" creationId="{BAA8C1F9-3F43-1E12-E95B-588180ABAAE8}"/>
          </ac:spMkLst>
        </pc:spChg>
        <pc:spChg chg="mod">
          <ac:chgData name="Maria Alejandra Gomez" userId="S::maria.gomez@accelirate.com::384863ea-e335-4b5c-b2eb-08a7ddbf02c9" providerId="AD" clId="Web-{4F3EBC56-990E-F6C5-B296-D939830131B2}" dt="2025-09-26T14:26:09.401" v="78" actId="1076"/>
          <ac:spMkLst>
            <pc:docMk/>
            <pc:sldMk cId="1654501947" sldId="2076137165"/>
            <ac:spMk id="8" creationId="{F1494202-672D-B6BF-6B50-700D444BE519}"/>
          </ac:spMkLst>
        </pc:spChg>
        <pc:spChg chg="mod">
          <ac:chgData name="Maria Alejandra Gomez" userId="S::maria.gomez@accelirate.com::384863ea-e335-4b5c-b2eb-08a7ddbf02c9" providerId="AD" clId="Web-{4F3EBC56-990E-F6C5-B296-D939830131B2}" dt="2025-09-26T14:26:09.433" v="79" actId="1076"/>
          <ac:spMkLst>
            <pc:docMk/>
            <pc:sldMk cId="1654501947" sldId="2076137165"/>
            <ac:spMk id="9" creationId="{5FCA153B-02AB-B7E8-7D09-D9FEE42870BC}"/>
          </ac:spMkLst>
        </pc:spChg>
        <pc:spChg chg="mod">
          <ac:chgData name="Maria Alejandra Gomez" userId="S::maria.gomez@accelirate.com::384863ea-e335-4b5c-b2eb-08a7ddbf02c9" providerId="AD" clId="Web-{4F3EBC56-990E-F6C5-B296-D939830131B2}" dt="2025-09-26T14:26:09.511" v="81" actId="1076"/>
          <ac:spMkLst>
            <pc:docMk/>
            <pc:sldMk cId="1654501947" sldId="2076137165"/>
            <ac:spMk id="13" creationId="{B6F24872-224F-9166-57CD-304D8FF8F9BA}"/>
          </ac:spMkLst>
        </pc:spChg>
        <pc:spChg chg="mod">
          <ac:chgData name="Maria Alejandra Gomez" userId="S::maria.gomez@accelirate.com::384863ea-e335-4b5c-b2eb-08a7ddbf02c9" providerId="AD" clId="Web-{4F3EBC56-990E-F6C5-B296-D939830131B2}" dt="2025-09-26T14:25:48.478" v="74"/>
          <ac:spMkLst>
            <pc:docMk/>
            <pc:sldMk cId="1654501947" sldId="2076137165"/>
            <ac:spMk id="14" creationId="{6FBA42AB-69B0-5B61-9B87-A91EC3C86894}"/>
          </ac:spMkLst>
        </pc:spChg>
        <pc:spChg chg="mod">
          <ac:chgData name="Maria Alejandra Gomez" userId="S::maria.gomez@accelirate.com::384863ea-e335-4b5c-b2eb-08a7ddbf02c9" providerId="AD" clId="Web-{4F3EBC56-990E-F6C5-B296-D939830131B2}" dt="2025-09-26T14:26:09.526" v="82" actId="1076"/>
          <ac:spMkLst>
            <pc:docMk/>
            <pc:sldMk cId="1654501947" sldId="2076137165"/>
            <ac:spMk id="16" creationId="{5D9A3462-01FF-5C25-20D8-E6694331D935}"/>
          </ac:spMkLst>
        </pc:spChg>
        <pc:spChg chg="mod">
          <ac:chgData name="Maria Alejandra Gomez" userId="S::maria.gomez@accelirate.com::384863ea-e335-4b5c-b2eb-08a7ddbf02c9" providerId="AD" clId="Web-{4F3EBC56-990E-F6C5-B296-D939830131B2}" dt="2025-09-26T14:26:09.901" v="94" actId="1076"/>
          <ac:spMkLst>
            <pc:docMk/>
            <pc:sldMk cId="1654501947" sldId="2076137165"/>
            <ac:spMk id="17" creationId="{3C9EB38D-4DAE-2D17-EEB3-D9E8C2EE187E}"/>
          </ac:spMkLst>
        </pc:spChg>
        <pc:spChg chg="mod">
          <ac:chgData name="Maria Alejandra Gomez" userId="S::maria.gomez@accelirate.com::384863ea-e335-4b5c-b2eb-08a7ddbf02c9" providerId="AD" clId="Web-{4F3EBC56-990E-F6C5-B296-D939830131B2}" dt="2025-09-26T14:26:09.558" v="83" actId="1076"/>
          <ac:spMkLst>
            <pc:docMk/>
            <pc:sldMk cId="1654501947" sldId="2076137165"/>
            <ac:spMk id="18" creationId="{42A032A7-757F-03EC-F239-22181043E90E}"/>
          </ac:spMkLst>
        </pc:spChg>
        <pc:spChg chg="mod">
          <ac:chgData name="Maria Alejandra Gomez" userId="S::maria.gomez@accelirate.com::384863ea-e335-4b5c-b2eb-08a7ddbf02c9" providerId="AD" clId="Web-{4F3EBC56-990E-F6C5-B296-D939830131B2}" dt="2025-09-26T14:26:09.589" v="84" actId="1076"/>
          <ac:spMkLst>
            <pc:docMk/>
            <pc:sldMk cId="1654501947" sldId="2076137165"/>
            <ac:spMk id="20" creationId="{8C015030-D32A-6D0D-5049-7BD27980A2CF}"/>
          </ac:spMkLst>
        </pc:spChg>
        <pc:spChg chg="mod">
          <ac:chgData name="Maria Alejandra Gomez" userId="S::maria.gomez@accelirate.com::384863ea-e335-4b5c-b2eb-08a7ddbf02c9" providerId="AD" clId="Web-{4F3EBC56-990E-F6C5-B296-D939830131B2}" dt="2025-09-26T14:26:09.933" v="95" actId="1076"/>
          <ac:spMkLst>
            <pc:docMk/>
            <pc:sldMk cId="1654501947" sldId="2076137165"/>
            <ac:spMk id="21" creationId="{CD76C84C-EB14-66FA-A01B-3336B9211D15}"/>
          </ac:spMkLst>
        </pc:spChg>
        <pc:spChg chg="mod">
          <ac:chgData name="Maria Alejandra Gomez" userId="S::maria.gomez@accelirate.com::384863ea-e335-4b5c-b2eb-08a7ddbf02c9" providerId="AD" clId="Web-{4F3EBC56-990E-F6C5-B296-D939830131B2}" dt="2025-09-26T14:26:09.651" v="86" actId="1076"/>
          <ac:spMkLst>
            <pc:docMk/>
            <pc:sldMk cId="1654501947" sldId="2076137165"/>
            <ac:spMk id="23" creationId="{ACBB27EA-38F0-9B76-0BA5-E8D12959B5EB}"/>
          </ac:spMkLst>
        </pc:spChg>
        <pc:spChg chg="mod">
          <ac:chgData name="Maria Alejandra Gomez" userId="S::maria.gomez@accelirate.com::384863ea-e335-4b5c-b2eb-08a7ddbf02c9" providerId="AD" clId="Web-{4F3EBC56-990E-F6C5-B296-D939830131B2}" dt="2025-09-26T14:26:09.683" v="87" actId="1076"/>
          <ac:spMkLst>
            <pc:docMk/>
            <pc:sldMk cId="1654501947" sldId="2076137165"/>
            <ac:spMk id="24" creationId="{6AB1901A-B19C-F586-7AF7-B7045A28E855}"/>
          </ac:spMkLst>
        </pc:spChg>
        <pc:spChg chg="mod">
          <ac:chgData name="Maria Alejandra Gomez" userId="S::maria.gomez@accelirate.com::384863ea-e335-4b5c-b2eb-08a7ddbf02c9" providerId="AD" clId="Web-{4F3EBC56-990E-F6C5-B296-D939830131B2}" dt="2025-09-26T14:26:09.698" v="88" actId="1076"/>
          <ac:spMkLst>
            <pc:docMk/>
            <pc:sldMk cId="1654501947" sldId="2076137165"/>
            <ac:spMk id="26" creationId="{FCFC7F57-6169-F296-6DB8-CEBC5BD4229D}"/>
          </ac:spMkLst>
        </pc:spChg>
        <pc:spChg chg="mod">
          <ac:chgData name="Maria Alejandra Gomez" userId="S::maria.gomez@accelirate.com::384863ea-e335-4b5c-b2eb-08a7ddbf02c9" providerId="AD" clId="Web-{4F3EBC56-990E-F6C5-B296-D939830131B2}" dt="2025-09-26T14:26:09.729" v="89" actId="1076"/>
          <ac:spMkLst>
            <pc:docMk/>
            <pc:sldMk cId="1654501947" sldId="2076137165"/>
            <ac:spMk id="27" creationId="{9F033CDC-01CA-2E24-A666-44984BC479CF}"/>
          </ac:spMkLst>
        </pc:spChg>
        <pc:spChg chg="mod">
          <ac:chgData name="Maria Alejandra Gomez" userId="S::maria.gomez@accelirate.com::384863ea-e335-4b5c-b2eb-08a7ddbf02c9" providerId="AD" clId="Web-{4F3EBC56-990E-F6C5-B296-D939830131B2}" dt="2025-09-26T14:26:09.948" v="96" actId="1076"/>
          <ac:spMkLst>
            <pc:docMk/>
            <pc:sldMk cId="1654501947" sldId="2076137165"/>
            <ac:spMk id="28" creationId="{F9BCC1DF-BE1D-F75E-665E-4CE14D0E6FF6}"/>
          </ac:spMkLst>
        </pc:spChg>
        <pc:spChg chg="mod">
          <ac:chgData name="Maria Alejandra Gomez" userId="S::maria.gomez@accelirate.com::384863ea-e335-4b5c-b2eb-08a7ddbf02c9" providerId="AD" clId="Web-{4F3EBC56-990E-F6C5-B296-D939830131B2}" dt="2025-09-26T14:26:09.979" v="97" actId="1076"/>
          <ac:spMkLst>
            <pc:docMk/>
            <pc:sldMk cId="1654501947" sldId="2076137165"/>
            <ac:spMk id="30" creationId="{9B5A582E-9615-5534-6C3E-482C73221B04}"/>
          </ac:spMkLst>
        </pc:spChg>
        <pc:spChg chg="mod">
          <ac:chgData name="Maria Alejandra Gomez" userId="S::maria.gomez@accelirate.com::384863ea-e335-4b5c-b2eb-08a7ddbf02c9" providerId="AD" clId="Web-{4F3EBC56-990E-F6C5-B296-D939830131B2}" dt="2025-09-26T14:26:10.011" v="98" actId="1076"/>
          <ac:spMkLst>
            <pc:docMk/>
            <pc:sldMk cId="1654501947" sldId="2076137165"/>
            <ac:spMk id="32" creationId="{388F45C7-0A9F-E2C4-9B62-CA89E90E70A9}"/>
          </ac:spMkLst>
        </pc:spChg>
        <pc:spChg chg="del mod">
          <ac:chgData name="Maria Alejandra Gomez" userId="S::maria.gomez@accelirate.com::384863ea-e335-4b5c-b2eb-08a7ddbf02c9" providerId="AD" clId="Web-{4F3EBC56-990E-F6C5-B296-D939830131B2}" dt="2025-09-26T12:41:58.544" v="29"/>
          <ac:spMkLst>
            <pc:docMk/>
            <pc:sldMk cId="1654501947" sldId="2076137165"/>
            <ac:spMk id="38" creationId="{D4228961-AB96-6119-A2CA-BE18E2815DBA}"/>
          </ac:spMkLst>
        </pc:spChg>
        <pc:spChg chg="del mod">
          <ac:chgData name="Maria Alejandra Gomez" userId="S::maria.gomez@accelirate.com::384863ea-e335-4b5c-b2eb-08a7ddbf02c9" providerId="AD" clId="Web-{4F3EBC56-990E-F6C5-B296-D939830131B2}" dt="2025-09-26T12:41:58.544" v="28"/>
          <ac:spMkLst>
            <pc:docMk/>
            <pc:sldMk cId="1654501947" sldId="2076137165"/>
            <ac:spMk id="40" creationId="{EC14801B-1493-96B2-2A98-4E35E2D81AB1}"/>
          </ac:spMkLst>
        </pc:spChg>
        <pc:spChg chg="mod">
          <ac:chgData name="Maria Alejandra Gomez" userId="S::maria.gomez@accelirate.com::384863ea-e335-4b5c-b2eb-08a7ddbf02c9" providerId="AD" clId="Web-{4F3EBC56-990E-F6C5-B296-D939830131B2}" dt="2025-09-26T14:26:09.761" v="90" actId="1076"/>
          <ac:spMkLst>
            <pc:docMk/>
            <pc:sldMk cId="1654501947" sldId="2076137165"/>
            <ac:spMk id="52" creationId="{9EF47D4F-B28D-0872-34FD-053A6E74A341}"/>
          </ac:spMkLst>
        </pc:spChg>
        <pc:spChg chg="mod">
          <ac:chgData name="Maria Alejandra Gomez" userId="S::maria.gomez@accelirate.com::384863ea-e335-4b5c-b2eb-08a7ddbf02c9" providerId="AD" clId="Web-{4F3EBC56-990E-F6C5-B296-D939830131B2}" dt="2025-09-26T14:26:09.808" v="92" actId="1076"/>
          <ac:spMkLst>
            <pc:docMk/>
            <pc:sldMk cId="1654501947" sldId="2076137165"/>
            <ac:spMk id="78" creationId="{5FABD402-8341-CAD6-9654-4CF67EC4D4CD}"/>
          </ac:spMkLst>
        </pc:spChg>
        <pc:grpChg chg="mod">
          <ac:chgData name="Maria Alejandra Gomez" userId="S::maria.gomez@accelirate.com::384863ea-e335-4b5c-b2eb-08a7ddbf02c9" providerId="AD" clId="Web-{4F3EBC56-990E-F6C5-B296-D939830131B2}" dt="2025-09-26T14:26:09.792" v="91" actId="1076"/>
          <ac:grpSpMkLst>
            <pc:docMk/>
            <pc:sldMk cId="1654501947" sldId="2076137165"/>
            <ac:grpSpMk id="68" creationId="{D955922E-7F59-FBF5-999A-6842F65110DC}"/>
          </ac:grpSpMkLst>
        </pc:grpChg>
        <pc:picChg chg="mod">
          <ac:chgData name="Maria Alejandra Gomez" userId="S::maria.gomez@accelirate.com::384863ea-e335-4b5c-b2eb-08a7ddbf02c9" providerId="AD" clId="Web-{4F3EBC56-990E-F6C5-B296-D939830131B2}" dt="2025-09-26T14:26:09.323" v="75" actId="1076"/>
          <ac:picMkLst>
            <pc:docMk/>
            <pc:sldMk cId="1654501947" sldId="2076137165"/>
            <ac:picMk id="4" creationId="{EBF3B750-FD2A-EE30-C4EC-C83105DCBFAF}"/>
          </ac:picMkLst>
        </pc:picChg>
        <pc:picChg chg="mod">
          <ac:chgData name="Maria Alejandra Gomez" userId="S::maria.gomez@accelirate.com::384863ea-e335-4b5c-b2eb-08a7ddbf02c9" providerId="AD" clId="Web-{4F3EBC56-990E-F6C5-B296-D939830131B2}" dt="2025-09-26T14:26:09.870" v="93" actId="1076"/>
          <ac:picMkLst>
            <pc:docMk/>
            <pc:sldMk cId="1654501947" sldId="2076137165"/>
            <ac:picMk id="10" creationId="{39F12B9C-0D8E-5038-27F1-A746D81CA760}"/>
          </ac:picMkLst>
        </pc:picChg>
        <pc:picChg chg="mod">
          <ac:chgData name="Maria Alejandra Gomez" userId="S::maria.gomez@accelirate.com::384863ea-e335-4b5c-b2eb-08a7ddbf02c9" providerId="AD" clId="Web-{4F3EBC56-990E-F6C5-B296-D939830131B2}" dt="2025-09-26T14:26:09.479" v="80" actId="1076"/>
          <ac:picMkLst>
            <pc:docMk/>
            <pc:sldMk cId="1654501947" sldId="2076137165"/>
            <ac:picMk id="11" creationId="{EA853355-2416-8732-E009-6E605005B349}"/>
          </ac:picMkLst>
        </pc:picChg>
        <pc:picChg chg="mod">
          <ac:chgData name="Maria Alejandra Gomez" userId="S::maria.gomez@accelirate.com::384863ea-e335-4b5c-b2eb-08a7ddbf02c9" providerId="AD" clId="Web-{4F3EBC56-990E-F6C5-B296-D939830131B2}" dt="2025-09-26T14:26:09.636" v="85" actId="1076"/>
          <ac:picMkLst>
            <pc:docMk/>
            <pc:sldMk cId="1654501947" sldId="2076137165"/>
            <ac:picMk id="22" creationId="{A5DCF67A-8CA2-BDB9-5C81-DA669A50A0D3}"/>
          </ac:picMkLst>
        </pc:picChg>
      </pc:sldChg>
      <pc:sldChg chg="modSp">
        <pc:chgData name="Maria Alejandra Gomez" userId="S::maria.gomez@accelirate.com::384863ea-e335-4b5c-b2eb-08a7ddbf02c9" providerId="AD" clId="Web-{4F3EBC56-990E-F6C5-B296-D939830131B2}" dt="2025-09-26T14:45:06.190" v="117" actId="1076"/>
        <pc:sldMkLst>
          <pc:docMk/>
          <pc:sldMk cId="2827551352" sldId="2076137168"/>
        </pc:sldMkLst>
        <pc:spChg chg="mod">
          <ac:chgData name="Maria Alejandra Gomez" userId="S::maria.gomez@accelirate.com::384863ea-e335-4b5c-b2eb-08a7ddbf02c9" providerId="AD" clId="Web-{4F3EBC56-990E-F6C5-B296-D939830131B2}" dt="2025-09-26T14:28:53.613" v="105" actId="14100"/>
          <ac:spMkLst>
            <pc:docMk/>
            <pc:sldMk cId="2827551352" sldId="2076137168"/>
            <ac:spMk id="32" creationId="{B0CB8503-DD52-8884-0D30-5635EE496EBB}"/>
          </ac:spMkLst>
        </pc:spChg>
        <pc:spChg chg="mod">
          <ac:chgData name="Maria Alejandra Gomez" userId="S::maria.gomez@accelirate.com::384863ea-e335-4b5c-b2eb-08a7ddbf02c9" providerId="AD" clId="Web-{4F3EBC56-990E-F6C5-B296-D939830131B2}" dt="2025-09-26T14:45:06.003" v="114" actId="1076"/>
          <ac:spMkLst>
            <pc:docMk/>
            <pc:sldMk cId="2827551352" sldId="2076137168"/>
            <ac:spMk id="55" creationId="{62D88683-FEA6-3A38-8300-AE09D3D83820}"/>
          </ac:spMkLst>
        </pc:spChg>
        <pc:spChg chg="mod">
          <ac:chgData name="Maria Alejandra Gomez" userId="S::maria.gomez@accelirate.com::384863ea-e335-4b5c-b2eb-08a7ddbf02c9" providerId="AD" clId="Web-{4F3EBC56-990E-F6C5-B296-D939830131B2}" dt="2025-09-26T14:45:06.050" v="115" actId="1076"/>
          <ac:spMkLst>
            <pc:docMk/>
            <pc:sldMk cId="2827551352" sldId="2076137168"/>
            <ac:spMk id="56" creationId="{69BD02AA-DD28-7590-0B56-D3F1989F75D7}"/>
          </ac:spMkLst>
        </pc:spChg>
        <pc:spChg chg="mod">
          <ac:chgData name="Maria Alejandra Gomez" userId="S::maria.gomez@accelirate.com::384863ea-e335-4b5c-b2eb-08a7ddbf02c9" providerId="AD" clId="Web-{4F3EBC56-990E-F6C5-B296-D939830131B2}" dt="2025-09-26T14:45:06.143" v="116" actId="1076"/>
          <ac:spMkLst>
            <pc:docMk/>
            <pc:sldMk cId="2827551352" sldId="2076137168"/>
            <ac:spMk id="57" creationId="{60072195-EB43-6F09-6C7F-EE470F4B026D}"/>
          </ac:spMkLst>
        </pc:spChg>
        <pc:spChg chg="mod">
          <ac:chgData name="Maria Alejandra Gomez" userId="S::maria.gomez@accelirate.com::384863ea-e335-4b5c-b2eb-08a7ddbf02c9" providerId="AD" clId="Web-{4F3EBC56-990E-F6C5-B296-D939830131B2}" dt="2025-09-26T14:45:06.190" v="117" actId="1076"/>
          <ac:spMkLst>
            <pc:docMk/>
            <pc:sldMk cId="2827551352" sldId="2076137168"/>
            <ac:spMk id="58" creationId="{D4B10042-17AF-6AB0-6000-655FB5236FE8}"/>
          </ac:spMkLst>
        </pc:spChg>
        <pc:cxnChg chg="mod">
          <ac:chgData name="Maria Alejandra Gomez" userId="S::maria.gomez@accelirate.com::384863ea-e335-4b5c-b2eb-08a7ddbf02c9" providerId="AD" clId="Web-{4F3EBC56-990E-F6C5-B296-D939830131B2}" dt="2025-09-26T14:29:21.255" v="111" actId="1076"/>
          <ac:cxnSpMkLst>
            <pc:docMk/>
            <pc:sldMk cId="2827551352" sldId="2076137168"/>
            <ac:cxnSpMk id="13" creationId="{BE5180F6-ECC7-B1D2-3942-5869C9FC281A}"/>
          </ac:cxnSpMkLst>
        </pc:cxnChg>
      </pc:sldChg>
      <pc:sldChg chg="add ord">
        <pc:chgData name="Maria Alejandra Gomez" userId="S::maria.gomez@accelirate.com::384863ea-e335-4b5c-b2eb-08a7ddbf02c9" providerId="AD" clId="Web-{4F3EBC56-990E-F6C5-B296-D939830131B2}" dt="2025-09-26T14:57:59.465" v="120"/>
        <pc:sldMkLst>
          <pc:docMk/>
          <pc:sldMk cId="3066583288" sldId="2076137407"/>
        </pc:sldMkLst>
      </pc:sldChg>
      <pc:sldChg chg="modSp">
        <pc:chgData name="Maria Alejandra Gomez" userId="S::maria.gomez@accelirate.com::384863ea-e335-4b5c-b2eb-08a7ddbf02c9" providerId="AD" clId="Web-{4F3EBC56-990E-F6C5-B296-D939830131B2}" dt="2025-09-26T14:29:47.302" v="112" actId="1076"/>
        <pc:sldMkLst>
          <pc:docMk/>
          <pc:sldMk cId="2818113404" sldId="2147479605"/>
        </pc:sldMkLst>
        <pc:spChg chg="mod">
          <ac:chgData name="Maria Alejandra Gomez" userId="S::maria.gomez@accelirate.com::384863ea-e335-4b5c-b2eb-08a7ddbf02c9" providerId="AD" clId="Web-{4F3EBC56-990E-F6C5-B296-D939830131B2}" dt="2025-09-26T14:29:47.302" v="112" actId="1076"/>
          <ac:spMkLst>
            <pc:docMk/>
            <pc:sldMk cId="2818113404" sldId="2147479605"/>
            <ac:spMk id="14" creationId="{4F39873E-888A-9EBB-8EC5-568DA7460041}"/>
          </ac:spMkLst>
        </pc:spChg>
      </pc:sldChg>
      <pc:sldChg chg="modSp">
        <pc:chgData name="Maria Alejandra Gomez" userId="S::maria.gomez@accelirate.com::384863ea-e335-4b5c-b2eb-08a7ddbf02c9" providerId="AD" clId="Web-{4F3EBC56-990E-F6C5-B296-D939830131B2}" dt="2025-09-26T14:29:58.818" v="113" actId="1076"/>
        <pc:sldMkLst>
          <pc:docMk/>
          <pc:sldMk cId="2934779078" sldId="2147479606"/>
        </pc:sldMkLst>
        <pc:cxnChg chg="mod">
          <ac:chgData name="Maria Alejandra Gomez" userId="S::maria.gomez@accelirate.com::384863ea-e335-4b5c-b2eb-08a7ddbf02c9" providerId="AD" clId="Web-{4F3EBC56-990E-F6C5-B296-D939830131B2}" dt="2025-09-26T14:29:58.818" v="113" actId="1076"/>
          <ac:cxnSpMkLst>
            <pc:docMk/>
            <pc:sldMk cId="2934779078" sldId="2147479606"/>
            <ac:cxnSpMk id="13" creationId="{3090CC3F-1859-9C80-0182-DEC2E7607A5D}"/>
          </ac:cxnSpMkLst>
        </pc:cxnChg>
      </pc:sldChg>
      <pc:sldChg chg="addSp delSp modSp new del">
        <pc:chgData name="Maria Alejandra Gomez" userId="S::maria.gomez@accelirate.com::384863ea-e335-4b5c-b2eb-08a7ddbf02c9" providerId="AD" clId="Web-{4F3EBC56-990E-F6C5-B296-D939830131B2}" dt="2025-09-26T15:19:59.703" v="131"/>
        <pc:sldMkLst>
          <pc:docMk/>
          <pc:sldMk cId="2593221849" sldId="2147479608"/>
        </pc:sldMkLst>
        <pc:spChg chg="del">
          <ac:chgData name="Maria Alejandra Gomez" userId="S::maria.gomez@accelirate.com::384863ea-e335-4b5c-b2eb-08a7ddbf02c9" providerId="AD" clId="Web-{4F3EBC56-990E-F6C5-B296-D939830131B2}" dt="2025-09-26T12:43:56.515" v="31"/>
          <ac:spMkLst>
            <pc:docMk/>
            <pc:sldMk cId="2593221849" sldId="2147479608"/>
            <ac:spMk id="3" creationId="{8EBEB6B7-AB98-0ADB-AA54-623E1BE1578B}"/>
          </ac:spMkLst>
        </pc:spChg>
        <pc:picChg chg="add mod ord">
          <ac:chgData name="Maria Alejandra Gomez" userId="S::maria.gomez@accelirate.com::384863ea-e335-4b5c-b2eb-08a7ddbf02c9" providerId="AD" clId="Web-{4F3EBC56-990E-F6C5-B296-D939830131B2}" dt="2025-09-26T12:53:24.302" v="34" actId="1076"/>
          <ac:picMkLst>
            <pc:docMk/>
            <pc:sldMk cId="2593221849" sldId="2147479608"/>
            <ac:picMk id="4" creationId="{396A9834-8BC2-3185-2915-1CEF55C160D1}"/>
          </ac:picMkLst>
        </pc:picChg>
      </pc:sldChg>
      <pc:sldChg chg="addSp delSp modSp add replId">
        <pc:chgData name="Maria Alejandra Gomez" userId="S::maria.gomez@accelirate.com::384863ea-e335-4b5c-b2eb-08a7ddbf02c9" providerId="AD" clId="Web-{4F3EBC56-990E-F6C5-B296-D939830131B2}" dt="2025-09-26T15:22:15.970" v="189" actId="1076"/>
        <pc:sldMkLst>
          <pc:docMk/>
          <pc:sldMk cId="3541413998" sldId="2147479608"/>
        </pc:sldMkLst>
        <pc:spChg chg="add mod">
          <ac:chgData name="Maria Alejandra Gomez" userId="S::maria.gomez@accelirate.com::384863ea-e335-4b5c-b2eb-08a7ddbf02c9" providerId="AD" clId="Web-{4F3EBC56-990E-F6C5-B296-D939830131B2}" dt="2025-09-26T15:22:15.970" v="189" actId="1076"/>
          <ac:spMkLst>
            <pc:docMk/>
            <pc:sldMk cId="3541413998" sldId="2147479608"/>
            <ac:spMk id="2" creationId="{C2EC9AB1-688C-7920-0B75-7682379E3542}"/>
          </ac:spMkLst>
        </pc:spChg>
        <pc:spChg chg="add mod">
          <ac:chgData name="Maria Alejandra Gomez" userId="S::maria.gomez@accelirate.com::384863ea-e335-4b5c-b2eb-08a7ddbf02c9" providerId="AD" clId="Web-{4F3EBC56-990E-F6C5-B296-D939830131B2}" dt="2025-09-26T15:22:05.173" v="181" actId="14100"/>
          <ac:spMkLst>
            <pc:docMk/>
            <pc:sldMk cId="3541413998" sldId="2147479608"/>
            <ac:spMk id="3" creationId="{3B9214A2-3696-1C76-6A28-1E6CE1660506}"/>
          </ac:spMkLst>
        </pc:spChg>
        <pc:spChg chg="mod">
          <ac:chgData name="Maria Alejandra Gomez" userId="S::maria.gomez@accelirate.com::384863ea-e335-4b5c-b2eb-08a7ddbf02c9" providerId="AD" clId="Web-{4F3EBC56-990E-F6C5-B296-D939830131B2}" dt="2025-09-26T15:22:07.658" v="184" actId="20577"/>
          <ac:spMkLst>
            <pc:docMk/>
            <pc:sldMk cId="3541413998" sldId="2147479608"/>
            <ac:spMk id="4" creationId="{C25075EB-884D-19CE-84FF-C31B11E90A33}"/>
          </ac:spMkLst>
        </pc:spChg>
        <pc:spChg chg="add mod">
          <ac:chgData name="Maria Alejandra Gomez" userId="S::maria.gomez@accelirate.com::384863ea-e335-4b5c-b2eb-08a7ddbf02c9" providerId="AD" clId="Web-{4F3EBC56-990E-F6C5-B296-D939830131B2}" dt="2025-09-26T15:22:10.658" v="186" actId="20577"/>
          <ac:spMkLst>
            <pc:docMk/>
            <pc:sldMk cId="3541413998" sldId="2147479608"/>
            <ac:spMk id="6" creationId="{E7514363-FC90-8E80-9F26-EFCFD85559B4}"/>
          </ac:spMkLst>
        </pc:spChg>
        <pc:spChg chg="del">
          <ac:chgData name="Maria Alejandra Gomez" userId="S::maria.gomez@accelirate.com::384863ea-e335-4b5c-b2eb-08a7ddbf02c9" providerId="AD" clId="Web-{4F3EBC56-990E-F6C5-B296-D939830131B2}" dt="2025-09-26T15:20:15.140" v="150"/>
          <ac:spMkLst>
            <pc:docMk/>
            <pc:sldMk cId="3541413998" sldId="2147479608"/>
            <ac:spMk id="7" creationId="{9502C92B-B5A1-C251-BBEF-724F4CDE2527}"/>
          </ac:spMkLst>
        </pc:spChg>
        <pc:spChg chg="add">
          <ac:chgData name="Maria Alejandra Gomez" userId="S::maria.gomez@accelirate.com::384863ea-e335-4b5c-b2eb-08a7ddbf02c9" providerId="AD" clId="Web-{4F3EBC56-990E-F6C5-B296-D939830131B2}" dt="2025-09-26T15:20:24.156" v="151"/>
          <ac:spMkLst>
            <pc:docMk/>
            <pc:sldMk cId="3541413998" sldId="2147479608"/>
            <ac:spMk id="9" creationId="{A34651A6-D3CA-6072-2D97-E543FCD63B9F}"/>
          </ac:spMkLst>
        </pc:spChg>
        <pc:spChg chg="del">
          <ac:chgData name="Maria Alejandra Gomez" userId="S::maria.gomez@accelirate.com::384863ea-e335-4b5c-b2eb-08a7ddbf02c9" providerId="AD" clId="Web-{4F3EBC56-990E-F6C5-B296-D939830131B2}" dt="2025-09-26T15:20:15.140" v="149"/>
          <ac:spMkLst>
            <pc:docMk/>
            <pc:sldMk cId="3541413998" sldId="2147479608"/>
            <ac:spMk id="12" creationId="{F33FFF7A-F38B-1801-C23A-9860D7EE185F}"/>
          </ac:spMkLst>
        </pc:spChg>
        <pc:spChg chg="del">
          <ac:chgData name="Maria Alejandra Gomez" userId="S::maria.gomez@accelirate.com::384863ea-e335-4b5c-b2eb-08a7ddbf02c9" providerId="AD" clId="Web-{4F3EBC56-990E-F6C5-B296-D939830131B2}" dt="2025-09-26T15:20:15.140" v="148"/>
          <ac:spMkLst>
            <pc:docMk/>
            <pc:sldMk cId="3541413998" sldId="2147479608"/>
            <ac:spMk id="15" creationId="{2DB8190D-C8D5-5146-8D59-432068B8DB1F}"/>
          </ac:spMkLst>
        </pc:spChg>
        <pc:spChg chg="add">
          <ac:chgData name="Maria Alejandra Gomez" userId="S::maria.gomez@accelirate.com::384863ea-e335-4b5c-b2eb-08a7ddbf02c9" providerId="AD" clId="Web-{4F3EBC56-990E-F6C5-B296-D939830131B2}" dt="2025-09-26T15:20:24.156" v="151"/>
          <ac:spMkLst>
            <pc:docMk/>
            <pc:sldMk cId="3541413998" sldId="2147479608"/>
            <ac:spMk id="16" creationId="{B6C7FB16-CFB4-CD30-52C8-5F2558F70437}"/>
          </ac:spMkLst>
        </pc:spChg>
        <pc:spChg chg="del">
          <ac:chgData name="Maria Alejandra Gomez" userId="S::maria.gomez@accelirate.com::384863ea-e335-4b5c-b2eb-08a7ddbf02c9" providerId="AD" clId="Web-{4F3EBC56-990E-F6C5-B296-D939830131B2}" dt="2025-09-26T15:20:15.140" v="147"/>
          <ac:spMkLst>
            <pc:docMk/>
            <pc:sldMk cId="3541413998" sldId="2147479608"/>
            <ac:spMk id="17" creationId="{001362A7-35D5-033A-CEAA-B251AF90FC8F}"/>
          </ac:spMkLst>
        </pc:spChg>
        <pc:spChg chg="add">
          <ac:chgData name="Maria Alejandra Gomez" userId="S::maria.gomez@accelirate.com::384863ea-e335-4b5c-b2eb-08a7ddbf02c9" providerId="AD" clId="Web-{4F3EBC56-990E-F6C5-B296-D939830131B2}" dt="2025-09-26T15:20:24.156" v="151"/>
          <ac:spMkLst>
            <pc:docMk/>
            <pc:sldMk cId="3541413998" sldId="2147479608"/>
            <ac:spMk id="18" creationId="{62E8A102-7A5B-AAB3-9E35-51EDFD9CBEBA}"/>
          </ac:spMkLst>
        </pc:spChg>
        <pc:spChg chg="add">
          <ac:chgData name="Maria Alejandra Gomez" userId="S::maria.gomez@accelirate.com::384863ea-e335-4b5c-b2eb-08a7ddbf02c9" providerId="AD" clId="Web-{4F3EBC56-990E-F6C5-B296-D939830131B2}" dt="2025-09-26T15:20:24.156" v="151"/>
          <ac:spMkLst>
            <pc:docMk/>
            <pc:sldMk cId="3541413998" sldId="2147479608"/>
            <ac:spMk id="20" creationId="{EC510BC2-368A-FE97-93EF-93B7F97C1081}"/>
          </ac:spMkLst>
        </pc:spChg>
        <pc:spChg chg="add">
          <ac:chgData name="Maria Alejandra Gomez" userId="S::maria.gomez@accelirate.com::384863ea-e335-4b5c-b2eb-08a7ddbf02c9" providerId="AD" clId="Web-{4F3EBC56-990E-F6C5-B296-D939830131B2}" dt="2025-09-26T15:20:24.156" v="151"/>
          <ac:spMkLst>
            <pc:docMk/>
            <pc:sldMk cId="3541413998" sldId="2147479608"/>
            <ac:spMk id="21" creationId="{278618BA-986E-2996-AC3A-D7AB980C2065}"/>
          </ac:spMkLst>
        </pc:spChg>
        <pc:spChg chg="add">
          <ac:chgData name="Maria Alejandra Gomez" userId="S::maria.gomez@accelirate.com::384863ea-e335-4b5c-b2eb-08a7ddbf02c9" providerId="AD" clId="Web-{4F3EBC56-990E-F6C5-B296-D939830131B2}" dt="2025-09-26T15:20:24.156" v="151"/>
          <ac:spMkLst>
            <pc:docMk/>
            <pc:sldMk cId="3541413998" sldId="2147479608"/>
            <ac:spMk id="23" creationId="{C3350357-FE98-BA77-D1E7-03ED849D9780}"/>
          </ac:spMkLst>
        </pc:spChg>
        <pc:spChg chg="add">
          <ac:chgData name="Maria Alejandra Gomez" userId="S::maria.gomez@accelirate.com::384863ea-e335-4b5c-b2eb-08a7ddbf02c9" providerId="AD" clId="Web-{4F3EBC56-990E-F6C5-B296-D939830131B2}" dt="2025-09-26T15:20:24.156" v="151"/>
          <ac:spMkLst>
            <pc:docMk/>
            <pc:sldMk cId="3541413998" sldId="2147479608"/>
            <ac:spMk id="24" creationId="{0CAAEBA1-F090-1C1B-8CFF-A8657EEBF225}"/>
          </ac:spMkLst>
        </pc:spChg>
        <pc:spChg chg="del">
          <ac:chgData name="Maria Alejandra Gomez" userId="S::maria.gomez@accelirate.com::384863ea-e335-4b5c-b2eb-08a7ddbf02c9" providerId="AD" clId="Web-{4F3EBC56-990E-F6C5-B296-D939830131B2}" dt="2025-09-26T15:20:10.718" v="145"/>
          <ac:spMkLst>
            <pc:docMk/>
            <pc:sldMk cId="3541413998" sldId="2147479608"/>
            <ac:spMk id="34" creationId="{38A955C2-5E79-B911-E87B-2B66924A036F}"/>
          </ac:spMkLst>
        </pc:spChg>
        <pc:spChg chg="del">
          <ac:chgData name="Maria Alejandra Gomez" userId="S::maria.gomez@accelirate.com::384863ea-e335-4b5c-b2eb-08a7ddbf02c9" providerId="AD" clId="Web-{4F3EBC56-990E-F6C5-B296-D939830131B2}" dt="2025-09-26T15:20:10.703" v="144"/>
          <ac:spMkLst>
            <pc:docMk/>
            <pc:sldMk cId="3541413998" sldId="2147479608"/>
            <ac:spMk id="39" creationId="{BF1045AE-CCC2-5074-EB47-B2D34E715B70}"/>
          </ac:spMkLst>
        </pc:spChg>
        <pc:spChg chg="del">
          <ac:chgData name="Maria Alejandra Gomez" userId="S::maria.gomez@accelirate.com::384863ea-e335-4b5c-b2eb-08a7ddbf02c9" providerId="AD" clId="Web-{4F3EBC56-990E-F6C5-B296-D939830131B2}" dt="2025-09-26T15:20:10.703" v="143"/>
          <ac:spMkLst>
            <pc:docMk/>
            <pc:sldMk cId="3541413998" sldId="2147479608"/>
            <ac:spMk id="40" creationId="{5101A3A3-F1CF-B15A-B57F-487C0373BEA8}"/>
          </ac:spMkLst>
        </pc:spChg>
        <pc:spChg chg="del">
          <ac:chgData name="Maria Alejandra Gomez" userId="S::maria.gomez@accelirate.com::384863ea-e335-4b5c-b2eb-08a7ddbf02c9" providerId="AD" clId="Web-{4F3EBC56-990E-F6C5-B296-D939830131B2}" dt="2025-09-26T15:20:10.703" v="142"/>
          <ac:spMkLst>
            <pc:docMk/>
            <pc:sldMk cId="3541413998" sldId="2147479608"/>
            <ac:spMk id="41" creationId="{5E173574-F0B6-364B-78F4-E5D41688A38A}"/>
          </ac:spMkLst>
        </pc:spChg>
        <pc:spChg chg="del">
          <ac:chgData name="Maria Alejandra Gomez" userId="S::maria.gomez@accelirate.com::384863ea-e335-4b5c-b2eb-08a7ddbf02c9" providerId="AD" clId="Web-{4F3EBC56-990E-F6C5-B296-D939830131B2}" dt="2025-09-26T15:20:10.703" v="141"/>
          <ac:spMkLst>
            <pc:docMk/>
            <pc:sldMk cId="3541413998" sldId="2147479608"/>
            <ac:spMk id="42" creationId="{C5F09232-5AC0-A46E-F484-879383F170A6}"/>
          </ac:spMkLst>
        </pc:spChg>
        <pc:spChg chg="del">
          <ac:chgData name="Maria Alejandra Gomez" userId="S::maria.gomez@accelirate.com::384863ea-e335-4b5c-b2eb-08a7ddbf02c9" providerId="AD" clId="Web-{4F3EBC56-990E-F6C5-B296-D939830131B2}" dt="2025-09-26T15:20:10.703" v="140"/>
          <ac:spMkLst>
            <pc:docMk/>
            <pc:sldMk cId="3541413998" sldId="2147479608"/>
            <ac:spMk id="43" creationId="{963CEF91-F678-A0B9-1C81-2E29CBCAEDA8}"/>
          </ac:spMkLst>
        </pc:spChg>
        <pc:spChg chg="del">
          <ac:chgData name="Maria Alejandra Gomez" userId="S::maria.gomez@accelirate.com::384863ea-e335-4b5c-b2eb-08a7ddbf02c9" providerId="AD" clId="Web-{4F3EBC56-990E-F6C5-B296-D939830131B2}" dt="2025-09-26T15:20:10.703" v="139"/>
          <ac:spMkLst>
            <pc:docMk/>
            <pc:sldMk cId="3541413998" sldId="2147479608"/>
            <ac:spMk id="44" creationId="{1E07AB76-CEF6-DC8F-074A-275E9B405C52}"/>
          </ac:spMkLst>
        </pc:spChg>
        <pc:spChg chg="del">
          <ac:chgData name="Maria Alejandra Gomez" userId="S::maria.gomez@accelirate.com::384863ea-e335-4b5c-b2eb-08a7ddbf02c9" providerId="AD" clId="Web-{4F3EBC56-990E-F6C5-B296-D939830131B2}" dt="2025-09-26T15:20:10.703" v="138"/>
          <ac:spMkLst>
            <pc:docMk/>
            <pc:sldMk cId="3541413998" sldId="2147479608"/>
            <ac:spMk id="45" creationId="{A28CE0A8-1BFB-98D7-D3C0-D5D8FE39E4A2}"/>
          </ac:spMkLst>
        </pc:spChg>
        <pc:spChg chg="del">
          <ac:chgData name="Maria Alejandra Gomez" userId="S::maria.gomez@accelirate.com::384863ea-e335-4b5c-b2eb-08a7ddbf02c9" providerId="AD" clId="Web-{4F3EBC56-990E-F6C5-B296-D939830131B2}" dt="2025-09-26T15:20:10.703" v="137"/>
          <ac:spMkLst>
            <pc:docMk/>
            <pc:sldMk cId="3541413998" sldId="2147479608"/>
            <ac:spMk id="46" creationId="{8F9512AB-F24B-2C97-2E1F-5CAEB4CF9BD9}"/>
          </ac:spMkLst>
        </pc:spChg>
        <pc:spChg chg="del">
          <ac:chgData name="Maria Alejandra Gomez" userId="S::maria.gomez@accelirate.com::384863ea-e335-4b5c-b2eb-08a7ddbf02c9" providerId="AD" clId="Web-{4F3EBC56-990E-F6C5-B296-D939830131B2}" dt="2025-09-26T15:20:10.703" v="136"/>
          <ac:spMkLst>
            <pc:docMk/>
            <pc:sldMk cId="3541413998" sldId="2147479608"/>
            <ac:spMk id="47" creationId="{6C5EA544-D420-7789-23B2-C15EB5E77417}"/>
          </ac:spMkLst>
        </pc:spChg>
        <pc:spChg chg="del">
          <ac:chgData name="Maria Alejandra Gomez" userId="S::maria.gomez@accelirate.com::384863ea-e335-4b5c-b2eb-08a7ddbf02c9" providerId="AD" clId="Web-{4F3EBC56-990E-F6C5-B296-D939830131B2}" dt="2025-09-26T15:20:10.703" v="135"/>
          <ac:spMkLst>
            <pc:docMk/>
            <pc:sldMk cId="3541413998" sldId="2147479608"/>
            <ac:spMk id="48" creationId="{D5915448-ABF3-00B2-8FC4-309CF1C5FA1D}"/>
          </ac:spMkLst>
        </pc:spChg>
        <pc:spChg chg="del">
          <ac:chgData name="Maria Alejandra Gomez" userId="S::maria.gomez@accelirate.com::384863ea-e335-4b5c-b2eb-08a7ddbf02c9" providerId="AD" clId="Web-{4F3EBC56-990E-F6C5-B296-D939830131B2}" dt="2025-09-26T15:20:10.703" v="134"/>
          <ac:spMkLst>
            <pc:docMk/>
            <pc:sldMk cId="3541413998" sldId="2147479608"/>
            <ac:spMk id="49" creationId="{0CF4F1FE-AC46-4EB6-4500-820D95F5E8C4}"/>
          </ac:spMkLst>
        </pc:spChg>
        <pc:spChg chg="del">
          <ac:chgData name="Maria Alejandra Gomez" userId="S::maria.gomez@accelirate.com::384863ea-e335-4b5c-b2eb-08a7ddbf02c9" providerId="AD" clId="Web-{4F3EBC56-990E-F6C5-B296-D939830131B2}" dt="2025-09-26T15:20:10.718" v="146"/>
          <ac:spMkLst>
            <pc:docMk/>
            <pc:sldMk cId="3541413998" sldId="2147479608"/>
            <ac:spMk id="57" creationId="{0A5D3AA1-947E-D943-910B-70349FBC9537}"/>
          </ac:spMkLst>
        </pc:spChg>
        <pc:picChg chg="del">
          <ac:chgData name="Maria Alejandra Gomez" userId="S::maria.gomez@accelirate.com::384863ea-e335-4b5c-b2eb-08a7ddbf02c9" providerId="AD" clId="Web-{4F3EBC56-990E-F6C5-B296-D939830131B2}" dt="2025-09-26T15:20:05.265" v="133"/>
          <ac:picMkLst>
            <pc:docMk/>
            <pc:sldMk cId="3541413998" sldId="2147479608"/>
            <ac:picMk id="5" creationId="{772490C2-6432-499F-0BA6-EF8D08E629ED}"/>
          </ac:picMkLst>
        </pc:picChg>
        <pc:picChg chg="mod">
          <ac:chgData name="Maria Alejandra Gomez" userId="S::maria.gomez@accelirate.com::384863ea-e335-4b5c-b2eb-08a7ddbf02c9" providerId="AD" clId="Web-{4F3EBC56-990E-F6C5-B296-D939830131B2}" dt="2025-09-26T15:20:52.922" v="164" actId="1076"/>
          <ac:picMkLst>
            <pc:docMk/>
            <pc:sldMk cId="3541413998" sldId="2147479608"/>
            <ac:picMk id="51" creationId="{D762DB2F-A47B-A3CA-220D-05AEBEB451B3}"/>
          </ac:picMkLst>
        </pc:picChg>
        <pc:picChg chg="mod">
          <ac:chgData name="Maria Alejandra Gomez" userId="S::maria.gomez@accelirate.com::384863ea-e335-4b5c-b2eb-08a7ddbf02c9" providerId="AD" clId="Web-{4F3EBC56-990E-F6C5-B296-D939830131B2}" dt="2025-09-26T15:20:52.953" v="165" actId="1076"/>
          <ac:picMkLst>
            <pc:docMk/>
            <pc:sldMk cId="3541413998" sldId="2147479608"/>
            <ac:picMk id="54" creationId="{99F0BC4E-1839-58D7-2F61-72D57279253B}"/>
          </ac:picMkLst>
        </pc:picChg>
        <pc:picChg chg="mod">
          <ac:chgData name="Maria Alejandra Gomez" userId="S::maria.gomez@accelirate.com::384863ea-e335-4b5c-b2eb-08a7ddbf02c9" providerId="AD" clId="Web-{4F3EBC56-990E-F6C5-B296-D939830131B2}" dt="2025-09-26T15:20:56.610" v="166" actId="1076"/>
          <ac:picMkLst>
            <pc:docMk/>
            <pc:sldMk cId="3541413998" sldId="2147479608"/>
            <ac:picMk id="55" creationId="{2ADD24BF-FAF2-7F6D-C2D3-4F521F8CA1D5}"/>
          </ac:picMkLst>
        </pc:picChg>
        <pc:picChg chg="mod">
          <ac:chgData name="Maria Alejandra Gomez" userId="S::maria.gomez@accelirate.com::384863ea-e335-4b5c-b2eb-08a7ddbf02c9" providerId="AD" clId="Web-{4F3EBC56-990E-F6C5-B296-D939830131B2}" dt="2025-09-26T15:20:56.641" v="167" actId="1076"/>
          <ac:picMkLst>
            <pc:docMk/>
            <pc:sldMk cId="3541413998" sldId="2147479608"/>
            <ac:picMk id="58" creationId="{4DF2A986-3B75-E12D-F0B2-0994657855BF}"/>
          </ac:picMkLst>
        </pc:picChg>
        <pc:picChg chg="mod">
          <ac:chgData name="Maria Alejandra Gomez" userId="S::maria.gomez@accelirate.com::384863ea-e335-4b5c-b2eb-08a7ddbf02c9" providerId="AD" clId="Web-{4F3EBC56-990E-F6C5-B296-D939830131B2}" dt="2025-09-26T15:22:13.767" v="187" actId="1076"/>
          <ac:picMkLst>
            <pc:docMk/>
            <pc:sldMk cId="3541413998" sldId="2147479608"/>
            <ac:picMk id="59" creationId="{2E5B7EA6-893A-36F8-0EFA-27E58BC35171}"/>
          </ac:picMkLst>
        </pc:picChg>
        <pc:picChg chg="mod">
          <ac:chgData name="Maria Alejandra Gomez" userId="S::maria.gomez@accelirate.com::384863ea-e335-4b5c-b2eb-08a7ddbf02c9" providerId="AD" clId="Web-{4F3EBC56-990E-F6C5-B296-D939830131B2}" dt="2025-09-26T15:22:13.798" v="188" actId="1076"/>
          <ac:picMkLst>
            <pc:docMk/>
            <pc:sldMk cId="3541413998" sldId="2147479608"/>
            <ac:picMk id="60" creationId="{8D96D220-3819-2483-E658-3178EC8758AF}"/>
          </ac:picMkLst>
        </pc:picChg>
        <pc:picChg chg="mod">
          <ac:chgData name="Maria Alejandra Gomez" userId="S::maria.gomez@accelirate.com::384863ea-e335-4b5c-b2eb-08a7ddbf02c9" providerId="AD" clId="Web-{4F3EBC56-990E-F6C5-B296-D939830131B2}" dt="2025-09-26T15:21:08.063" v="170" actId="1076"/>
          <ac:picMkLst>
            <pc:docMk/>
            <pc:sldMk cId="3541413998" sldId="2147479608"/>
            <ac:picMk id="61" creationId="{C9CCFDAD-22FA-BF9F-D942-B7BD4B46227A}"/>
          </ac:picMkLst>
        </pc:picChg>
        <pc:picChg chg="mod">
          <ac:chgData name="Maria Alejandra Gomez" userId="S::maria.gomez@accelirate.com::384863ea-e335-4b5c-b2eb-08a7ddbf02c9" providerId="AD" clId="Web-{4F3EBC56-990E-F6C5-B296-D939830131B2}" dt="2025-09-26T15:21:08.110" v="171" actId="1076"/>
          <ac:picMkLst>
            <pc:docMk/>
            <pc:sldMk cId="3541413998" sldId="2147479608"/>
            <ac:picMk id="63" creationId="{5F935B89-E093-C55E-C5E8-857D4474D51C}"/>
          </ac:picMkLst>
        </pc:picChg>
      </pc:sldChg>
      <pc:sldChg chg="new del">
        <pc:chgData name="Maria Alejandra Gomez" userId="S::maria.gomez@accelirate.com::384863ea-e335-4b5c-b2eb-08a7ddbf02c9" providerId="AD" clId="Web-{4F3EBC56-990E-F6C5-B296-D939830131B2}" dt="2025-09-26T14:58:27.951" v="122"/>
        <pc:sldMkLst>
          <pc:docMk/>
          <pc:sldMk cId="3818195891" sldId="2147479609"/>
        </pc:sldMkLst>
      </pc:sldChg>
    </pc:docChg>
  </pc:docChgLst>
  <pc:docChgLst>
    <pc:chgData name="Nathaniel Lisko" userId="S::nathaniel.lisko@accelirate.com::a0f741b4-96d8-4656-9d9d-6c07055d5893" providerId="AD" clId="Web-{22BC007D-05DB-D2BE-B30E-BA993E1F657B}"/>
    <pc:docChg chg="modSld">
      <pc:chgData name="Nathaniel Lisko" userId="S::nathaniel.lisko@accelirate.com::a0f741b4-96d8-4656-9d9d-6c07055d5893" providerId="AD" clId="Web-{22BC007D-05DB-D2BE-B30E-BA993E1F657B}" dt="2025-09-26T17:01:59.826" v="182" actId="1076"/>
      <pc:docMkLst>
        <pc:docMk/>
      </pc:docMkLst>
      <pc:sldChg chg="addSp delSp modSp">
        <pc:chgData name="Nathaniel Lisko" userId="S::nathaniel.lisko@accelirate.com::a0f741b4-96d8-4656-9d9d-6c07055d5893" providerId="AD" clId="Web-{22BC007D-05DB-D2BE-B30E-BA993E1F657B}" dt="2025-09-26T17:01:59.826" v="182" actId="1076"/>
        <pc:sldMkLst>
          <pc:docMk/>
          <pc:sldMk cId="3541413998" sldId="2147479608"/>
        </pc:sldMkLst>
        <pc:spChg chg="mod">
          <ac:chgData name="Nathaniel Lisko" userId="S::nathaniel.lisko@accelirate.com::a0f741b4-96d8-4656-9d9d-6c07055d5893" providerId="AD" clId="Web-{22BC007D-05DB-D2BE-B30E-BA993E1F657B}" dt="2025-09-26T16:54:06.730" v="61" actId="1076"/>
          <ac:spMkLst>
            <pc:docMk/>
            <pc:sldMk cId="3541413998" sldId="2147479608"/>
            <ac:spMk id="4" creationId="{C25075EB-884D-19CE-84FF-C31B11E90A33}"/>
          </ac:spMkLst>
        </pc:spChg>
        <pc:spChg chg="mod">
          <ac:chgData name="Nathaniel Lisko" userId="S::nathaniel.lisko@accelirate.com::a0f741b4-96d8-4656-9d9d-6c07055d5893" providerId="AD" clId="Web-{22BC007D-05DB-D2BE-B30E-BA993E1F657B}" dt="2025-09-26T16:53:56.886" v="60" actId="1076"/>
          <ac:spMkLst>
            <pc:docMk/>
            <pc:sldMk cId="3541413998" sldId="2147479608"/>
            <ac:spMk id="10" creationId="{068719A8-6448-319B-D5DC-536A9A559428}"/>
          </ac:spMkLst>
        </pc:spChg>
        <pc:spChg chg="mod">
          <ac:chgData name="Nathaniel Lisko" userId="S::nathaniel.lisko@accelirate.com::a0f741b4-96d8-4656-9d9d-6c07055d5893" providerId="AD" clId="Web-{22BC007D-05DB-D2BE-B30E-BA993E1F657B}" dt="2025-09-26T16:50:07.807" v="23" actId="1076"/>
          <ac:spMkLst>
            <pc:docMk/>
            <pc:sldMk cId="3541413998" sldId="2147479608"/>
            <ac:spMk id="18" creationId="{62E8A102-7A5B-AAB3-9E35-51EDFD9CBEBA}"/>
          </ac:spMkLst>
        </pc:spChg>
        <pc:spChg chg="mod">
          <ac:chgData name="Nathaniel Lisko" userId="S::nathaniel.lisko@accelirate.com::a0f741b4-96d8-4656-9d9d-6c07055d5893" providerId="AD" clId="Web-{22BC007D-05DB-D2BE-B30E-BA993E1F657B}" dt="2025-09-26T16:50:25.620" v="26" actId="1076"/>
          <ac:spMkLst>
            <pc:docMk/>
            <pc:sldMk cId="3541413998" sldId="2147479608"/>
            <ac:spMk id="20" creationId="{EC510BC2-368A-FE97-93EF-93B7F97C1081}"/>
          </ac:spMkLst>
        </pc:spChg>
        <pc:spChg chg="mod">
          <ac:chgData name="Nathaniel Lisko" userId="S::nathaniel.lisko@accelirate.com::a0f741b4-96d8-4656-9d9d-6c07055d5893" providerId="AD" clId="Web-{22BC007D-05DB-D2BE-B30E-BA993E1F657B}" dt="2025-09-26T16:54:12.183" v="62" actId="1076"/>
          <ac:spMkLst>
            <pc:docMk/>
            <pc:sldMk cId="3541413998" sldId="2147479608"/>
            <ac:spMk id="23" creationId="{C3350357-FE98-BA77-D1E7-03ED849D9780}"/>
          </ac:spMkLst>
        </pc:spChg>
        <pc:spChg chg="mod">
          <ac:chgData name="Nathaniel Lisko" userId="S::nathaniel.lisko@accelirate.com::a0f741b4-96d8-4656-9d9d-6c07055d5893" providerId="AD" clId="Web-{22BC007D-05DB-D2BE-B30E-BA993E1F657B}" dt="2025-09-26T16:51:16.932" v="37" actId="1076"/>
          <ac:spMkLst>
            <pc:docMk/>
            <pc:sldMk cId="3541413998" sldId="2147479608"/>
            <ac:spMk id="24" creationId="{0CAAEBA1-F090-1C1B-8CFF-A8657EEBF225}"/>
          </ac:spMkLst>
        </pc:spChg>
        <pc:spChg chg="mod">
          <ac:chgData name="Nathaniel Lisko" userId="S::nathaniel.lisko@accelirate.com::a0f741b4-96d8-4656-9d9d-6c07055d5893" providerId="AD" clId="Web-{22BC007D-05DB-D2BE-B30E-BA993E1F657B}" dt="2025-09-26T16:51:21.964" v="38" actId="1076"/>
          <ac:spMkLst>
            <pc:docMk/>
            <pc:sldMk cId="3541413998" sldId="2147479608"/>
            <ac:spMk id="25" creationId="{CBEA97ED-789A-0AD7-DCE4-554ECB4D2400}"/>
          </ac:spMkLst>
        </pc:spChg>
        <pc:picChg chg="mod">
          <ac:chgData name="Nathaniel Lisko" userId="S::nathaniel.lisko@accelirate.com::a0f741b4-96d8-4656-9d9d-6c07055d5893" providerId="AD" clId="Web-{22BC007D-05DB-D2BE-B30E-BA993E1F657B}" dt="2025-09-26T16:54:31.465" v="67" actId="1076"/>
          <ac:picMkLst>
            <pc:docMk/>
            <pc:sldMk cId="3541413998" sldId="2147479608"/>
            <ac:picMk id="51" creationId="{D762DB2F-A47B-A3CA-220D-05AEBEB451B3}"/>
          </ac:picMkLst>
        </pc:picChg>
        <pc:picChg chg="mod">
          <ac:chgData name="Nathaniel Lisko" userId="S::nathaniel.lisko@accelirate.com::a0f741b4-96d8-4656-9d9d-6c07055d5893" providerId="AD" clId="Web-{22BC007D-05DB-D2BE-B30E-BA993E1F657B}" dt="2025-09-26T16:54:27.512" v="66" actId="1076"/>
          <ac:picMkLst>
            <pc:docMk/>
            <pc:sldMk cId="3541413998" sldId="2147479608"/>
            <ac:picMk id="54" creationId="{99F0BC4E-1839-58D7-2F61-72D57279253B}"/>
          </ac:picMkLst>
        </pc:picChg>
        <pc:picChg chg="mod">
          <ac:chgData name="Nathaniel Lisko" userId="S::nathaniel.lisko@accelirate.com::a0f741b4-96d8-4656-9d9d-6c07055d5893" providerId="AD" clId="Web-{22BC007D-05DB-D2BE-B30E-BA993E1F657B}" dt="2025-09-26T16:54:18.543" v="63" actId="1076"/>
          <ac:picMkLst>
            <pc:docMk/>
            <pc:sldMk cId="3541413998" sldId="2147479608"/>
            <ac:picMk id="55" creationId="{2ADD24BF-FAF2-7F6D-C2D3-4F521F8CA1D5}"/>
          </ac:picMkLst>
        </pc:picChg>
        <pc:picChg chg="mod">
          <ac:chgData name="Nathaniel Lisko" userId="S::nathaniel.lisko@accelirate.com::a0f741b4-96d8-4656-9d9d-6c07055d5893" providerId="AD" clId="Web-{22BC007D-05DB-D2BE-B30E-BA993E1F657B}" dt="2025-09-26T16:54:23.980" v="64" actId="1076"/>
          <ac:picMkLst>
            <pc:docMk/>
            <pc:sldMk cId="3541413998" sldId="2147479608"/>
            <ac:picMk id="58" creationId="{4DF2A986-3B75-E12D-F0B2-0994657855BF}"/>
          </ac:picMkLst>
        </pc:picChg>
        <pc:picChg chg="mod">
          <ac:chgData name="Nathaniel Lisko" userId="S::nathaniel.lisko@accelirate.com::a0f741b4-96d8-4656-9d9d-6c07055d5893" providerId="AD" clId="Web-{22BC007D-05DB-D2BE-B30E-BA993E1F657B}" dt="2025-09-26T16:55:22.887" v="77" actId="1076"/>
          <ac:picMkLst>
            <pc:docMk/>
            <pc:sldMk cId="3541413998" sldId="2147479608"/>
            <ac:picMk id="61" creationId="{C9CCFDAD-22FA-BF9F-D942-B7BD4B46227A}"/>
          </ac:picMkLst>
        </pc:picChg>
        <pc:cxnChg chg="add mod">
          <ac:chgData name="Nathaniel Lisko" userId="S::nathaniel.lisko@accelirate.com::a0f741b4-96d8-4656-9d9d-6c07055d5893" providerId="AD" clId="Web-{22BC007D-05DB-D2BE-B30E-BA993E1F657B}" dt="2025-09-26T16:50:34.542" v="28" actId="1076"/>
          <ac:cxnSpMkLst>
            <pc:docMk/>
            <pc:sldMk cId="3541413998" sldId="2147479608"/>
            <ac:cxnSpMk id="5" creationId="{68F0E5C6-B946-5372-6D4A-3B2239A88CEE}"/>
          </ac:cxnSpMkLst>
        </pc:cxnChg>
        <pc:cxnChg chg="mod">
          <ac:chgData name="Nathaniel Lisko" userId="S::nathaniel.lisko@accelirate.com::a0f741b4-96d8-4656-9d9d-6c07055d5893" providerId="AD" clId="Web-{22BC007D-05DB-D2BE-B30E-BA993E1F657B}" dt="2025-09-26T16:48:16.057" v="11"/>
          <ac:cxnSpMkLst>
            <pc:docMk/>
            <pc:sldMk cId="3541413998" sldId="2147479608"/>
            <ac:cxnSpMk id="7" creationId="{9AF8CFCB-EC4E-978E-6645-78E8A3959CAB}"/>
          </ac:cxnSpMkLst>
        </pc:cxnChg>
        <pc:cxnChg chg="add mod">
          <ac:chgData name="Nathaniel Lisko" userId="S::nathaniel.lisko@accelirate.com::a0f741b4-96d8-4656-9d9d-6c07055d5893" providerId="AD" clId="Web-{22BC007D-05DB-D2BE-B30E-BA993E1F657B}" dt="2025-09-26T16:50:51.401" v="31" actId="1076"/>
          <ac:cxnSpMkLst>
            <pc:docMk/>
            <pc:sldMk cId="3541413998" sldId="2147479608"/>
            <ac:cxnSpMk id="12" creationId="{8BB6FF75-F2D3-8733-035B-773D9D5B58B1}"/>
          </ac:cxnSpMkLst>
        </pc:cxnChg>
        <pc:cxnChg chg="add mod">
          <ac:chgData name="Nathaniel Lisko" userId="S::nathaniel.lisko@accelirate.com::a0f741b4-96d8-4656-9d9d-6c07055d5893" providerId="AD" clId="Web-{22BC007D-05DB-D2BE-B30E-BA993E1F657B}" dt="2025-09-26T16:51:09.932" v="35" actId="1076"/>
          <ac:cxnSpMkLst>
            <pc:docMk/>
            <pc:sldMk cId="3541413998" sldId="2147479608"/>
            <ac:cxnSpMk id="15" creationId="{AD790F42-A490-2A8A-40A8-8E8E03626033}"/>
          </ac:cxnSpMkLst>
        </pc:cxnChg>
        <pc:cxnChg chg="add mod">
          <ac:chgData name="Nathaniel Lisko" userId="S::nathaniel.lisko@accelirate.com::a0f741b4-96d8-4656-9d9d-6c07055d5893" providerId="AD" clId="Web-{22BC007D-05DB-D2BE-B30E-BA993E1F657B}" dt="2025-09-26T16:51:36.057" v="40" actId="1076"/>
          <ac:cxnSpMkLst>
            <pc:docMk/>
            <pc:sldMk cId="3541413998" sldId="2147479608"/>
            <ac:cxnSpMk id="17" creationId="{42F25565-D820-B64F-CDF8-D759E4B5AF58}"/>
          </ac:cxnSpMkLst>
        </pc:cxnChg>
        <pc:cxnChg chg="add mod">
          <ac:chgData name="Nathaniel Lisko" userId="S::nathaniel.lisko@accelirate.com::a0f741b4-96d8-4656-9d9d-6c07055d5893" providerId="AD" clId="Web-{22BC007D-05DB-D2BE-B30E-BA993E1F657B}" dt="2025-09-26T16:51:42.792" v="42" actId="1076"/>
          <ac:cxnSpMkLst>
            <pc:docMk/>
            <pc:sldMk cId="3541413998" sldId="2147479608"/>
            <ac:cxnSpMk id="26" creationId="{A0F2F4B3-BC9B-C40F-2116-7EB1110A1C37}"/>
          </ac:cxnSpMkLst>
        </pc:cxnChg>
        <pc:cxnChg chg="add mod">
          <ac:chgData name="Nathaniel Lisko" userId="S::nathaniel.lisko@accelirate.com::a0f741b4-96d8-4656-9d9d-6c07055d5893" providerId="AD" clId="Web-{22BC007D-05DB-D2BE-B30E-BA993E1F657B}" dt="2025-09-26T16:52:42.651" v="53" actId="14100"/>
          <ac:cxnSpMkLst>
            <pc:docMk/>
            <pc:sldMk cId="3541413998" sldId="2147479608"/>
            <ac:cxnSpMk id="30" creationId="{4ABF3C50-ACD3-04A3-F51D-991E2A28BDEE}"/>
          </ac:cxnSpMkLst>
        </pc:cxnChg>
        <pc:cxnChg chg="add mod">
          <ac:chgData name="Nathaniel Lisko" userId="S::nathaniel.lisko@accelirate.com::a0f741b4-96d8-4656-9d9d-6c07055d5893" providerId="AD" clId="Web-{22BC007D-05DB-D2BE-B30E-BA993E1F657B}" dt="2025-09-26T16:53:41.496" v="59" actId="1076"/>
          <ac:cxnSpMkLst>
            <pc:docMk/>
            <pc:sldMk cId="3541413998" sldId="2147479608"/>
            <ac:cxnSpMk id="31" creationId="{D1F8C501-22E3-FB79-9061-C1E61BF5AF10}"/>
          </ac:cxnSpMkLst>
        </pc:cxnChg>
        <pc:cxnChg chg="add del mod">
          <ac:chgData name="Nathaniel Lisko" userId="S::nathaniel.lisko@accelirate.com::a0f741b4-96d8-4656-9d9d-6c07055d5893" providerId="AD" clId="Web-{22BC007D-05DB-D2BE-B30E-BA993E1F657B}" dt="2025-09-26T16:55:34.372" v="81"/>
          <ac:cxnSpMkLst>
            <pc:docMk/>
            <pc:sldMk cId="3541413998" sldId="2147479608"/>
            <ac:cxnSpMk id="32" creationId="{D782AA5E-7188-23F9-9C7C-D2231D3CFF67}"/>
          </ac:cxnSpMkLst>
        </pc:cxnChg>
        <pc:cxnChg chg="mod">
          <ac:chgData name="Nathaniel Lisko" userId="S::nathaniel.lisko@accelirate.com::a0f741b4-96d8-4656-9d9d-6c07055d5893" providerId="AD" clId="Web-{22BC007D-05DB-D2BE-B30E-BA993E1F657B}" dt="2025-09-26T16:48:46.635" v="13"/>
          <ac:cxnSpMkLst>
            <pc:docMk/>
            <pc:sldMk cId="3541413998" sldId="2147479608"/>
            <ac:cxnSpMk id="33" creationId="{29A8A70C-AF13-F5BB-DACB-A74992143400}"/>
          </ac:cxnSpMkLst>
        </pc:cxnChg>
        <pc:cxnChg chg="add del mod">
          <ac:chgData name="Nathaniel Lisko" userId="S::nathaniel.lisko@accelirate.com::a0f741b4-96d8-4656-9d9d-6c07055d5893" providerId="AD" clId="Web-{22BC007D-05DB-D2BE-B30E-BA993E1F657B}" dt="2025-09-26T16:55:35.747" v="82"/>
          <ac:cxnSpMkLst>
            <pc:docMk/>
            <pc:sldMk cId="3541413998" sldId="2147479608"/>
            <ac:cxnSpMk id="34" creationId="{63305C09-A8E3-6FFD-47A5-7293823C73D2}"/>
          </ac:cxnSpMkLst>
        </pc:cxnChg>
        <pc:cxnChg chg="add mod">
          <ac:chgData name="Nathaniel Lisko" userId="S::nathaniel.lisko@accelirate.com::a0f741b4-96d8-4656-9d9d-6c07055d5893" providerId="AD" clId="Web-{22BC007D-05DB-D2BE-B30E-BA993E1F657B}" dt="2025-09-26T16:56:13.497" v="92" actId="1076"/>
          <ac:cxnSpMkLst>
            <pc:docMk/>
            <pc:sldMk cId="3541413998" sldId="2147479608"/>
            <ac:cxnSpMk id="35" creationId="{67F85B01-B236-E09F-457F-F952BCA2C7BE}"/>
          </ac:cxnSpMkLst>
        </pc:cxnChg>
        <pc:cxnChg chg="add mod">
          <ac:chgData name="Nathaniel Lisko" userId="S::nathaniel.lisko@accelirate.com::a0f741b4-96d8-4656-9d9d-6c07055d5893" providerId="AD" clId="Web-{22BC007D-05DB-D2BE-B30E-BA993E1F657B}" dt="2025-09-26T16:55:51.497" v="88" actId="1076"/>
          <ac:cxnSpMkLst>
            <pc:docMk/>
            <pc:sldMk cId="3541413998" sldId="2147479608"/>
            <ac:cxnSpMk id="36" creationId="{ADE38C95-B1C8-97B1-926E-C433A440EC14}"/>
          </ac:cxnSpMkLst>
        </pc:cxnChg>
        <pc:cxnChg chg="add del mod">
          <ac:chgData name="Nathaniel Lisko" userId="S::nathaniel.lisko@accelirate.com::a0f741b4-96d8-4656-9d9d-6c07055d5893" providerId="AD" clId="Web-{22BC007D-05DB-D2BE-B30E-BA993E1F657B}" dt="2025-09-26T16:58:49.810" v="108"/>
          <ac:cxnSpMkLst>
            <pc:docMk/>
            <pc:sldMk cId="3541413998" sldId="2147479608"/>
            <ac:cxnSpMk id="38" creationId="{B30D7455-EF88-7E21-ED46-31F382364F2F}"/>
          </ac:cxnSpMkLst>
        </pc:cxnChg>
        <pc:cxnChg chg="mod">
          <ac:chgData name="Nathaniel Lisko" userId="S::nathaniel.lisko@accelirate.com::a0f741b4-96d8-4656-9d9d-6c07055d5893" providerId="AD" clId="Web-{22BC007D-05DB-D2BE-B30E-BA993E1F657B}" dt="2025-09-26T16:50:15.323" v="24" actId="14100"/>
          <ac:cxnSpMkLst>
            <pc:docMk/>
            <pc:sldMk cId="3541413998" sldId="2147479608"/>
            <ac:cxnSpMk id="39" creationId="{601D60DB-8FD9-DCFF-2525-20D84EBB8A6A}"/>
          </ac:cxnSpMkLst>
        </pc:cxnChg>
        <pc:cxnChg chg="add del mod">
          <ac:chgData name="Nathaniel Lisko" userId="S::nathaniel.lisko@accelirate.com::a0f741b4-96d8-4656-9d9d-6c07055d5893" providerId="AD" clId="Web-{22BC007D-05DB-D2BE-B30E-BA993E1F657B}" dt="2025-09-26T16:59:27.998" v="117"/>
          <ac:cxnSpMkLst>
            <pc:docMk/>
            <pc:sldMk cId="3541413998" sldId="2147479608"/>
            <ac:cxnSpMk id="40" creationId="{038640E0-29C1-1C32-3EC8-D45F1D657110}"/>
          </ac:cxnSpMkLst>
        </pc:cxnChg>
        <pc:cxnChg chg="add del">
          <ac:chgData name="Nathaniel Lisko" userId="S::nathaniel.lisko@accelirate.com::a0f741b4-96d8-4656-9d9d-6c07055d5893" providerId="AD" clId="Web-{22BC007D-05DB-D2BE-B30E-BA993E1F657B}" dt="2025-09-26T16:59:46.420" v="119"/>
          <ac:cxnSpMkLst>
            <pc:docMk/>
            <pc:sldMk cId="3541413998" sldId="2147479608"/>
            <ac:cxnSpMk id="41" creationId="{A4D6BC62-EF0F-5ABD-59CE-889D1DDB2289}"/>
          </ac:cxnSpMkLst>
        </pc:cxnChg>
        <pc:cxnChg chg="add mod">
          <ac:chgData name="Nathaniel Lisko" userId="S::nathaniel.lisko@accelirate.com::a0f741b4-96d8-4656-9d9d-6c07055d5893" providerId="AD" clId="Web-{22BC007D-05DB-D2BE-B30E-BA993E1F657B}" dt="2025-09-26T17:00:06.857" v="134"/>
          <ac:cxnSpMkLst>
            <pc:docMk/>
            <pc:sldMk cId="3541413998" sldId="2147479608"/>
            <ac:cxnSpMk id="42" creationId="{FBE50FF8-6243-4C41-9C45-E8B48B06A409}"/>
          </ac:cxnSpMkLst>
        </pc:cxnChg>
        <pc:cxnChg chg="del mod">
          <ac:chgData name="Nathaniel Lisko" userId="S::nathaniel.lisko@accelirate.com::a0f741b4-96d8-4656-9d9d-6c07055d5893" providerId="AD" clId="Web-{22BC007D-05DB-D2BE-B30E-BA993E1F657B}" dt="2025-09-26T16:52:31.198" v="49"/>
          <ac:cxnSpMkLst>
            <pc:docMk/>
            <pc:sldMk cId="3541413998" sldId="2147479608"/>
            <ac:cxnSpMk id="43" creationId="{DB376A06-8A93-BFA0-5779-69EF9105E27B}"/>
          </ac:cxnSpMkLst>
        </pc:cxnChg>
        <pc:cxnChg chg="add del mod">
          <ac:chgData name="Nathaniel Lisko" userId="S::nathaniel.lisko@accelirate.com::a0f741b4-96d8-4656-9d9d-6c07055d5893" providerId="AD" clId="Web-{22BC007D-05DB-D2BE-B30E-BA993E1F657B}" dt="2025-09-26T17:00:16.310" v="136"/>
          <ac:cxnSpMkLst>
            <pc:docMk/>
            <pc:sldMk cId="3541413998" sldId="2147479608"/>
            <ac:cxnSpMk id="44" creationId="{6444248F-0F72-F11D-2210-8A7048C0A9EA}"/>
          </ac:cxnSpMkLst>
        </pc:cxnChg>
        <pc:cxnChg chg="add mod">
          <ac:chgData name="Nathaniel Lisko" userId="S::nathaniel.lisko@accelirate.com::a0f741b4-96d8-4656-9d9d-6c07055d5893" providerId="AD" clId="Web-{22BC007D-05DB-D2BE-B30E-BA993E1F657B}" dt="2025-09-26T17:01:59.826" v="182" actId="1076"/>
          <ac:cxnSpMkLst>
            <pc:docMk/>
            <pc:sldMk cId="3541413998" sldId="2147479608"/>
            <ac:cxnSpMk id="45" creationId="{68BC59E8-5C1B-00A7-12CB-442810474943}"/>
          </ac:cxnSpMkLst>
        </pc:cxnChg>
        <pc:cxnChg chg="del mod">
          <ac:chgData name="Nathaniel Lisko" userId="S::nathaniel.lisko@accelirate.com::a0f741b4-96d8-4656-9d9d-6c07055d5893" providerId="AD" clId="Web-{22BC007D-05DB-D2BE-B30E-BA993E1F657B}" dt="2025-09-26T16:52:29.198" v="48"/>
          <ac:cxnSpMkLst>
            <pc:docMk/>
            <pc:sldMk cId="3541413998" sldId="2147479608"/>
            <ac:cxnSpMk id="46" creationId="{2AF60A8F-5EA7-42F5-ACFB-F9D09025524D}"/>
          </ac:cxnSpMkLst>
        </pc:cxnChg>
        <pc:cxnChg chg="add mod">
          <ac:chgData name="Nathaniel Lisko" userId="S::nathaniel.lisko@accelirate.com::a0f741b4-96d8-4656-9d9d-6c07055d5893" providerId="AD" clId="Web-{22BC007D-05DB-D2BE-B30E-BA993E1F657B}" dt="2025-09-26T17:01:19.857" v="171" actId="14100"/>
          <ac:cxnSpMkLst>
            <pc:docMk/>
            <pc:sldMk cId="3541413998" sldId="2147479608"/>
            <ac:cxnSpMk id="47" creationId="{53E593F3-00E2-A954-9EEB-078A490BB402}"/>
          </ac:cxnSpMkLst>
        </pc:cxnChg>
        <pc:cxnChg chg="del mod">
          <ac:chgData name="Nathaniel Lisko" userId="S::nathaniel.lisko@accelirate.com::a0f741b4-96d8-4656-9d9d-6c07055d5893" providerId="AD" clId="Web-{22BC007D-05DB-D2BE-B30E-BA993E1F657B}" dt="2025-09-26T16:50:00.839" v="22"/>
          <ac:cxnSpMkLst>
            <pc:docMk/>
            <pc:sldMk cId="3541413998" sldId="2147479608"/>
            <ac:cxnSpMk id="50" creationId="{F64ACB44-8344-FB6E-21B8-F81C84D62747}"/>
          </ac:cxnSpMkLst>
        </pc:cxnChg>
        <pc:cxnChg chg="del mod">
          <ac:chgData name="Nathaniel Lisko" userId="S::nathaniel.lisko@accelirate.com::a0f741b4-96d8-4656-9d9d-6c07055d5893" providerId="AD" clId="Web-{22BC007D-05DB-D2BE-B30E-BA993E1F657B}" dt="2025-09-26T16:50:46.464" v="29"/>
          <ac:cxnSpMkLst>
            <pc:docMk/>
            <pc:sldMk cId="3541413998" sldId="2147479608"/>
            <ac:cxnSpMk id="56" creationId="{FD533A4D-E6E7-F727-B78D-D98215DA8994}"/>
          </ac:cxnSpMkLst>
        </pc:cxnChg>
        <pc:cxnChg chg="del">
          <ac:chgData name="Nathaniel Lisko" userId="S::nathaniel.lisko@accelirate.com::a0f741b4-96d8-4656-9d9d-6c07055d5893" providerId="AD" clId="Web-{22BC007D-05DB-D2BE-B30E-BA993E1F657B}" dt="2025-09-26T16:54:41.871" v="68"/>
          <ac:cxnSpMkLst>
            <pc:docMk/>
            <pc:sldMk cId="3541413998" sldId="2147479608"/>
            <ac:cxnSpMk id="69" creationId="{8E6AF798-41D4-D282-2998-5962E7B9FD7A}"/>
          </ac:cxnSpMkLst>
        </pc:cxnChg>
        <pc:cxnChg chg="del">
          <ac:chgData name="Nathaniel Lisko" userId="S::nathaniel.lisko@accelirate.com::a0f741b4-96d8-4656-9d9d-6c07055d5893" providerId="AD" clId="Web-{22BC007D-05DB-D2BE-B30E-BA993E1F657B}" dt="2025-09-26T16:54:43.168" v="69"/>
          <ac:cxnSpMkLst>
            <pc:docMk/>
            <pc:sldMk cId="3541413998" sldId="2147479608"/>
            <ac:cxnSpMk id="70" creationId="{ECF2E4D0-F352-498F-5AB2-112EDC7EF53E}"/>
          </ac:cxnSpMkLst>
        </pc:cxnChg>
      </pc:sldChg>
    </pc:docChg>
  </pc:docChgLst>
  <pc:docChgLst>
    <pc:chgData name="Nathaniel Lisko" userId="a0f741b4-96d8-4656-9d9d-6c07055d5893" providerId="ADAL" clId="{560A71C6-9DE4-4981-9CF4-8DFC3EE4F452}"/>
    <pc:docChg chg="undo redo custSel modSld sldOrd">
      <pc:chgData name="Nathaniel Lisko" userId="a0f741b4-96d8-4656-9d9d-6c07055d5893" providerId="ADAL" clId="{560A71C6-9DE4-4981-9CF4-8DFC3EE4F452}" dt="2025-09-26T17:05:18.795" v="124" actId="1076"/>
      <pc:docMkLst>
        <pc:docMk/>
      </pc:docMkLst>
      <pc:sldChg chg="ord">
        <pc:chgData name="Nathaniel Lisko" userId="a0f741b4-96d8-4656-9d9d-6c07055d5893" providerId="ADAL" clId="{560A71C6-9DE4-4981-9CF4-8DFC3EE4F452}" dt="2025-09-26T16:49:45.656" v="99"/>
        <pc:sldMkLst>
          <pc:docMk/>
          <pc:sldMk cId="1654501947" sldId="2076137165"/>
        </pc:sldMkLst>
      </pc:sldChg>
      <pc:sldChg chg="addSp delSp modSp mod">
        <pc:chgData name="Nathaniel Lisko" userId="a0f741b4-96d8-4656-9d9d-6c07055d5893" providerId="ADAL" clId="{560A71C6-9DE4-4981-9CF4-8DFC3EE4F452}" dt="2025-09-26T17:05:18.795" v="124" actId="1076"/>
        <pc:sldMkLst>
          <pc:docMk/>
          <pc:sldMk cId="3541413998" sldId="2147479608"/>
        </pc:sldMkLst>
        <pc:spChg chg="mod">
          <ac:chgData name="Nathaniel Lisko" userId="a0f741b4-96d8-4656-9d9d-6c07055d5893" providerId="ADAL" clId="{560A71C6-9DE4-4981-9CF4-8DFC3EE4F452}" dt="2025-09-26T16:38:53.340" v="39" actId="14100"/>
          <ac:spMkLst>
            <pc:docMk/>
            <pc:sldMk cId="3541413998" sldId="2147479608"/>
            <ac:spMk id="3" creationId="{3B9214A2-3696-1C76-6A28-1E6CE1660506}"/>
          </ac:spMkLst>
        </pc:spChg>
        <pc:spChg chg="mod">
          <ac:chgData name="Nathaniel Lisko" userId="a0f741b4-96d8-4656-9d9d-6c07055d5893" providerId="ADAL" clId="{560A71C6-9DE4-4981-9CF4-8DFC3EE4F452}" dt="2025-09-26T17:03:25.972" v="104" actId="1076"/>
          <ac:spMkLst>
            <pc:docMk/>
            <pc:sldMk cId="3541413998" sldId="2147479608"/>
            <ac:spMk id="4" creationId="{C25075EB-884D-19CE-84FF-C31B11E90A33}"/>
          </ac:spMkLst>
        </pc:spChg>
        <pc:spChg chg="mod">
          <ac:chgData name="Nathaniel Lisko" userId="a0f741b4-96d8-4656-9d9d-6c07055d5893" providerId="ADAL" clId="{560A71C6-9DE4-4981-9CF4-8DFC3EE4F452}" dt="2025-09-26T16:41:42.726" v="92" actId="1076"/>
          <ac:spMkLst>
            <pc:docMk/>
            <pc:sldMk cId="3541413998" sldId="2147479608"/>
            <ac:spMk id="11" creationId="{263A02AE-C5F2-1E2C-3BB0-6299EBF774E8}"/>
          </ac:spMkLst>
        </pc:spChg>
        <pc:spChg chg="mod">
          <ac:chgData name="Nathaniel Lisko" userId="a0f741b4-96d8-4656-9d9d-6c07055d5893" providerId="ADAL" clId="{560A71C6-9DE4-4981-9CF4-8DFC3EE4F452}" dt="2025-09-26T16:41:56.892" v="94" actId="1076"/>
          <ac:spMkLst>
            <pc:docMk/>
            <pc:sldMk cId="3541413998" sldId="2147479608"/>
            <ac:spMk id="18" creationId="{62E8A102-7A5B-AAB3-9E35-51EDFD9CBEBA}"/>
          </ac:spMkLst>
        </pc:spChg>
        <pc:spChg chg="mod">
          <ac:chgData name="Nathaniel Lisko" userId="a0f741b4-96d8-4656-9d9d-6c07055d5893" providerId="ADAL" clId="{560A71C6-9DE4-4981-9CF4-8DFC3EE4F452}" dt="2025-09-26T16:41:53.041" v="93" actId="1076"/>
          <ac:spMkLst>
            <pc:docMk/>
            <pc:sldMk cId="3541413998" sldId="2147479608"/>
            <ac:spMk id="20" creationId="{EC510BC2-368A-FE97-93EF-93B7F97C1081}"/>
          </ac:spMkLst>
        </pc:spChg>
        <pc:picChg chg="mod">
          <ac:chgData name="Nathaniel Lisko" userId="a0f741b4-96d8-4656-9d9d-6c07055d5893" providerId="ADAL" clId="{560A71C6-9DE4-4981-9CF4-8DFC3EE4F452}" dt="2025-09-26T16:41:35.813" v="89" actId="1038"/>
          <ac:picMkLst>
            <pc:docMk/>
            <pc:sldMk cId="3541413998" sldId="2147479608"/>
            <ac:picMk id="51" creationId="{D762DB2F-A47B-A3CA-220D-05AEBEB451B3}"/>
          </ac:picMkLst>
        </pc:picChg>
        <pc:cxnChg chg="del">
          <ac:chgData name="Nathaniel Lisko" userId="a0f741b4-96d8-4656-9d9d-6c07055d5893" providerId="ADAL" clId="{560A71C6-9DE4-4981-9CF4-8DFC3EE4F452}" dt="2025-09-26T17:04:32.678" v="115" actId="478"/>
          <ac:cxnSpMkLst>
            <pc:docMk/>
            <pc:sldMk cId="3541413998" sldId="2147479608"/>
            <ac:cxnSpMk id="5" creationId="{68F0E5C6-B946-5372-6D4A-3B2239A88CEE}"/>
          </ac:cxnSpMkLst>
        </pc:cxnChg>
        <pc:cxnChg chg="add mod">
          <ac:chgData name="Nathaniel Lisko" userId="a0f741b4-96d8-4656-9d9d-6c07055d5893" providerId="ADAL" clId="{560A71C6-9DE4-4981-9CF4-8DFC3EE4F452}" dt="2025-09-26T16:38:25.456" v="33" actId="14100"/>
          <ac:cxnSpMkLst>
            <pc:docMk/>
            <pc:sldMk cId="3541413998" sldId="2147479608"/>
            <ac:cxnSpMk id="7" creationId="{9AF8CFCB-EC4E-978E-6645-78E8A3959CAB}"/>
          </ac:cxnSpMkLst>
        </pc:cxnChg>
        <pc:cxnChg chg="del">
          <ac:chgData name="Nathaniel Lisko" userId="a0f741b4-96d8-4656-9d9d-6c07055d5893" providerId="ADAL" clId="{560A71C6-9DE4-4981-9CF4-8DFC3EE4F452}" dt="2025-09-26T17:04:32.678" v="115" actId="478"/>
          <ac:cxnSpMkLst>
            <pc:docMk/>
            <pc:sldMk cId="3541413998" sldId="2147479608"/>
            <ac:cxnSpMk id="12" creationId="{8BB6FF75-F2D3-8733-035B-773D9D5B58B1}"/>
          </ac:cxnSpMkLst>
        </pc:cxnChg>
        <pc:cxnChg chg="del">
          <ac:chgData name="Nathaniel Lisko" userId="a0f741b4-96d8-4656-9d9d-6c07055d5893" providerId="ADAL" clId="{560A71C6-9DE4-4981-9CF4-8DFC3EE4F452}" dt="2025-09-26T17:04:32.678" v="115" actId="478"/>
          <ac:cxnSpMkLst>
            <pc:docMk/>
            <pc:sldMk cId="3541413998" sldId="2147479608"/>
            <ac:cxnSpMk id="15" creationId="{AD790F42-A490-2A8A-40A8-8E8E03626033}"/>
          </ac:cxnSpMkLst>
        </pc:cxnChg>
        <pc:cxnChg chg="mod">
          <ac:chgData name="Nathaniel Lisko" userId="a0f741b4-96d8-4656-9d9d-6c07055d5893" providerId="ADAL" clId="{560A71C6-9DE4-4981-9CF4-8DFC3EE4F452}" dt="2025-09-26T17:04:09.202" v="111" actId="14100"/>
          <ac:cxnSpMkLst>
            <pc:docMk/>
            <pc:sldMk cId="3541413998" sldId="2147479608"/>
            <ac:cxnSpMk id="17" creationId="{42F25565-D820-B64F-CDF8-D759E4B5AF58}"/>
          </ac:cxnSpMkLst>
        </pc:cxnChg>
        <pc:cxnChg chg="del">
          <ac:chgData name="Nathaniel Lisko" userId="a0f741b4-96d8-4656-9d9d-6c07055d5893" providerId="ADAL" clId="{560A71C6-9DE4-4981-9CF4-8DFC3EE4F452}" dt="2025-09-26T17:04:18.562" v="112" actId="478"/>
          <ac:cxnSpMkLst>
            <pc:docMk/>
            <pc:sldMk cId="3541413998" sldId="2147479608"/>
            <ac:cxnSpMk id="26" creationId="{A0F2F4B3-BC9B-C40F-2116-7EB1110A1C37}"/>
          </ac:cxnSpMkLst>
        </pc:cxnChg>
        <pc:cxnChg chg="add del mod">
          <ac:chgData name="Nathaniel Lisko" userId="a0f741b4-96d8-4656-9d9d-6c07055d5893" providerId="ADAL" clId="{560A71C6-9DE4-4981-9CF4-8DFC3EE4F452}" dt="2025-09-26T16:37:33.737" v="25" actId="478"/>
          <ac:cxnSpMkLst>
            <pc:docMk/>
            <pc:sldMk cId="3541413998" sldId="2147479608"/>
            <ac:cxnSpMk id="31" creationId="{56F5FD5B-A57D-AAE4-63CD-B25B5449F07F}"/>
          </ac:cxnSpMkLst>
        </pc:cxnChg>
        <pc:cxnChg chg="add mod">
          <ac:chgData name="Nathaniel Lisko" userId="a0f741b4-96d8-4656-9d9d-6c07055d5893" providerId="ADAL" clId="{560A71C6-9DE4-4981-9CF4-8DFC3EE4F452}" dt="2025-09-26T16:38:49.294" v="37" actId="14100"/>
          <ac:cxnSpMkLst>
            <pc:docMk/>
            <pc:sldMk cId="3541413998" sldId="2147479608"/>
            <ac:cxnSpMk id="33" creationId="{29A8A70C-AF13-F5BB-DACB-A74992143400}"/>
          </ac:cxnSpMkLst>
        </pc:cxnChg>
        <pc:cxnChg chg="add mod">
          <ac:chgData name="Nathaniel Lisko" userId="a0f741b4-96d8-4656-9d9d-6c07055d5893" providerId="ADAL" clId="{560A71C6-9DE4-4981-9CF4-8DFC3EE4F452}" dt="2025-09-26T17:04:26.564" v="114" actId="1076"/>
          <ac:cxnSpMkLst>
            <pc:docMk/>
            <pc:sldMk cId="3541413998" sldId="2147479608"/>
            <ac:cxnSpMk id="38" creationId="{B9D6216F-4EE7-42A8-C131-82BCBDD31824}"/>
          </ac:cxnSpMkLst>
        </pc:cxnChg>
        <pc:cxnChg chg="add del mod">
          <ac:chgData name="Nathaniel Lisko" userId="a0f741b4-96d8-4656-9d9d-6c07055d5893" providerId="ADAL" clId="{560A71C6-9DE4-4981-9CF4-8DFC3EE4F452}" dt="2025-09-26T17:04:32.678" v="115" actId="478"/>
          <ac:cxnSpMkLst>
            <pc:docMk/>
            <pc:sldMk cId="3541413998" sldId="2147479608"/>
            <ac:cxnSpMk id="39" creationId="{601D60DB-8FD9-DCFF-2525-20D84EBB8A6A}"/>
          </ac:cxnSpMkLst>
        </pc:cxnChg>
        <pc:cxnChg chg="add mod">
          <ac:chgData name="Nathaniel Lisko" userId="a0f741b4-96d8-4656-9d9d-6c07055d5893" providerId="ADAL" clId="{560A71C6-9DE4-4981-9CF4-8DFC3EE4F452}" dt="2025-09-26T17:04:46.441" v="118" actId="1076"/>
          <ac:cxnSpMkLst>
            <pc:docMk/>
            <pc:sldMk cId="3541413998" sldId="2147479608"/>
            <ac:cxnSpMk id="40" creationId="{855F05D1-0500-1DA5-7640-0A3F6CCC9D89}"/>
          </ac:cxnSpMkLst>
        </pc:cxnChg>
        <pc:cxnChg chg="add mod">
          <ac:chgData name="Nathaniel Lisko" userId="a0f741b4-96d8-4656-9d9d-6c07055d5893" providerId="ADAL" clId="{560A71C6-9DE4-4981-9CF4-8DFC3EE4F452}" dt="2025-09-26T17:04:57.831" v="120" actId="1076"/>
          <ac:cxnSpMkLst>
            <pc:docMk/>
            <pc:sldMk cId="3541413998" sldId="2147479608"/>
            <ac:cxnSpMk id="41" creationId="{832F0D61-1928-119E-D879-E18947C5FF3D}"/>
          </ac:cxnSpMkLst>
        </pc:cxnChg>
        <pc:cxnChg chg="mod">
          <ac:chgData name="Nathaniel Lisko" userId="a0f741b4-96d8-4656-9d9d-6c07055d5893" providerId="ADAL" clId="{560A71C6-9DE4-4981-9CF4-8DFC3EE4F452}" dt="2025-09-26T17:03:37.992" v="107" actId="692"/>
          <ac:cxnSpMkLst>
            <pc:docMk/>
            <pc:sldMk cId="3541413998" sldId="2147479608"/>
            <ac:cxnSpMk id="42" creationId="{FBE50FF8-6243-4C41-9C45-E8B48B06A409}"/>
          </ac:cxnSpMkLst>
        </pc:cxnChg>
        <pc:cxnChg chg="add mod">
          <ac:chgData name="Nathaniel Lisko" userId="a0f741b4-96d8-4656-9d9d-6c07055d5893" providerId="ADAL" clId="{560A71C6-9DE4-4981-9CF4-8DFC3EE4F452}" dt="2025-09-26T16:41:42.726" v="92" actId="1076"/>
          <ac:cxnSpMkLst>
            <pc:docMk/>
            <pc:sldMk cId="3541413998" sldId="2147479608"/>
            <ac:cxnSpMk id="43" creationId="{DB376A06-8A93-BFA0-5779-69EF9105E27B}"/>
          </ac:cxnSpMkLst>
        </pc:cxnChg>
        <pc:cxnChg chg="add mod">
          <ac:chgData name="Nathaniel Lisko" userId="a0f741b4-96d8-4656-9d9d-6c07055d5893" providerId="ADAL" clId="{560A71C6-9DE4-4981-9CF4-8DFC3EE4F452}" dt="2025-09-26T17:05:08.398" v="122" actId="1076"/>
          <ac:cxnSpMkLst>
            <pc:docMk/>
            <pc:sldMk cId="3541413998" sldId="2147479608"/>
            <ac:cxnSpMk id="44" creationId="{6A7E396B-AAF2-3ABB-C96E-872ADDE2A656}"/>
          </ac:cxnSpMkLst>
        </pc:cxnChg>
        <pc:cxnChg chg="mod">
          <ac:chgData name="Nathaniel Lisko" userId="a0f741b4-96d8-4656-9d9d-6c07055d5893" providerId="ADAL" clId="{560A71C6-9DE4-4981-9CF4-8DFC3EE4F452}" dt="2025-09-26T17:03:48.743" v="108" actId="14100"/>
          <ac:cxnSpMkLst>
            <pc:docMk/>
            <pc:sldMk cId="3541413998" sldId="2147479608"/>
            <ac:cxnSpMk id="45" creationId="{68BC59E8-5C1B-00A7-12CB-442810474943}"/>
          </ac:cxnSpMkLst>
        </pc:cxnChg>
        <pc:cxnChg chg="add mod">
          <ac:chgData name="Nathaniel Lisko" userId="a0f741b4-96d8-4656-9d9d-6c07055d5893" providerId="ADAL" clId="{560A71C6-9DE4-4981-9CF4-8DFC3EE4F452}" dt="2025-09-26T16:39:11.362" v="46" actId="14100"/>
          <ac:cxnSpMkLst>
            <pc:docMk/>
            <pc:sldMk cId="3541413998" sldId="2147479608"/>
            <ac:cxnSpMk id="46" creationId="{2AF60A8F-5EA7-42F5-ACFB-F9D09025524D}"/>
          </ac:cxnSpMkLst>
        </pc:cxnChg>
        <pc:cxnChg chg="mod">
          <ac:chgData name="Nathaniel Lisko" userId="a0f741b4-96d8-4656-9d9d-6c07055d5893" providerId="ADAL" clId="{560A71C6-9DE4-4981-9CF4-8DFC3EE4F452}" dt="2025-09-26T17:03:37.992" v="107" actId="692"/>
          <ac:cxnSpMkLst>
            <pc:docMk/>
            <pc:sldMk cId="3541413998" sldId="2147479608"/>
            <ac:cxnSpMk id="47" creationId="{53E593F3-00E2-A954-9EEB-078A490BB402}"/>
          </ac:cxnSpMkLst>
        </pc:cxnChg>
        <pc:cxnChg chg="add mod">
          <ac:chgData name="Nathaniel Lisko" userId="a0f741b4-96d8-4656-9d9d-6c07055d5893" providerId="ADAL" clId="{560A71C6-9DE4-4981-9CF4-8DFC3EE4F452}" dt="2025-09-26T17:05:18.795" v="124" actId="1076"/>
          <ac:cxnSpMkLst>
            <pc:docMk/>
            <pc:sldMk cId="3541413998" sldId="2147479608"/>
            <ac:cxnSpMk id="48" creationId="{B6B316C5-3890-618F-9EC7-FA4799E173D4}"/>
          </ac:cxnSpMkLst>
        </pc:cxnChg>
        <pc:cxnChg chg="add mod">
          <ac:chgData name="Nathaniel Lisko" userId="a0f741b4-96d8-4656-9d9d-6c07055d5893" providerId="ADAL" clId="{560A71C6-9DE4-4981-9CF4-8DFC3EE4F452}" dt="2025-09-26T16:42:00.163" v="95" actId="14100"/>
          <ac:cxnSpMkLst>
            <pc:docMk/>
            <pc:sldMk cId="3541413998" sldId="2147479608"/>
            <ac:cxnSpMk id="50" creationId="{F64ACB44-8344-FB6E-21B8-F81C84D62747}"/>
          </ac:cxnSpMkLst>
        </pc:cxnChg>
        <pc:cxnChg chg="add mod">
          <ac:chgData name="Nathaniel Lisko" userId="a0f741b4-96d8-4656-9d9d-6c07055d5893" providerId="ADAL" clId="{560A71C6-9DE4-4981-9CF4-8DFC3EE4F452}" dt="2025-09-26T16:41:42.726" v="92" actId="1076"/>
          <ac:cxnSpMkLst>
            <pc:docMk/>
            <pc:sldMk cId="3541413998" sldId="2147479608"/>
            <ac:cxnSpMk id="56" creationId="{FD533A4D-E6E7-F727-B78D-D98215DA8994}"/>
          </ac:cxnSpMkLst>
        </pc:cxnChg>
        <pc:cxnChg chg="add del mod">
          <ac:chgData name="Nathaniel Lisko" userId="a0f741b4-96d8-4656-9d9d-6c07055d5893" providerId="ADAL" clId="{560A71C6-9DE4-4981-9CF4-8DFC3EE4F452}" dt="2025-09-26T16:40:24.061" v="62" actId="478"/>
          <ac:cxnSpMkLst>
            <pc:docMk/>
            <pc:sldMk cId="3541413998" sldId="2147479608"/>
            <ac:cxnSpMk id="65" creationId="{39072D0F-D154-EBE8-E390-63F746F6E4E4}"/>
          </ac:cxnSpMkLst>
        </pc:cxnChg>
        <pc:cxnChg chg="add mod">
          <ac:chgData name="Nathaniel Lisko" userId="a0f741b4-96d8-4656-9d9d-6c07055d5893" providerId="ADAL" clId="{560A71C6-9DE4-4981-9CF4-8DFC3EE4F452}" dt="2025-09-26T16:40:33.736" v="64" actId="1076"/>
          <ac:cxnSpMkLst>
            <pc:docMk/>
            <pc:sldMk cId="3541413998" sldId="2147479608"/>
            <ac:cxnSpMk id="69" creationId="{8E6AF798-41D4-D282-2998-5962E7B9FD7A}"/>
          </ac:cxnSpMkLst>
        </pc:cxnChg>
        <pc:cxnChg chg="add mod">
          <ac:chgData name="Nathaniel Lisko" userId="a0f741b4-96d8-4656-9d9d-6c07055d5893" providerId="ADAL" clId="{560A71C6-9DE4-4981-9CF4-8DFC3EE4F452}" dt="2025-09-26T16:41:38.003" v="91" actId="1076"/>
          <ac:cxnSpMkLst>
            <pc:docMk/>
            <pc:sldMk cId="3541413998" sldId="2147479608"/>
            <ac:cxnSpMk id="70" creationId="{ECF2E4D0-F352-498F-5AB2-112EDC7EF53E}"/>
          </ac:cxnSpMkLst>
        </pc:cxnChg>
      </pc:sldChg>
    </pc:docChg>
  </pc:docChgLst>
  <pc:docChgLst>
    <pc:chgData name="Isel Tula Gonzalez" userId="S::isel.tula@accelirate.com::edecd9bf-fb3a-4d61-856b-1e4afd590d78" providerId="AD" clId="Web-{46B4DEF6-88A6-1602-A31C-88998414C911}"/>
    <pc:docChg chg="modSld">
      <pc:chgData name="Isel Tula Gonzalez" userId="S::isel.tula@accelirate.com::edecd9bf-fb3a-4d61-856b-1e4afd590d78" providerId="AD" clId="Web-{46B4DEF6-88A6-1602-A31C-88998414C911}" dt="2025-09-25T19:43:12.286" v="1" actId="20577"/>
      <pc:docMkLst>
        <pc:docMk/>
      </pc:docMkLst>
      <pc:sldChg chg="modSp">
        <pc:chgData name="Isel Tula Gonzalez" userId="S::isel.tula@accelirate.com::edecd9bf-fb3a-4d61-856b-1e4afd590d78" providerId="AD" clId="Web-{46B4DEF6-88A6-1602-A31C-88998414C911}" dt="2025-09-25T19:43:12.286" v="1" actId="20577"/>
        <pc:sldMkLst>
          <pc:docMk/>
          <pc:sldMk cId="2827551352" sldId="2076137168"/>
        </pc:sldMkLst>
        <pc:spChg chg="mod">
          <ac:chgData name="Isel Tula Gonzalez" userId="S::isel.tula@accelirate.com::edecd9bf-fb3a-4d61-856b-1e4afd590d78" providerId="AD" clId="Web-{46B4DEF6-88A6-1602-A31C-88998414C911}" dt="2025-09-25T19:43:12.286" v="1" actId="20577"/>
          <ac:spMkLst>
            <pc:docMk/>
            <pc:sldMk cId="2827551352" sldId="2076137168"/>
            <ac:spMk id="18" creationId="{2E5CC894-DB30-008D-E2C7-D2FD8ECEE9AE}"/>
          </ac:spMkLst>
        </pc:spChg>
        <pc:spChg chg="mod">
          <ac:chgData name="Isel Tula Gonzalez" userId="S::isel.tula@accelirate.com::edecd9bf-fb3a-4d61-856b-1e4afd590d78" providerId="AD" clId="Web-{46B4DEF6-88A6-1602-A31C-88998414C911}" dt="2025-09-25T19:43:05.130" v="0" actId="20577"/>
          <ac:spMkLst>
            <pc:docMk/>
            <pc:sldMk cId="2827551352" sldId="2076137168"/>
            <ac:spMk id="19" creationId="{60A7428A-F572-F07B-4246-57A5A1791AF3}"/>
          </ac:spMkLst>
        </pc:spChg>
      </pc:sldChg>
    </pc:docChg>
  </pc:docChgLst>
  <pc:docChgLst>
    <pc:chgData clId="Web-{04B17F4B-49F5-882B-CC5D-A2498495D64A}"/>
    <pc:docChg chg="delSld">
      <pc:chgData name="" userId="" providerId="" clId="Web-{04B17F4B-49F5-882B-CC5D-A2498495D64A}" dt="2025-09-16T20:50:43.051" v="0"/>
      <pc:docMkLst>
        <pc:docMk/>
      </pc:docMkLst>
    </pc:docChg>
  </pc:docChgLst>
  <pc:docChgLst>
    <pc:chgData name="Aaron Arsenault" userId="364a9df8-2241-4005-8ffd-d26281e42ef3" providerId="ADAL" clId="{8CA986BE-9BCC-4E02-B624-36142D4A5611}"/>
    <pc:docChg chg="undo custSel addSld modSld">
      <pc:chgData name="Aaron Arsenault" userId="364a9df8-2241-4005-8ffd-d26281e42ef3" providerId="ADAL" clId="{8CA986BE-9BCC-4E02-B624-36142D4A5611}" dt="2025-09-26T21:13:54.252" v="159" actId="20577"/>
      <pc:docMkLst>
        <pc:docMk/>
      </pc:docMkLst>
      <pc:sldChg chg="modSp mod">
        <pc:chgData name="Aaron Arsenault" userId="364a9df8-2241-4005-8ffd-d26281e42ef3" providerId="ADAL" clId="{8CA986BE-9BCC-4E02-B624-36142D4A5611}" dt="2025-09-26T21:11:12.518" v="136" actId="790"/>
        <pc:sldMkLst>
          <pc:docMk/>
          <pc:sldMk cId="471722561" sldId="256"/>
        </pc:sldMkLst>
        <pc:spChg chg="mod">
          <ac:chgData name="Aaron Arsenault" userId="364a9df8-2241-4005-8ffd-d26281e42ef3" providerId="ADAL" clId="{8CA986BE-9BCC-4E02-B624-36142D4A5611}" dt="2025-09-26T21:11:12.518" v="136" actId="790"/>
          <ac:spMkLst>
            <pc:docMk/>
            <pc:sldMk cId="471722561" sldId="256"/>
            <ac:spMk id="33" creationId="{07B1178C-3B83-8739-601B-DE27788C4123}"/>
          </ac:spMkLst>
        </pc:spChg>
        <pc:spChg chg="mod">
          <ac:chgData name="Aaron Arsenault" userId="364a9df8-2241-4005-8ffd-d26281e42ef3" providerId="ADAL" clId="{8CA986BE-9BCC-4E02-B624-36142D4A5611}" dt="2025-09-26T21:11:12.518" v="136" actId="790"/>
          <ac:spMkLst>
            <pc:docMk/>
            <pc:sldMk cId="471722561" sldId="256"/>
            <ac:spMk id="35" creationId="{10141458-5702-417D-6C2B-9B4B6E3AFECE}"/>
          </ac:spMkLst>
        </pc:spChg>
      </pc:sldChg>
      <pc:sldChg chg="modSp mod">
        <pc:chgData name="Aaron Arsenault" userId="364a9df8-2241-4005-8ffd-d26281e42ef3" providerId="ADAL" clId="{8CA986BE-9BCC-4E02-B624-36142D4A5611}" dt="2025-09-26T21:13:54.252" v="159" actId="20577"/>
        <pc:sldMkLst>
          <pc:docMk/>
          <pc:sldMk cId="1737979954" sldId="258"/>
        </pc:sldMkLst>
        <pc:spChg chg="mod">
          <ac:chgData name="Aaron Arsenault" userId="364a9df8-2241-4005-8ffd-d26281e42ef3" providerId="ADAL" clId="{8CA986BE-9BCC-4E02-B624-36142D4A5611}" dt="2025-09-26T21:13:54.252" v="159" actId="20577"/>
          <ac:spMkLst>
            <pc:docMk/>
            <pc:sldMk cId="1737979954" sldId="258"/>
            <ac:spMk id="14" creationId="{6C8BF0D6-F424-CCB4-B127-7290D8F81126}"/>
          </ac:spMkLst>
        </pc:spChg>
      </pc:sldChg>
      <pc:sldChg chg="modSp mod">
        <pc:chgData name="Aaron Arsenault" userId="364a9df8-2241-4005-8ffd-d26281e42ef3" providerId="ADAL" clId="{8CA986BE-9BCC-4E02-B624-36142D4A5611}" dt="2025-09-26T21:10:47.440" v="135" actId="790"/>
        <pc:sldMkLst>
          <pc:docMk/>
          <pc:sldMk cId="2943038519" sldId="264"/>
        </pc:sldMkLst>
        <pc:spChg chg="mod">
          <ac:chgData name="Aaron Arsenault" userId="364a9df8-2241-4005-8ffd-d26281e42ef3" providerId="ADAL" clId="{8CA986BE-9BCC-4E02-B624-36142D4A5611}" dt="2025-09-26T21:10:47.440" v="135" actId="790"/>
          <ac:spMkLst>
            <pc:docMk/>
            <pc:sldMk cId="2943038519" sldId="264"/>
            <ac:spMk id="5" creationId="{364B29AA-DEB1-6C2F-1C71-711996446958}"/>
          </ac:spMkLst>
        </pc:spChg>
        <pc:spChg chg="mod">
          <ac:chgData name="Aaron Arsenault" userId="364a9df8-2241-4005-8ffd-d26281e42ef3" providerId="ADAL" clId="{8CA986BE-9BCC-4E02-B624-36142D4A5611}" dt="2025-09-26T21:10:47.440" v="135" actId="790"/>
          <ac:spMkLst>
            <pc:docMk/>
            <pc:sldMk cId="2943038519" sldId="264"/>
            <ac:spMk id="12" creationId="{70BC715B-3C71-BD2C-828D-AB6331265D1F}"/>
          </ac:spMkLst>
        </pc:spChg>
        <pc:spChg chg="mod">
          <ac:chgData name="Aaron Arsenault" userId="364a9df8-2241-4005-8ffd-d26281e42ef3" providerId="ADAL" clId="{8CA986BE-9BCC-4E02-B624-36142D4A5611}" dt="2025-09-26T21:10:47.440" v="135" actId="790"/>
          <ac:spMkLst>
            <pc:docMk/>
            <pc:sldMk cId="2943038519" sldId="264"/>
            <ac:spMk id="16" creationId="{06FB1183-CF1D-FBBB-F98E-22945D2C0D76}"/>
          </ac:spMkLst>
        </pc:spChg>
        <pc:spChg chg="mod">
          <ac:chgData name="Aaron Arsenault" userId="364a9df8-2241-4005-8ffd-d26281e42ef3" providerId="ADAL" clId="{8CA986BE-9BCC-4E02-B624-36142D4A5611}" dt="2025-09-26T21:10:47.440" v="135" actId="790"/>
          <ac:spMkLst>
            <pc:docMk/>
            <pc:sldMk cId="2943038519" sldId="264"/>
            <ac:spMk id="17" creationId="{5B026639-402E-E89A-1785-C04E6B2BE188}"/>
          </ac:spMkLst>
        </pc:spChg>
        <pc:spChg chg="mod">
          <ac:chgData name="Aaron Arsenault" userId="364a9df8-2241-4005-8ffd-d26281e42ef3" providerId="ADAL" clId="{8CA986BE-9BCC-4E02-B624-36142D4A5611}" dt="2025-09-26T21:10:47.440" v="135" actId="790"/>
          <ac:spMkLst>
            <pc:docMk/>
            <pc:sldMk cId="2943038519" sldId="264"/>
            <ac:spMk id="18" creationId="{E400145C-1E9F-B207-C011-E8B85C3EBB5D}"/>
          </ac:spMkLst>
        </pc:spChg>
        <pc:spChg chg="mod">
          <ac:chgData name="Aaron Arsenault" userId="364a9df8-2241-4005-8ffd-d26281e42ef3" providerId="ADAL" clId="{8CA986BE-9BCC-4E02-B624-36142D4A5611}" dt="2025-09-26T21:10:47.440" v="135" actId="790"/>
          <ac:spMkLst>
            <pc:docMk/>
            <pc:sldMk cId="2943038519" sldId="264"/>
            <ac:spMk id="20" creationId="{AE17CD6C-53EE-423B-9AE4-13D57F201F54}"/>
          </ac:spMkLst>
        </pc:spChg>
        <pc:spChg chg="mod">
          <ac:chgData name="Aaron Arsenault" userId="364a9df8-2241-4005-8ffd-d26281e42ef3" providerId="ADAL" clId="{8CA986BE-9BCC-4E02-B624-36142D4A5611}" dt="2025-09-26T21:10:47.440" v="135" actId="790"/>
          <ac:spMkLst>
            <pc:docMk/>
            <pc:sldMk cId="2943038519" sldId="264"/>
            <ac:spMk id="22" creationId="{C8C860DD-B2E3-875C-B0A0-413DB69F5553}"/>
          </ac:spMkLst>
        </pc:spChg>
        <pc:spChg chg="mod">
          <ac:chgData name="Aaron Arsenault" userId="364a9df8-2241-4005-8ffd-d26281e42ef3" providerId="ADAL" clId="{8CA986BE-9BCC-4E02-B624-36142D4A5611}" dt="2025-09-26T21:10:47.440" v="135" actId="790"/>
          <ac:spMkLst>
            <pc:docMk/>
            <pc:sldMk cId="2943038519" sldId="264"/>
            <ac:spMk id="25" creationId="{DD3C8EEC-C4AE-1602-A2FF-FD1852095761}"/>
          </ac:spMkLst>
        </pc:spChg>
        <pc:spChg chg="mod">
          <ac:chgData name="Aaron Arsenault" userId="364a9df8-2241-4005-8ffd-d26281e42ef3" providerId="ADAL" clId="{8CA986BE-9BCC-4E02-B624-36142D4A5611}" dt="2025-09-26T21:10:47.440" v="135" actId="790"/>
          <ac:spMkLst>
            <pc:docMk/>
            <pc:sldMk cId="2943038519" sldId="264"/>
            <ac:spMk id="51" creationId="{7AF3E577-C0D7-AC65-CA8A-464FBF5B1AE5}"/>
          </ac:spMkLst>
        </pc:spChg>
        <pc:spChg chg="mod">
          <ac:chgData name="Aaron Arsenault" userId="364a9df8-2241-4005-8ffd-d26281e42ef3" providerId="ADAL" clId="{8CA986BE-9BCC-4E02-B624-36142D4A5611}" dt="2025-09-26T21:10:47.440" v="135" actId="790"/>
          <ac:spMkLst>
            <pc:docMk/>
            <pc:sldMk cId="2943038519" sldId="264"/>
            <ac:spMk id="63" creationId="{C5E6043C-B1D1-36A4-F6F1-7B5B18BEE98D}"/>
          </ac:spMkLst>
        </pc:spChg>
      </pc:sldChg>
      <pc:sldChg chg="modSp mod">
        <pc:chgData name="Aaron Arsenault" userId="364a9df8-2241-4005-8ffd-d26281e42ef3" providerId="ADAL" clId="{8CA986BE-9BCC-4E02-B624-36142D4A5611}" dt="2025-09-26T20:39:52.824" v="87" actId="20577"/>
        <pc:sldMkLst>
          <pc:docMk/>
          <pc:sldMk cId="0" sldId="288"/>
        </pc:sldMkLst>
        <pc:spChg chg="mod">
          <ac:chgData name="Aaron Arsenault" userId="364a9df8-2241-4005-8ffd-d26281e42ef3" providerId="ADAL" clId="{8CA986BE-9BCC-4E02-B624-36142D4A5611}" dt="2025-09-26T20:39:52.824" v="87" actId="20577"/>
          <ac:spMkLst>
            <pc:docMk/>
            <pc:sldMk cId="0" sldId="288"/>
            <ac:spMk id="4" creationId="{308E15C3-3C31-20EE-F4D3-754E3C9D3FFA}"/>
          </ac:spMkLst>
        </pc:spChg>
        <pc:spChg chg="mod">
          <ac:chgData name="Aaron Arsenault" userId="364a9df8-2241-4005-8ffd-d26281e42ef3" providerId="ADAL" clId="{8CA986BE-9BCC-4E02-B624-36142D4A5611}" dt="2025-09-26T20:16:17.667" v="4" actId="207"/>
          <ac:spMkLst>
            <pc:docMk/>
            <pc:sldMk cId="0" sldId="288"/>
            <ac:spMk id="4763" creationId="{00000000-0000-0000-0000-000000000000}"/>
          </ac:spMkLst>
        </pc:spChg>
        <pc:spChg chg="mod">
          <ac:chgData name="Aaron Arsenault" userId="364a9df8-2241-4005-8ffd-d26281e42ef3" providerId="ADAL" clId="{8CA986BE-9BCC-4E02-B624-36142D4A5611}" dt="2025-09-26T20:16:17.667" v="4" actId="207"/>
          <ac:spMkLst>
            <pc:docMk/>
            <pc:sldMk cId="0" sldId="288"/>
            <ac:spMk id="4764" creationId="{00000000-0000-0000-0000-000000000000}"/>
          </ac:spMkLst>
        </pc:spChg>
        <pc:spChg chg="mod">
          <ac:chgData name="Aaron Arsenault" userId="364a9df8-2241-4005-8ffd-d26281e42ef3" providerId="ADAL" clId="{8CA986BE-9BCC-4E02-B624-36142D4A5611}" dt="2025-09-26T20:16:17.667" v="4" actId="207"/>
          <ac:spMkLst>
            <pc:docMk/>
            <pc:sldMk cId="0" sldId="288"/>
            <ac:spMk id="4765" creationId="{00000000-0000-0000-0000-000000000000}"/>
          </ac:spMkLst>
        </pc:spChg>
        <pc:spChg chg="mod">
          <ac:chgData name="Aaron Arsenault" userId="364a9df8-2241-4005-8ffd-d26281e42ef3" providerId="ADAL" clId="{8CA986BE-9BCC-4E02-B624-36142D4A5611}" dt="2025-09-26T20:16:17.667" v="4" actId="207"/>
          <ac:spMkLst>
            <pc:docMk/>
            <pc:sldMk cId="0" sldId="288"/>
            <ac:spMk id="4766" creationId="{00000000-0000-0000-0000-000000000000}"/>
          </ac:spMkLst>
        </pc:spChg>
        <pc:spChg chg="mod">
          <ac:chgData name="Aaron Arsenault" userId="364a9df8-2241-4005-8ffd-d26281e42ef3" providerId="ADAL" clId="{8CA986BE-9BCC-4E02-B624-36142D4A5611}" dt="2025-09-26T20:16:17.667" v="4" actId="207"/>
          <ac:spMkLst>
            <pc:docMk/>
            <pc:sldMk cId="0" sldId="288"/>
            <ac:spMk id="4783" creationId="{00000000-0000-0000-0000-000000000000}"/>
          </ac:spMkLst>
        </pc:spChg>
        <pc:spChg chg="mod">
          <ac:chgData name="Aaron Arsenault" userId="364a9df8-2241-4005-8ffd-d26281e42ef3" providerId="ADAL" clId="{8CA986BE-9BCC-4E02-B624-36142D4A5611}" dt="2025-09-26T20:16:17.667" v="4" actId="207"/>
          <ac:spMkLst>
            <pc:docMk/>
            <pc:sldMk cId="0" sldId="288"/>
            <ac:spMk id="4784" creationId="{00000000-0000-0000-0000-000000000000}"/>
          </ac:spMkLst>
        </pc:spChg>
        <pc:spChg chg="mod">
          <ac:chgData name="Aaron Arsenault" userId="364a9df8-2241-4005-8ffd-d26281e42ef3" providerId="ADAL" clId="{8CA986BE-9BCC-4E02-B624-36142D4A5611}" dt="2025-09-26T20:16:17.667" v="4" actId="207"/>
          <ac:spMkLst>
            <pc:docMk/>
            <pc:sldMk cId="0" sldId="288"/>
            <ac:spMk id="4785" creationId="{00000000-0000-0000-0000-000000000000}"/>
          </ac:spMkLst>
        </pc:spChg>
        <pc:spChg chg="mod">
          <ac:chgData name="Aaron Arsenault" userId="364a9df8-2241-4005-8ffd-d26281e42ef3" providerId="ADAL" clId="{8CA986BE-9BCC-4E02-B624-36142D4A5611}" dt="2025-09-26T20:16:17.667" v="4" actId="207"/>
          <ac:spMkLst>
            <pc:docMk/>
            <pc:sldMk cId="0" sldId="288"/>
            <ac:spMk id="4786" creationId="{00000000-0000-0000-0000-000000000000}"/>
          </ac:spMkLst>
        </pc:spChg>
      </pc:sldChg>
      <pc:sldChg chg="modSp mod">
        <pc:chgData name="Aaron Arsenault" userId="364a9df8-2241-4005-8ffd-d26281e42ef3" providerId="ADAL" clId="{8CA986BE-9BCC-4E02-B624-36142D4A5611}" dt="2025-09-26T20:19:21.396" v="20" actId="404"/>
        <pc:sldMkLst>
          <pc:docMk/>
          <pc:sldMk cId="2827551352" sldId="2076137168"/>
        </pc:sldMkLst>
        <pc:spChg chg="mod">
          <ac:chgData name="Aaron Arsenault" userId="364a9df8-2241-4005-8ffd-d26281e42ef3" providerId="ADAL" clId="{8CA986BE-9BCC-4E02-B624-36142D4A5611}" dt="2025-09-26T20:16:25.264" v="5" actId="207"/>
          <ac:spMkLst>
            <pc:docMk/>
            <pc:sldMk cId="2827551352" sldId="2076137168"/>
            <ac:spMk id="4" creationId="{9F8A5F15-CDEB-0AAE-D0EC-F6785AD33E60}"/>
          </ac:spMkLst>
        </pc:spChg>
        <pc:spChg chg="mod">
          <ac:chgData name="Aaron Arsenault" userId="364a9df8-2241-4005-8ffd-d26281e42ef3" providerId="ADAL" clId="{8CA986BE-9BCC-4E02-B624-36142D4A5611}" dt="2025-09-26T20:19:11.497" v="19" actId="404"/>
          <ac:spMkLst>
            <pc:docMk/>
            <pc:sldMk cId="2827551352" sldId="2076137168"/>
            <ac:spMk id="16" creationId="{78C402E6-45B9-9FCC-EB18-01D546C79B8F}"/>
          </ac:spMkLst>
        </pc:spChg>
        <pc:spChg chg="mod">
          <ac:chgData name="Aaron Arsenault" userId="364a9df8-2241-4005-8ffd-d26281e42ef3" providerId="ADAL" clId="{8CA986BE-9BCC-4E02-B624-36142D4A5611}" dt="2025-09-26T20:19:06.233" v="18" actId="404"/>
          <ac:spMkLst>
            <pc:docMk/>
            <pc:sldMk cId="2827551352" sldId="2076137168"/>
            <ac:spMk id="17" creationId="{64096F3D-26B4-5951-907C-ADBDD4C2C8DB}"/>
          </ac:spMkLst>
        </pc:spChg>
        <pc:spChg chg="mod">
          <ac:chgData name="Aaron Arsenault" userId="364a9df8-2241-4005-8ffd-d26281e42ef3" providerId="ADAL" clId="{8CA986BE-9BCC-4E02-B624-36142D4A5611}" dt="2025-09-26T20:19:21.396" v="20" actId="404"/>
          <ac:spMkLst>
            <pc:docMk/>
            <pc:sldMk cId="2827551352" sldId="2076137168"/>
            <ac:spMk id="25" creationId="{A1937EA3-9895-F436-D06F-8F66C55B3981}"/>
          </ac:spMkLst>
        </pc:spChg>
      </pc:sldChg>
      <pc:sldChg chg="addSp delSp modSp mod">
        <pc:chgData name="Aaron Arsenault" userId="364a9df8-2241-4005-8ffd-d26281e42ef3" providerId="ADAL" clId="{8CA986BE-9BCC-4E02-B624-36142D4A5611}" dt="2025-09-26T21:13:10.256" v="144" actId="1076"/>
        <pc:sldMkLst>
          <pc:docMk/>
          <pc:sldMk cId="275455557" sldId="2076137400"/>
        </pc:sldMkLst>
        <pc:spChg chg="del">
          <ac:chgData name="Aaron Arsenault" userId="364a9df8-2241-4005-8ffd-d26281e42ef3" providerId="ADAL" clId="{8CA986BE-9BCC-4E02-B624-36142D4A5611}" dt="2025-09-26T21:12:02.847" v="137" actId="478"/>
          <ac:spMkLst>
            <pc:docMk/>
            <pc:sldMk cId="275455557" sldId="2076137400"/>
            <ac:spMk id="2" creationId="{67B4CF83-504F-2441-4E40-D14270EB01A6}"/>
          </ac:spMkLst>
        </pc:spChg>
        <pc:spChg chg="add mod">
          <ac:chgData name="Aaron Arsenault" userId="364a9df8-2241-4005-8ffd-d26281e42ef3" providerId="ADAL" clId="{8CA986BE-9BCC-4E02-B624-36142D4A5611}" dt="2025-09-26T21:12:08.566" v="138"/>
          <ac:spMkLst>
            <pc:docMk/>
            <pc:sldMk cId="275455557" sldId="2076137400"/>
            <ac:spMk id="5" creationId="{94846B3E-AFEB-F05E-6DF2-87BE714E11E6}"/>
          </ac:spMkLst>
        </pc:spChg>
        <pc:spChg chg="add mod">
          <ac:chgData name="Aaron Arsenault" userId="364a9df8-2241-4005-8ffd-d26281e42ef3" providerId="ADAL" clId="{8CA986BE-9BCC-4E02-B624-36142D4A5611}" dt="2025-09-26T21:12:41.254" v="140" actId="1076"/>
          <ac:spMkLst>
            <pc:docMk/>
            <pc:sldMk cId="275455557" sldId="2076137400"/>
            <ac:spMk id="8" creationId="{DAD0DE1B-3343-B830-061B-623766DB8C39}"/>
          </ac:spMkLst>
        </pc:spChg>
        <pc:spChg chg="add mod">
          <ac:chgData name="Aaron Arsenault" userId="364a9df8-2241-4005-8ffd-d26281e42ef3" providerId="ADAL" clId="{8CA986BE-9BCC-4E02-B624-36142D4A5611}" dt="2025-09-26T21:12:53.798" v="142" actId="1076"/>
          <ac:spMkLst>
            <pc:docMk/>
            <pc:sldMk cId="275455557" sldId="2076137400"/>
            <ac:spMk id="14" creationId="{4174D63A-9C64-CCD1-9AC6-08147C81819E}"/>
          </ac:spMkLst>
        </pc:spChg>
        <pc:spChg chg="add mod">
          <ac:chgData name="Aaron Arsenault" userId="364a9df8-2241-4005-8ffd-d26281e42ef3" providerId="ADAL" clId="{8CA986BE-9BCC-4E02-B624-36142D4A5611}" dt="2025-09-26T21:13:10.256" v="144" actId="1076"/>
          <ac:spMkLst>
            <pc:docMk/>
            <pc:sldMk cId="275455557" sldId="2076137400"/>
            <ac:spMk id="15" creationId="{B69EB4AA-BD5C-503B-961A-121B0E75D465}"/>
          </ac:spMkLst>
        </pc:spChg>
      </pc:sldChg>
      <pc:sldChg chg="modSp mod">
        <pc:chgData name="Aaron Arsenault" userId="364a9df8-2241-4005-8ffd-d26281e42ef3" providerId="ADAL" clId="{8CA986BE-9BCC-4E02-B624-36142D4A5611}" dt="2025-09-26T20:16:28.284" v="6" actId="207"/>
        <pc:sldMkLst>
          <pc:docMk/>
          <pc:sldMk cId="2818113404" sldId="2147479605"/>
        </pc:sldMkLst>
        <pc:spChg chg="mod">
          <ac:chgData name="Aaron Arsenault" userId="364a9df8-2241-4005-8ffd-d26281e42ef3" providerId="ADAL" clId="{8CA986BE-9BCC-4E02-B624-36142D4A5611}" dt="2025-09-26T20:16:28.284" v="6" actId="207"/>
          <ac:spMkLst>
            <pc:docMk/>
            <pc:sldMk cId="2818113404" sldId="2147479605"/>
            <ac:spMk id="4" creationId="{D2C8E3BC-B04F-6670-91A8-B3E0438904F9}"/>
          </ac:spMkLst>
        </pc:spChg>
      </pc:sldChg>
      <pc:sldChg chg="modSp mod">
        <pc:chgData name="Aaron Arsenault" userId="364a9df8-2241-4005-8ffd-d26281e42ef3" providerId="ADAL" clId="{8CA986BE-9BCC-4E02-B624-36142D4A5611}" dt="2025-09-26T20:17:16.084" v="14" actId="404"/>
        <pc:sldMkLst>
          <pc:docMk/>
          <pc:sldMk cId="2934779078" sldId="2147479606"/>
        </pc:sldMkLst>
        <pc:spChg chg="mod">
          <ac:chgData name="Aaron Arsenault" userId="364a9df8-2241-4005-8ffd-d26281e42ef3" providerId="ADAL" clId="{8CA986BE-9BCC-4E02-B624-36142D4A5611}" dt="2025-09-26T20:17:16.084" v="14" actId="404"/>
          <ac:spMkLst>
            <pc:docMk/>
            <pc:sldMk cId="2934779078" sldId="2147479606"/>
            <ac:spMk id="2" creationId="{76AEF545-9885-ED25-2FD4-C92B53E4BAB0}"/>
          </ac:spMkLst>
        </pc:spChg>
        <pc:spChg chg="mod">
          <ac:chgData name="Aaron Arsenault" userId="364a9df8-2241-4005-8ffd-d26281e42ef3" providerId="ADAL" clId="{8CA986BE-9BCC-4E02-B624-36142D4A5611}" dt="2025-09-26T20:16:35.204" v="8" actId="207"/>
          <ac:spMkLst>
            <pc:docMk/>
            <pc:sldMk cId="2934779078" sldId="2147479606"/>
            <ac:spMk id="4" creationId="{D0CDEE3A-12F1-53E5-D03B-2AB563E333E2}"/>
          </ac:spMkLst>
        </pc:spChg>
        <pc:spChg chg="mod">
          <ac:chgData name="Aaron Arsenault" userId="364a9df8-2241-4005-8ffd-d26281e42ef3" providerId="ADAL" clId="{8CA986BE-9BCC-4E02-B624-36142D4A5611}" dt="2025-09-26T20:17:13.077" v="12" actId="404"/>
          <ac:spMkLst>
            <pc:docMk/>
            <pc:sldMk cId="2934779078" sldId="2147479606"/>
            <ac:spMk id="16" creationId="{376503BB-EB71-C328-0015-342CE608BAF3}"/>
          </ac:spMkLst>
        </pc:spChg>
        <pc:spChg chg="mod">
          <ac:chgData name="Aaron Arsenault" userId="364a9df8-2241-4005-8ffd-d26281e42ef3" providerId="ADAL" clId="{8CA986BE-9BCC-4E02-B624-36142D4A5611}" dt="2025-09-26T20:17:10.128" v="10" actId="404"/>
          <ac:spMkLst>
            <pc:docMk/>
            <pc:sldMk cId="2934779078" sldId="2147479606"/>
            <ac:spMk id="17" creationId="{17F4457C-FFB9-AE52-F338-7E1934F32862}"/>
          </ac:spMkLst>
        </pc:spChg>
        <pc:spChg chg="mod">
          <ac:chgData name="Aaron Arsenault" userId="364a9df8-2241-4005-8ffd-d26281e42ef3" providerId="ADAL" clId="{8CA986BE-9BCC-4E02-B624-36142D4A5611}" dt="2025-09-26T20:17:05.619" v="9" actId="404"/>
          <ac:spMkLst>
            <pc:docMk/>
            <pc:sldMk cId="2934779078" sldId="2147479606"/>
            <ac:spMk id="18" creationId="{51C94378-3DF8-532C-2256-F47B6203F01F}"/>
          </ac:spMkLst>
        </pc:spChg>
      </pc:sldChg>
      <pc:sldChg chg="modSp mod">
        <pc:chgData name="Aaron Arsenault" userId="364a9df8-2241-4005-8ffd-d26281e42ef3" providerId="ADAL" clId="{8CA986BE-9BCC-4E02-B624-36142D4A5611}" dt="2025-09-26T20:16:31.794" v="7" actId="207"/>
        <pc:sldMkLst>
          <pc:docMk/>
          <pc:sldMk cId="2635571018" sldId="2147479607"/>
        </pc:sldMkLst>
        <pc:spChg chg="mod">
          <ac:chgData name="Aaron Arsenault" userId="364a9df8-2241-4005-8ffd-d26281e42ef3" providerId="ADAL" clId="{8CA986BE-9BCC-4E02-B624-36142D4A5611}" dt="2025-09-26T20:16:31.794" v="7" actId="207"/>
          <ac:spMkLst>
            <pc:docMk/>
            <pc:sldMk cId="2635571018" sldId="2147479607"/>
            <ac:spMk id="4" creationId="{8B02EABD-BC41-EFEF-8D85-623BAC99CD61}"/>
          </ac:spMkLst>
        </pc:spChg>
      </pc:sldChg>
      <pc:sldChg chg="modSp mod">
        <pc:chgData name="Aaron Arsenault" userId="364a9df8-2241-4005-8ffd-d26281e42ef3" providerId="ADAL" clId="{8CA986BE-9BCC-4E02-B624-36142D4A5611}" dt="2025-09-26T20:18:47.055" v="16"/>
        <pc:sldMkLst>
          <pc:docMk/>
          <pc:sldMk cId="3541413998" sldId="2147479608"/>
        </pc:sldMkLst>
        <pc:spChg chg="mod">
          <ac:chgData name="Aaron Arsenault" userId="364a9df8-2241-4005-8ffd-d26281e42ef3" providerId="ADAL" clId="{8CA986BE-9BCC-4E02-B624-36142D4A5611}" dt="2025-09-26T20:18:47.055" v="16"/>
          <ac:spMkLst>
            <pc:docMk/>
            <pc:sldMk cId="3541413998" sldId="2147479608"/>
            <ac:spMk id="3" creationId="{3B9214A2-3696-1C76-6A28-1E6CE1660506}"/>
          </ac:spMkLst>
        </pc:spChg>
        <pc:spChg chg="mod">
          <ac:chgData name="Aaron Arsenault" userId="364a9df8-2241-4005-8ffd-d26281e42ef3" providerId="ADAL" clId="{8CA986BE-9BCC-4E02-B624-36142D4A5611}" dt="2025-09-26T20:15:20.536" v="1" actId="2711"/>
          <ac:spMkLst>
            <pc:docMk/>
            <pc:sldMk cId="3541413998" sldId="2147479608"/>
            <ac:spMk id="4" creationId="{C25075EB-884D-19CE-84FF-C31B11E90A33}"/>
          </ac:spMkLst>
        </pc:spChg>
        <pc:spChg chg="mod">
          <ac:chgData name="Aaron Arsenault" userId="364a9df8-2241-4005-8ffd-d26281e42ef3" providerId="ADAL" clId="{8CA986BE-9BCC-4E02-B624-36142D4A5611}" dt="2025-09-26T20:15:20.536" v="1" actId="2711"/>
          <ac:spMkLst>
            <pc:docMk/>
            <pc:sldMk cId="3541413998" sldId="2147479608"/>
            <ac:spMk id="6" creationId="{E7514363-FC90-8E80-9F26-EFCFD85559B4}"/>
          </ac:spMkLst>
        </pc:spChg>
        <pc:spChg chg="mod">
          <ac:chgData name="Aaron Arsenault" userId="364a9df8-2241-4005-8ffd-d26281e42ef3" providerId="ADAL" clId="{8CA986BE-9BCC-4E02-B624-36142D4A5611}" dt="2025-09-26T20:15:20.536" v="1" actId="2711"/>
          <ac:spMkLst>
            <pc:docMk/>
            <pc:sldMk cId="3541413998" sldId="2147479608"/>
            <ac:spMk id="9" creationId="{A34651A6-D3CA-6072-2D97-E543FCD63B9F}"/>
          </ac:spMkLst>
        </pc:spChg>
        <pc:spChg chg="mod">
          <ac:chgData name="Aaron Arsenault" userId="364a9df8-2241-4005-8ffd-d26281e42ef3" providerId="ADAL" clId="{8CA986BE-9BCC-4E02-B624-36142D4A5611}" dt="2025-09-26T20:15:20.536" v="1" actId="2711"/>
          <ac:spMkLst>
            <pc:docMk/>
            <pc:sldMk cId="3541413998" sldId="2147479608"/>
            <ac:spMk id="13" creationId="{CF35979E-AA49-A1D3-31A4-F8C0E13D7391}"/>
          </ac:spMkLst>
        </pc:spChg>
        <pc:spChg chg="mod">
          <ac:chgData name="Aaron Arsenault" userId="364a9df8-2241-4005-8ffd-d26281e42ef3" providerId="ADAL" clId="{8CA986BE-9BCC-4E02-B624-36142D4A5611}" dt="2025-09-26T20:15:20.536" v="1" actId="2711"/>
          <ac:spMkLst>
            <pc:docMk/>
            <pc:sldMk cId="3541413998" sldId="2147479608"/>
            <ac:spMk id="14" creationId="{09E66738-4A67-145C-D75B-C5CA84787F44}"/>
          </ac:spMkLst>
        </pc:spChg>
        <pc:spChg chg="mod">
          <ac:chgData name="Aaron Arsenault" userId="364a9df8-2241-4005-8ffd-d26281e42ef3" providerId="ADAL" clId="{8CA986BE-9BCC-4E02-B624-36142D4A5611}" dt="2025-09-26T20:15:20.536" v="1" actId="2711"/>
          <ac:spMkLst>
            <pc:docMk/>
            <pc:sldMk cId="3541413998" sldId="2147479608"/>
            <ac:spMk id="18" creationId="{62E8A102-7A5B-AAB3-9E35-51EDFD9CBEBA}"/>
          </ac:spMkLst>
        </pc:spChg>
        <pc:spChg chg="mod">
          <ac:chgData name="Aaron Arsenault" userId="364a9df8-2241-4005-8ffd-d26281e42ef3" providerId="ADAL" clId="{8CA986BE-9BCC-4E02-B624-36142D4A5611}" dt="2025-09-26T20:15:20.536" v="1" actId="2711"/>
          <ac:spMkLst>
            <pc:docMk/>
            <pc:sldMk cId="3541413998" sldId="2147479608"/>
            <ac:spMk id="20" creationId="{EC510BC2-368A-FE97-93EF-93B7F97C1081}"/>
          </ac:spMkLst>
        </pc:spChg>
        <pc:spChg chg="mod">
          <ac:chgData name="Aaron Arsenault" userId="364a9df8-2241-4005-8ffd-d26281e42ef3" providerId="ADAL" clId="{8CA986BE-9BCC-4E02-B624-36142D4A5611}" dt="2025-09-26T20:15:33.199" v="3" actId="20577"/>
          <ac:spMkLst>
            <pc:docMk/>
            <pc:sldMk cId="3541413998" sldId="2147479608"/>
            <ac:spMk id="21" creationId="{278618BA-986E-2996-AC3A-D7AB980C2065}"/>
          </ac:spMkLst>
        </pc:spChg>
        <pc:spChg chg="mod">
          <ac:chgData name="Aaron Arsenault" userId="364a9df8-2241-4005-8ffd-d26281e42ef3" providerId="ADAL" clId="{8CA986BE-9BCC-4E02-B624-36142D4A5611}" dt="2025-09-26T20:15:20.536" v="1" actId="2711"/>
          <ac:spMkLst>
            <pc:docMk/>
            <pc:sldMk cId="3541413998" sldId="2147479608"/>
            <ac:spMk id="24" creationId="{0CAAEBA1-F090-1C1B-8CFF-A8657EEBF225}"/>
          </ac:spMkLst>
        </pc:spChg>
        <pc:spChg chg="mod">
          <ac:chgData name="Aaron Arsenault" userId="364a9df8-2241-4005-8ffd-d26281e42ef3" providerId="ADAL" clId="{8CA986BE-9BCC-4E02-B624-36142D4A5611}" dt="2025-09-26T20:15:20.536" v="1" actId="2711"/>
          <ac:spMkLst>
            <pc:docMk/>
            <pc:sldMk cId="3541413998" sldId="2147479608"/>
            <ac:spMk id="25" creationId="{CBEA97ED-789A-0AD7-DCE4-554ECB4D2400}"/>
          </ac:spMkLst>
        </pc:spChg>
      </pc:sldChg>
      <pc:sldChg chg="addSp delSp modSp add mod delAnim modAnim">
        <pc:chgData name="Aaron Arsenault" userId="364a9df8-2241-4005-8ffd-d26281e42ef3" providerId="ADAL" clId="{8CA986BE-9BCC-4E02-B624-36142D4A5611}" dt="2025-09-26T20:41:04.418" v="94" actId="1076"/>
        <pc:sldMkLst>
          <pc:docMk/>
          <pc:sldMk cId="3031862043" sldId="2147479609"/>
        </pc:sldMkLst>
        <pc:spChg chg="del">
          <ac:chgData name="Aaron Arsenault" userId="364a9df8-2241-4005-8ffd-d26281e42ef3" providerId="ADAL" clId="{8CA986BE-9BCC-4E02-B624-36142D4A5611}" dt="2025-09-26T20:21:41.303" v="22" actId="478"/>
          <ac:spMkLst>
            <pc:docMk/>
            <pc:sldMk cId="3031862043" sldId="2147479609"/>
            <ac:spMk id="2" creationId="{159FAE91-B9A0-AF0F-1A5A-5C1CECC81866}"/>
          </ac:spMkLst>
        </pc:spChg>
        <pc:spChg chg="del">
          <ac:chgData name="Aaron Arsenault" userId="364a9df8-2241-4005-8ffd-d26281e42ef3" providerId="ADAL" clId="{8CA986BE-9BCC-4E02-B624-36142D4A5611}" dt="2025-09-26T20:21:41.303" v="22" actId="478"/>
          <ac:spMkLst>
            <pc:docMk/>
            <pc:sldMk cId="3031862043" sldId="2147479609"/>
            <ac:spMk id="8" creationId="{AE04DB3C-E242-BA4E-1272-11D9AB584D4D}"/>
          </ac:spMkLst>
        </pc:spChg>
        <pc:spChg chg="del">
          <ac:chgData name="Aaron Arsenault" userId="364a9df8-2241-4005-8ffd-d26281e42ef3" providerId="ADAL" clId="{8CA986BE-9BCC-4E02-B624-36142D4A5611}" dt="2025-09-26T20:21:41.303" v="22" actId="478"/>
          <ac:spMkLst>
            <pc:docMk/>
            <pc:sldMk cId="3031862043" sldId="2147479609"/>
            <ac:spMk id="10" creationId="{AB3DBC21-13F2-7C13-2D42-E58F0B5ACFDE}"/>
          </ac:spMkLst>
        </pc:spChg>
        <pc:spChg chg="del">
          <ac:chgData name="Aaron Arsenault" userId="364a9df8-2241-4005-8ffd-d26281e42ef3" providerId="ADAL" clId="{8CA986BE-9BCC-4E02-B624-36142D4A5611}" dt="2025-09-26T20:21:41.303" v="22" actId="478"/>
          <ac:spMkLst>
            <pc:docMk/>
            <pc:sldMk cId="3031862043" sldId="2147479609"/>
            <ac:spMk id="11" creationId="{8E214822-EC48-C0A1-0819-244FE5124287}"/>
          </ac:spMkLst>
        </pc:spChg>
        <pc:spChg chg="mod">
          <ac:chgData name="Aaron Arsenault" userId="364a9df8-2241-4005-8ffd-d26281e42ef3" providerId="ADAL" clId="{8CA986BE-9BCC-4E02-B624-36142D4A5611}" dt="2025-09-26T20:23:44.326" v="45" actId="20577"/>
          <ac:spMkLst>
            <pc:docMk/>
            <pc:sldMk cId="3031862043" sldId="2147479609"/>
            <ac:spMk id="14" creationId="{49CE1208-D810-6803-7EF1-8BF8D1B71492}"/>
          </ac:spMkLst>
        </pc:spChg>
        <pc:spChg chg="del">
          <ac:chgData name="Aaron Arsenault" userId="364a9df8-2241-4005-8ffd-d26281e42ef3" providerId="ADAL" clId="{8CA986BE-9BCC-4E02-B624-36142D4A5611}" dt="2025-09-26T20:21:41.303" v="22" actId="478"/>
          <ac:spMkLst>
            <pc:docMk/>
            <pc:sldMk cId="3031862043" sldId="2147479609"/>
            <ac:spMk id="18" creationId="{8DD9CE09-6B58-0D2B-26EC-0B8F4E4B13B0}"/>
          </ac:spMkLst>
        </pc:spChg>
        <pc:spChg chg="del">
          <ac:chgData name="Aaron Arsenault" userId="364a9df8-2241-4005-8ffd-d26281e42ef3" providerId="ADAL" clId="{8CA986BE-9BCC-4E02-B624-36142D4A5611}" dt="2025-09-26T20:21:41.303" v="22" actId="478"/>
          <ac:spMkLst>
            <pc:docMk/>
            <pc:sldMk cId="3031862043" sldId="2147479609"/>
            <ac:spMk id="19" creationId="{6381FE72-762B-BF35-455D-013EEAE44758}"/>
          </ac:spMkLst>
        </pc:spChg>
        <pc:spChg chg="del">
          <ac:chgData name="Aaron Arsenault" userId="364a9df8-2241-4005-8ffd-d26281e42ef3" providerId="ADAL" clId="{8CA986BE-9BCC-4E02-B624-36142D4A5611}" dt="2025-09-26T20:21:41.303" v="22" actId="478"/>
          <ac:spMkLst>
            <pc:docMk/>
            <pc:sldMk cId="3031862043" sldId="2147479609"/>
            <ac:spMk id="21" creationId="{C185A5BB-16A2-4E81-023A-DD490AAA8B40}"/>
          </ac:spMkLst>
        </pc:spChg>
        <pc:spChg chg="del">
          <ac:chgData name="Aaron Arsenault" userId="364a9df8-2241-4005-8ffd-d26281e42ef3" providerId="ADAL" clId="{8CA986BE-9BCC-4E02-B624-36142D4A5611}" dt="2025-09-26T20:21:41.303" v="22" actId="478"/>
          <ac:spMkLst>
            <pc:docMk/>
            <pc:sldMk cId="3031862043" sldId="2147479609"/>
            <ac:spMk id="24" creationId="{3077B0F4-2FAB-C2F8-B350-C220014C4D89}"/>
          </ac:spMkLst>
        </pc:spChg>
        <pc:spChg chg="del">
          <ac:chgData name="Aaron Arsenault" userId="364a9df8-2241-4005-8ffd-d26281e42ef3" providerId="ADAL" clId="{8CA986BE-9BCC-4E02-B624-36142D4A5611}" dt="2025-09-26T20:21:41.303" v="22" actId="478"/>
          <ac:spMkLst>
            <pc:docMk/>
            <pc:sldMk cId="3031862043" sldId="2147479609"/>
            <ac:spMk id="28" creationId="{D4C63D30-CBA5-D226-00DC-184BDF342368}"/>
          </ac:spMkLst>
        </pc:spChg>
        <pc:spChg chg="del">
          <ac:chgData name="Aaron Arsenault" userId="364a9df8-2241-4005-8ffd-d26281e42ef3" providerId="ADAL" clId="{8CA986BE-9BCC-4E02-B624-36142D4A5611}" dt="2025-09-26T20:21:41.303" v="22" actId="478"/>
          <ac:spMkLst>
            <pc:docMk/>
            <pc:sldMk cId="3031862043" sldId="2147479609"/>
            <ac:spMk id="37" creationId="{56F9713C-2375-370F-A995-2B0C6721F0AE}"/>
          </ac:spMkLst>
        </pc:spChg>
        <pc:picChg chg="add del mod">
          <ac:chgData name="Aaron Arsenault" userId="364a9df8-2241-4005-8ffd-d26281e42ef3" providerId="ADAL" clId="{8CA986BE-9BCC-4E02-B624-36142D4A5611}" dt="2025-09-26T20:40:14.733" v="88" actId="478"/>
          <ac:picMkLst>
            <pc:docMk/>
            <pc:sldMk cId="3031862043" sldId="2147479609"/>
            <ac:picMk id="5" creationId="{775CCB31-62F2-0237-B12E-4EAB9D482508}"/>
          </ac:picMkLst>
        </pc:picChg>
        <pc:picChg chg="add mod">
          <ac:chgData name="Aaron Arsenault" userId="364a9df8-2241-4005-8ffd-d26281e42ef3" providerId="ADAL" clId="{8CA986BE-9BCC-4E02-B624-36142D4A5611}" dt="2025-09-26T20:41:04.418" v="94" actId="1076"/>
          <ac:picMkLst>
            <pc:docMk/>
            <pc:sldMk cId="3031862043" sldId="2147479609"/>
            <ac:picMk id="12" creationId="{D4C6B3B3-D2E4-2308-D7AA-30C9953CADA5}"/>
          </ac:picMkLst>
        </pc:picChg>
      </pc:sldChg>
    </pc:docChg>
  </pc:docChgLst>
  <pc:docChgLst>
    <pc:chgData name="Jonathan Leon" userId="S::jonathan.leon@accelirate.com::2ce68458-9b08-4737-bc10-9e264b6529a5" providerId="AD" clId="Web-{9918807A-32DD-598B-DFF3-6C563D270A07}"/>
    <pc:docChg chg="modSld">
      <pc:chgData name="Jonathan Leon" userId="S::jonathan.leon@accelirate.com::2ce68458-9b08-4737-bc10-9e264b6529a5" providerId="AD" clId="Web-{9918807A-32DD-598B-DFF3-6C563D270A07}" dt="2025-09-16T20:54:30.215" v="63" actId="1076"/>
      <pc:docMkLst>
        <pc:docMk/>
      </pc:docMkLst>
      <pc:sldChg chg="modSp">
        <pc:chgData name="Jonathan Leon" userId="S::jonathan.leon@accelirate.com::2ce68458-9b08-4737-bc10-9e264b6529a5" providerId="AD" clId="Web-{9918807A-32DD-598B-DFF3-6C563D270A07}" dt="2025-09-16T20:53:01.620" v="30"/>
        <pc:sldMkLst>
          <pc:docMk/>
          <pc:sldMk cId="2943038519" sldId="264"/>
        </pc:sldMkLst>
        <pc:picChg chg="mod modCrop">
          <ac:chgData name="Jonathan Leon" userId="S::jonathan.leon@accelirate.com::2ce68458-9b08-4737-bc10-9e264b6529a5" providerId="AD" clId="Web-{9918807A-32DD-598B-DFF3-6C563D270A07}" dt="2025-09-16T20:53:01.620" v="30"/>
          <ac:picMkLst>
            <pc:docMk/>
            <pc:sldMk cId="2943038519" sldId="264"/>
            <ac:picMk id="7" creationId="{D27D900D-8B60-E0C5-E118-ED3CB23DADB6}"/>
          </ac:picMkLst>
        </pc:picChg>
      </pc:sldChg>
      <pc:sldChg chg="addSp delSp modSp">
        <pc:chgData name="Jonathan Leon" userId="S::jonathan.leon@accelirate.com::2ce68458-9b08-4737-bc10-9e264b6529a5" providerId="AD" clId="Web-{9918807A-32DD-598B-DFF3-6C563D270A07}" dt="2025-09-16T20:54:30.215" v="63" actId="1076"/>
        <pc:sldMkLst>
          <pc:docMk/>
          <pc:sldMk cId="1654501947" sldId="2076137165"/>
        </pc:sldMkLst>
        <pc:spChg chg="mod">
          <ac:chgData name="Jonathan Leon" userId="S::jonathan.leon@accelirate.com::2ce68458-9b08-4737-bc10-9e264b6529a5" providerId="AD" clId="Web-{9918807A-32DD-598B-DFF3-6C563D270A07}" dt="2025-09-16T20:54:30.215" v="62" actId="1076"/>
          <ac:spMkLst>
            <pc:docMk/>
            <pc:sldMk cId="1654501947" sldId="2076137165"/>
            <ac:spMk id="6" creationId="{02F1F23C-C93E-6C33-A8FD-4CBD70A9C867}"/>
          </ac:spMkLst>
        </pc:spChg>
        <pc:spChg chg="mod">
          <ac:chgData name="Jonathan Leon" userId="S::jonathan.leon@accelirate.com::2ce68458-9b08-4737-bc10-9e264b6529a5" providerId="AD" clId="Web-{9918807A-32DD-598B-DFF3-6C563D270A07}" dt="2025-09-16T20:54:30.215" v="61" actId="1076"/>
          <ac:spMkLst>
            <pc:docMk/>
            <pc:sldMk cId="1654501947" sldId="2076137165"/>
            <ac:spMk id="7" creationId="{BAA8C1F9-3F43-1E12-E95B-588180ABAAE8}"/>
          </ac:spMkLst>
        </pc:spChg>
        <pc:spChg chg="mod">
          <ac:chgData name="Jonathan Leon" userId="S::jonathan.leon@accelirate.com::2ce68458-9b08-4737-bc10-9e264b6529a5" providerId="AD" clId="Web-{9918807A-32DD-598B-DFF3-6C563D270A07}" dt="2025-09-16T20:54:30.215" v="60" actId="1076"/>
          <ac:spMkLst>
            <pc:docMk/>
            <pc:sldMk cId="1654501947" sldId="2076137165"/>
            <ac:spMk id="8" creationId="{F1494202-672D-B6BF-6B50-700D444BE519}"/>
          </ac:spMkLst>
        </pc:spChg>
        <pc:spChg chg="mod">
          <ac:chgData name="Jonathan Leon" userId="S::jonathan.leon@accelirate.com::2ce68458-9b08-4737-bc10-9e264b6529a5" providerId="AD" clId="Web-{9918807A-32DD-598B-DFF3-6C563D270A07}" dt="2025-09-16T20:54:30.215" v="59" actId="1076"/>
          <ac:spMkLst>
            <pc:docMk/>
            <pc:sldMk cId="1654501947" sldId="2076137165"/>
            <ac:spMk id="9" creationId="{5FCA153B-02AB-B7E8-7D09-D9FEE42870BC}"/>
          </ac:spMkLst>
        </pc:spChg>
        <pc:spChg chg="mod">
          <ac:chgData name="Jonathan Leon" userId="S::jonathan.leon@accelirate.com::2ce68458-9b08-4737-bc10-9e264b6529a5" providerId="AD" clId="Web-{9918807A-32DD-598B-DFF3-6C563D270A07}" dt="2025-09-16T20:54:30.215" v="57" actId="1076"/>
          <ac:spMkLst>
            <pc:docMk/>
            <pc:sldMk cId="1654501947" sldId="2076137165"/>
            <ac:spMk id="13" creationId="{B6F24872-224F-9166-57CD-304D8FF8F9BA}"/>
          </ac:spMkLst>
        </pc:spChg>
        <pc:spChg chg="mod">
          <ac:chgData name="Jonathan Leon" userId="S::jonathan.leon@accelirate.com::2ce68458-9b08-4737-bc10-9e264b6529a5" providerId="AD" clId="Web-{9918807A-32DD-598B-DFF3-6C563D270A07}" dt="2025-09-16T20:54:30.215" v="56" actId="1076"/>
          <ac:spMkLst>
            <pc:docMk/>
            <pc:sldMk cId="1654501947" sldId="2076137165"/>
            <ac:spMk id="16" creationId="{5D9A3462-01FF-5C25-20D8-E6694331D935}"/>
          </ac:spMkLst>
        </pc:spChg>
        <pc:spChg chg="mod">
          <ac:chgData name="Jonathan Leon" userId="S::jonathan.leon@accelirate.com::2ce68458-9b08-4737-bc10-9e264b6529a5" providerId="AD" clId="Web-{9918807A-32DD-598B-DFF3-6C563D270A07}" dt="2025-09-16T20:54:30.215" v="44" actId="1076"/>
          <ac:spMkLst>
            <pc:docMk/>
            <pc:sldMk cId="1654501947" sldId="2076137165"/>
            <ac:spMk id="17" creationId="{3C9EB38D-4DAE-2D17-EEB3-D9E8C2EE187E}"/>
          </ac:spMkLst>
        </pc:spChg>
        <pc:spChg chg="mod">
          <ac:chgData name="Jonathan Leon" userId="S::jonathan.leon@accelirate.com::2ce68458-9b08-4737-bc10-9e264b6529a5" providerId="AD" clId="Web-{9918807A-32DD-598B-DFF3-6C563D270A07}" dt="2025-09-16T20:54:30.215" v="55" actId="1076"/>
          <ac:spMkLst>
            <pc:docMk/>
            <pc:sldMk cId="1654501947" sldId="2076137165"/>
            <ac:spMk id="18" creationId="{42A032A7-757F-03EC-F239-22181043E90E}"/>
          </ac:spMkLst>
        </pc:spChg>
        <pc:spChg chg="mod">
          <ac:chgData name="Jonathan Leon" userId="S::jonathan.leon@accelirate.com::2ce68458-9b08-4737-bc10-9e264b6529a5" providerId="AD" clId="Web-{9918807A-32DD-598B-DFF3-6C563D270A07}" dt="2025-09-16T20:54:30.215" v="54" actId="1076"/>
          <ac:spMkLst>
            <pc:docMk/>
            <pc:sldMk cId="1654501947" sldId="2076137165"/>
            <ac:spMk id="20" creationId="{8C015030-D32A-6D0D-5049-7BD27980A2CF}"/>
          </ac:spMkLst>
        </pc:spChg>
        <pc:spChg chg="mod">
          <ac:chgData name="Jonathan Leon" userId="S::jonathan.leon@accelirate.com::2ce68458-9b08-4737-bc10-9e264b6529a5" providerId="AD" clId="Web-{9918807A-32DD-598B-DFF3-6C563D270A07}" dt="2025-09-16T20:54:30.215" v="43" actId="1076"/>
          <ac:spMkLst>
            <pc:docMk/>
            <pc:sldMk cId="1654501947" sldId="2076137165"/>
            <ac:spMk id="21" creationId="{CD76C84C-EB14-66FA-A01B-3336B9211D15}"/>
          </ac:spMkLst>
        </pc:spChg>
        <pc:spChg chg="mod">
          <ac:chgData name="Jonathan Leon" userId="S::jonathan.leon@accelirate.com::2ce68458-9b08-4737-bc10-9e264b6529a5" providerId="AD" clId="Web-{9918807A-32DD-598B-DFF3-6C563D270A07}" dt="2025-09-16T20:54:30.215" v="52" actId="1076"/>
          <ac:spMkLst>
            <pc:docMk/>
            <pc:sldMk cId="1654501947" sldId="2076137165"/>
            <ac:spMk id="23" creationId="{ACBB27EA-38F0-9B76-0BA5-E8D12959B5EB}"/>
          </ac:spMkLst>
        </pc:spChg>
        <pc:spChg chg="mod">
          <ac:chgData name="Jonathan Leon" userId="S::jonathan.leon@accelirate.com::2ce68458-9b08-4737-bc10-9e264b6529a5" providerId="AD" clId="Web-{9918807A-32DD-598B-DFF3-6C563D270A07}" dt="2025-09-16T20:54:30.215" v="51" actId="1076"/>
          <ac:spMkLst>
            <pc:docMk/>
            <pc:sldMk cId="1654501947" sldId="2076137165"/>
            <ac:spMk id="24" creationId="{6AB1901A-B19C-F586-7AF7-B7045A28E855}"/>
          </ac:spMkLst>
        </pc:spChg>
        <pc:spChg chg="mod">
          <ac:chgData name="Jonathan Leon" userId="S::jonathan.leon@accelirate.com::2ce68458-9b08-4737-bc10-9e264b6529a5" providerId="AD" clId="Web-{9918807A-32DD-598B-DFF3-6C563D270A07}" dt="2025-09-16T20:54:30.215" v="50" actId="1076"/>
          <ac:spMkLst>
            <pc:docMk/>
            <pc:sldMk cId="1654501947" sldId="2076137165"/>
            <ac:spMk id="26" creationId="{FCFC7F57-6169-F296-6DB8-CEBC5BD4229D}"/>
          </ac:spMkLst>
        </pc:spChg>
        <pc:spChg chg="mod">
          <ac:chgData name="Jonathan Leon" userId="S::jonathan.leon@accelirate.com::2ce68458-9b08-4737-bc10-9e264b6529a5" providerId="AD" clId="Web-{9918807A-32DD-598B-DFF3-6C563D270A07}" dt="2025-09-16T20:54:30.215" v="49" actId="1076"/>
          <ac:spMkLst>
            <pc:docMk/>
            <pc:sldMk cId="1654501947" sldId="2076137165"/>
            <ac:spMk id="27" creationId="{9F033CDC-01CA-2E24-A666-44984BC479CF}"/>
          </ac:spMkLst>
        </pc:spChg>
        <pc:spChg chg="mod">
          <ac:chgData name="Jonathan Leon" userId="S::jonathan.leon@accelirate.com::2ce68458-9b08-4737-bc10-9e264b6529a5" providerId="AD" clId="Web-{9918807A-32DD-598B-DFF3-6C563D270A07}" dt="2025-09-16T20:54:30.215" v="42" actId="1076"/>
          <ac:spMkLst>
            <pc:docMk/>
            <pc:sldMk cId="1654501947" sldId="2076137165"/>
            <ac:spMk id="28" creationId="{F9BCC1DF-BE1D-F75E-665E-4CE14D0E6FF6}"/>
          </ac:spMkLst>
        </pc:spChg>
        <pc:spChg chg="mod">
          <ac:chgData name="Jonathan Leon" userId="S::jonathan.leon@accelirate.com::2ce68458-9b08-4737-bc10-9e264b6529a5" providerId="AD" clId="Web-{9918807A-32DD-598B-DFF3-6C563D270A07}" dt="2025-09-16T20:54:30.215" v="41" actId="1076"/>
          <ac:spMkLst>
            <pc:docMk/>
            <pc:sldMk cId="1654501947" sldId="2076137165"/>
            <ac:spMk id="30" creationId="{9B5A582E-9615-5534-6C3E-482C73221B04}"/>
          </ac:spMkLst>
        </pc:spChg>
        <pc:spChg chg="mod">
          <ac:chgData name="Jonathan Leon" userId="S::jonathan.leon@accelirate.com::2ce68458-9b08-4737-bc10-9e264b6529a5" providerId="AD" clId="Web-{9918807A-32DD-598B-DFF3-6C563D270A07}" dt="2025-09-16T20:54:30.215" v="40" actId="1076"/>
          <ac:spMkLst>
            <pc:docMk/>
            <pc:sldMk cId="1654501947" sldId="2076137165"/>
            <ac:spMk id="32" creationId="{388F45C7-0A9F-E2C4-9B62-CA89E90E70A9}"/>
          </ac:spMkLst>
        </pc:spChg>
        <pc:spChg chg="mod">
          <ac:chgData name="Jonathan Leon" userId="S::jonathan.leon@accelirate.com::2ce68458-9b08-4737-bc10-9e264b6529a5" providerId="AD" clId="Web-{9918807A-32DD-598B-DFF3-6C563D270A07}" dt="2025-09-16T20:54:30.215" v="48" actId="1076"/>
          <ac:spMkLst>
            <pc:docMk/>
            <pc:sldMk cId="1654501947" sldId="2076137165"/>
            <ac:spMk id="52" creationId="{9EF47D4F-B28D-0872-34FD-053A6E74A341}"/>
          </ac:spMkLst>
        </pc:spChg>
        <pc:spChg chg="mod">
          <ac:chgData name="Jonathan Leon" userId="S::jonathan.leon@accelirate.com::2ce68458-9b08-4737-bc10-9e264b6529a5" providerId="AD" clId="Web-{9918807A-32DD-598B-DFF3-6C563D270A07}" dt="2025-09-16T20:54:30.215" v="46" actId="1076"/>
          <ac:spMkLst>
            <pc:docMk/>
            <pc:sldMk cId="1654501947" sldId="2076137165"/>
            <ac:spMk id="78" creationId="{5FABD402-8341-CAD6-9654-4CF67EC4D4CD}"/>
          </ac:spMkLst>
        </pc:spChg>
        <pc:grpChg chg="mod">
          <ac:chgData name="Jonathan Leon" userId="S::jonathan.leon@accelirate.com::2ce68458-9b08-4737-bc10-9e264b6529a5" providerId="AD" clId="Web-{9918807A-32DD-598B-DFF3-6C563D270A07}" dt="2025-09-16T20:54:30.215" v="47" actId="1076"/>
          <ac:grpSpMkLst>
            <pc:docMk/>
            <pc:sldMk cId="1654501947" sldId="2076137165"/>
            <ac:grpSpMk id="68" creationId="{D955922E-7F59-FBF5-999A-6842F65110DC}"/>
          </ac:grpSpMkLst>
        </pc:grpChg>
        <pc:picChg chg="mod">
          <ac:chgData name="Jonathan Leon" userId="S::jonathan.leon@accelirate.com::2ce68458-9b08-4737-bc10-9e264b6529a5" providerId="AD" clId="Web-{9918807A-32DD-598B-DFF3-6C563D270A07}" dt="2025-09-16T20:54:30.215" v="63" actId="1076"/>
          <ac:picMkLst>
            <pc:docMk/>
            <pc:sldMk cId="1654501947" sldId="2076137165"/>
            <ac:picMk id="4" creationId="{EBF3B750-FD2A-EE30-C4EC-C83105DCBFAF}"/>
          </ac:picMkLst>
        </pc:picChg>
        <pc:picChg chg="mod">
          <ac:chgData name="Jonathan Leon" userId="S::jonathan.leon@accelirate.com::2ce68458-9b08-4737-bc10-9e264b6529a5" providerId="AD" clId="Web-{9918807A-32DD-598B-DFF3-6C563D270A07}" dt="2025-09-16T20:54:30.215" v="45" actId="1076"/>
          <ac:picMkLst>
            <pc:docMk/>
            <pc:sldMk cId="1654501947" sldId="2076137165"/>
            <ac:picMk id="10" creationId="{39F12B9C-0D8E-5038-27F1-A746D81CA760}"/>
          </ac:picMkLst>
        </pc:picChg>
        <pc:picChg chg="mod">
          <ac:chgData name="Jonathan Leon" userId="S::jonathan.leon@accelirate.com::2ce68458-9b08-4737-bc10-9e264b6529a5" providerId="AD" clId="Web-{9918807A-32DD-598B-DFF3-6C563D270A07}" dt="2025-09-16T20:54:30.215" v="58" actId="1076"/>
          <ac:picMkLst>
            <pc:docMk/>
            <pc:sldMk cId="1654501947" sldId="2076137165"/>
            <ac:picMk id="11" creationId="{EA853355-2416-8732-E009-6E605005B349}"/>
          </ac:picMkLst>
        </pc:picChg>
        <pc:picChg chg="mod">
          <ac:chgData name="Jonathan Leon" userId="S::jonathan.leon@accelirate.com::2ce68458-9b08-4737-bc10-9e264b6529a5" providerId="AD" clId="Web-{9918807A-32DD-598B-DFF3-6C563D270A07}" dt="2025-09-16T20:54:30.215" v="53" actId="1076"/>
          <ac:picMkLst>
            <pc:docMk/>
            <pc:sldMk cId="1654501947" sldId="2076137165"/>
            <ac:picMk id="22" creationId="{A5DCF67A-8CA2-BDB9-5C81-DA669A50A0D3}"/>
          </ac:picMkLst>
        </pc:picChg>
      </pc:sldChg>
    </pc:docChg>
  </pc:docChgLst>
  <pc:docChgLst>
    <pc:chgData name="Jonathan Leon" userId="2ce68458-9b08-4737-bc10-9e264b6529a5" providerId="ADAL" clId="{1409FD06-AF41-43A1-86FF-2A34C4279F68}"/>
    <pc:docChg chg="modSld">
      <pc:chgData name="Jonathan Leon" userId="2ce68458-9b08-4737-bc10-9e264b6529a5" providerId="ADAL" clId="{1409FD06-AF41-43A1-86FF-2A34C4279F68}" dt="2025-09-16T20:47:56.665" v="5" actId="1076"/>
      <pc:docMkLst>
        <pc:docMk/>
      </pc:docMkLst>
    </pc:docChg>
  </pc:docChgLst>
  <pc:docChgLst>
    <pc:chgData name="Maria Alejandra Gomez" userId="S::maria.gomez@accelirate.com::384863ea-e335-4b5c-b2eb-08a7ddbf02c9" providerId="AD" clId="Web-{46D5229E-F7FB-AA6E-CA53-5D6C960764DF}"/>
    <pc:docChg chg="modSld">
      <pc:chgData name="Maria Alejandra Gomez" userId="S::maria.gomez@accelirate.com::384863ea-e335-4b5c-b2eb-08a7ddbf02c9" providerId="AD" clId="Web-{46D5229E-F7FB-AA6E-CA53-5D6C960764DF}" dt="2025-09-16T21:23:27.016" v="8" actId="20577"/>
      <pc:docMkLst>
        <pc:docMk/>
      </pc:docMkLst>
      <pc:sldChg chg="modSp">
        <pc:chgData name="Maria Alejandra Gomez" userId="S::maria.gomez@accelirate.com::384863ea-e335-4b5c-b2eb-08a7ddbf02c9" providerId="AD" clId="Web-{46D5229E-F7FB-AA6E-CA53-5D6C960764DF}" dt="2025-09-16T21:14:19.091" v="7" actId="14100"/>
        <pc:sldMkLst>
          <pc:docMk/>
          <pc:sldMk cId="2943038519" sldId="264"/>
        </pc:sldMkLst>
        <pc:spChg chg="mod">
          <ac:chgData name="Maria Alejandra Gomez" userId="S::maria.gomez@accelirate.com::384863ea-e335-4b5c-b2eb-08a7ddbf02c9" providerId="AD" clId="Web-{46D5229E-F7FB-AA6E-CA53-5D6C960764DF}" dt="2025-09-16T21:14:19.091" v="7" actId="14100"/>
          <ac:spMkLst>
            <pc:docMk/>
            <pc:sldMk cId="2943038519" sldId="264"/>
            <ac:spMk id="19" creationId="{7C468372-C2C6-C697-1CA2-803E8ECDF17E}"/>
          </ac:spMkLst>
        </pc:spChg>
        <pc:spChg chg="mod">
          <ac:chgData name="Maria Alejandra Gomez" userId="S::maria.gomez@accelirate.com::384863ea-e335-4b5c-b2eb-08a7ddbf02c9" providerId="AD" clId="Web-{46D5229E-F7FB-AA6E-CA53-5D6C960764DF}" dt="2025-09-16T21:14:09.903" v="5" actId="14100"/>
          <ac:spMkLst>
            <pc:docMk/>
            <pc:sldMk cId="2943038519" sldId="264"/>
            <ac:spMk id="20" creationId="{AE17CD6C-53EE-423B-9AE4-13D57F201F54}"/>
          </ac:spMkLst>
        </pc:spChg>
        <pc:spChg chg="mod">
          <ac:chgData name="Maria Alejandra Gomez" userId="S::maria.gomez@accelirate.com::384863ea-e335-4b5c-b2eb-08a7ddbf02c9" providerId="AD" clId="Web-{46D5229E-F7FB-AA6E-CA53-5D6C960764DF}" dt="2025-09-16T21:14:15.153" v="6" actId="14100"/>
          <ac:spMkLst>
            <pc:docMk/>
            <pc:sldMk cId="2943038519" sldId="264"/>
            <ac:spMk id="21" creationId="{4D2C970E-50AE-73A0-B21B-93EC0FBFBC95}"/>
          </ac:spMkLst>
        </pc:spChg>
        <pc:spChg chg="mod">
          <ac:chgData name="Maria Alejandra Gomez" userId="S::maria.gomez@accelirate.com::384863ea-e335-4b5c-b2eb-08a7ddbf02c9" providerId="AD" clId="Web-{46D5229E-F7FB-AA6E-CA53-5D6C960764DF}" dt="2025-09-16T21:14:02.793" v="4" actId="14100"/>
          <ac:spMkLst>
            <pc:docMk/>
            <pc:sldMk cId="2943038519" sldId="264"/>
            <ac:spMk id="22" creationId="{C8C860DD-B2E3-875C-B0A0-413DB69F5553}"/>
          </ac:spMkLst>
        </pc:spChg>
        <pc:spChg chg="mod">
          <ac:chgData name="Maria Alejandra Gomez" userId="S::maria.gomez@accelirate.com::384863ea-e335-4b5c-b2eb-08a7ddbf02c9" providerId="AD" clId="Web-{46D5229E-F7FB-AA6E-CA53-5D6C960764DF}" dt="2025-09-16T21:13:16.227" v="3" actId="1076"/>
          <ac:spMkLst>
            <pc:docMk/>
            <pc:sldMk cId="2943038519" sldId="264"/>
            <ac:spMk id="27" creationId="{47F35C4A-92B8-2520-BAA2-38C7D1277BF0}"/>
          </ac:spMkLst>
        </pc:spChg>
      </pc:sldChg>
    </pc:docChg>
  </pc:docChgLst>
  <pc:docChgLst>
    <pc:chgData name="Maria Alejandra Gomez" userId="S::maria.gomez@accelirate.com::384863ea-e335-4b5c-b2eb-08a7ddbf02c9" providerId="AD" clId="Web-{C5B680E6-B7EB-B49A-82A3-B9D8E833557D}"/>
    <pc:docChg chg="modSld">
      <pc:chgData name="Maria Alejandra Gomez" userId="S::maria.gomez@accelirate.com::384863ea-e335-4b5c-b2eb-08a7ddbf02c9" providerId="AD" clId="Web-{C5B680E6-B7EB-B49A-82A3-B9D8E833557D}" dt="2025-09-26T20:29:18.615" v="115"/>
      <pc:docMkLst>
        <pc:docMk/>
      </pc:docMkLst>
      <pc:sldChg chg="modSp">
        <pc:chgData name="Maria Alejandra Gomez" userId="S::maria.gomez@accelirate.com::384863ea-e335-4b5c-b2eb-08a7ddbf02c9" providerId="AD" clId="Web-{C5B680E6-B7EB-B49A-82A3-B9D8E833557D}" dt="2025-09-26T20:29:18.615" v="115"/>
        <pc:sldMkLst>
          <pc:docMk/>
          <pc:sldMk cId="3541413998" sldId="2147479608"/>
        </pc:sldMkLst>
        <pc:spChg chg="mod">
          <ac:chgData name="Maria Alejandra Gomez" userId="S::maria.gomez@accelirate.com::384863ea-e335-4b5c-b2eb-08a7ddbf02c9" providerId="AD" clId="Web-{C5B680E6-B7EB-B49A-82A3-B9D8E833557D}" dt="2025-09-26T20:23:08.536" v="90" actId="20577"/>
          <ac:spMkLst>
            <pc:docMk/>
            <pc:sldMk cId="3541413998" sldId="2147479608"/>
            <ac:spMk id="3" creationId="{3B9214A2-3696-1C76-6A28-1E6CE1660506}"/>
          </ac:spMkLst>
        </pc:spChg>
        <pc:spChg chg="mod">
          <ac:chgData name="Maria Alejandra Gomez" userId="S::maria.gomez@accelirate.com::384863ea-e335-4b5c-b2eb-08a7ddbf02c9" providerId="AD" clId="Web-{C5B680E6-B7EB-B49A-82A3-B9D8E833557D}" dt="2025-09-26T20:28:13.597" v="95" actId="20577"/>
          <ac:spMkLst>
            <pc:docMk/>
            <pc:sldMk cId="3541413998" sldId="2147479608"/>
            <ac:spMk id="6" creationId="{E7514363-FC90-8E80-9F26-EFCFD85559B4}"/>
          </ac:spMkLst>
        </pc:spChg>
        <pc:spChg chg="mod">
          <ac:chgData name="Maria Alejandra Gomez" userId="S::maria.gomez@accelirate.com::384863ea-e335-4b5c-b2eb-08a7ddbf02c9" providerId="AD" clId="Web-{C5B680E6-B7EB-B49A-82A3-B9D8E833557D}" dt="2025-09-26T20:25:29.106" v="91" actId="20577"/>
          <ac:spMkLst>
            <pc:docMk/>
            <pc:sldMk cId="3541413998" sldId="2147479608"/>
            <ac:spMk id="8" creationId="{FE1F1B74-84A6-6B5D-CF1D-FCD0EA5782B6}"/>
          </ac:spMkLst>
        </pc:spChg>
        <pc:spChg chg="mod">
          <ac:chgData name="Maria Alejandra Gomez" userId="S::maria.gomez@accelirate.com::384863ea-e335-4b5c-b2eb-08a7ddbf02c9" providerId="AD" clId="Web-{C5B680E6-B7EB-B49A-82A3-B9D8E833557D}" dt="2025-09-26T19:03:28.458" v="2" actId="20577"/>
          <ac:spMkLst>
            <pc:docMk/>
            <pc:sldMk cId="3541413998" sldId="2147479608"/>
            <ac:spMk id="10" creationId="{068719A8-6448-319B-D5DC-536A9A559428}"/>
          </ac:spMkLst>
        </pc:spChg>
        <pc:spChg chg="mod">
          <ac:chgData name="Maria Alejandra Gomez" userId="S::maria.gomez@accelirate.com::384863ea-e335-4b5c-b2eb-08a7ddbf02c9" providerId="AD" clId="Web-{C5B680E6-B7EB-B49A-82A3-B9D8E833557D}" dt="2025-09-26T20:28:04.160" v="93" actId="20577"/>
          <ac:spMkLst>
            <pc:docMk/>
            <pc:sldMk cId="3541413998" sldId="2147479608"/>
            <ac:spMk id="11" creationId="{263A02AE-C5F2-1E2C-3BB0-6299EBF774E8}"/>
          </ac:spMkLst>
        </pc:spChg>
        <pc:spChg chg="mod">
          <ac:chgData name="Maria Alejandra Gomez" userId="S::maria.gomez@accelirate.com::384863ea-e335-4b5c-b2eb-08a7ddbf02c9" providerId="AD" clId="Web-{C5B680E6-B7EB-B49A-82A3-B9D8E833557D}" dt="2025-09-26T19:03:33.552" v="4" actId="20577"/>
          <ac:spMkLst>
            <pc:docMk/>
            <pc:sldMk cId="3541413998" sldId="2147479608"/>
            <ac:spMk id="13" creationId="{CF35979E-AA49-A1D3-31A4-F8C0E13D7391}"/>
          </ac:spMkLst>
        </pc:spChg>
        <pc:spChg chg="mod">
          <ac:chgData name="Maria Alejandra Gomez" userId="S::maria.gomez@accelirate.com::384863ea-e335-4b5c-b2eb-08a7ddbf02c9" providerId="AD" clId="Web-{C5B680E6-B7EB-B49A-82A3-B9D8E833557D}" dt="2025-09-26T20:29:18.615" v="115"/>
          <ac:spMkLst>
            <pc:docMk/>
            <pc:sldMk cId="3541413998" sldId="2147479608"/>
            <ac:spMk id="16" creationId="{B6C7FB16-CFB4-CD30-52C8-5F2558F70437}"/>
          </ac:spMkLst>
        </pc:spChg>
        <pc:spChg chg="mod">
          <ac:chgData name="Maria Alejandra Gomez" userId="S::maria.gomez@accelirate.com::384863ea-e335-4b5c-b2eb-08a7ddbf02c9" providerId="AD" clId="Web-{C5B680E6-B7EB-B49A-82A3-B9D8E833557D}" dt="2025-09-26T19:04:51.631" v="24" actId="20577"/>
          <ac:spMkLst>
            <pc:docMk/>
            <pc:sldMk cId="3541413998" sldId="2147479608"/>
            <ac:spMk id="18" creationId="{62E8A102-7A5B-AAB3-9E35-51EDFD9CBEBA}"/>
          </ac:spMkLst>
        </pc:spChg>
        <pc:spChg chg="mod">
          <ac:chgData name="Maria Alejandra Gomez" userId="S::maria.gomez@accelirate.com::384863ea-e335-4b5c-b2eb-08a7ddbf02c9" providerId="AD" clId="Web-{C5B680E6-B7EB-B49A-82A3-B9D8E833557D}" dt="2025-09-26T19:06:59.787" v="39" actId="20577"/>
          <ac:spMkLst>
            <pc:docMk/>
            <pc:sldMk cId="3541413998" sldId="2147479608"/>
            <ac:spMk id="21" creationId="{278618BA-986E-2996-AC3A-D7AB980C2065}"/>
          </ac:spMkLst>
        </pc:spChg>
        <pc:spChg chg="mod">
          <ac:chgData name="Maria Alejandra Gomez" userId="S::maria.gomez@accelirate.com::384863ea-e335-4b5c-b2eb-08a7ddbf02c9" providerId="AD" clId="Web-{C5B680E6-B7EB-B49A-82A3-B9D8E833557D}" dt="2025-09-26T19:07:53.709" v="54" actId="20577"/>
          <ac:spMkLst>
            <pc:docMk/>
            <pc:sldMk cId="3541413998" sldId="2147479608"/>
            <ac:spMk id="23" creationId="{C3350357-FE98-BA77-D1E7-03ED849D9780}"/>
          </ac:spMkLst>
        </pc:spChg>
        <pc:spChg chg="mod">
          <ac:chgData name="Maria Alejandra Gomez" userId="S::maria.gomez@accelirate.com::384863ea-e335-4b5c-b2eb-08a7ddbf02c9" providerId="AD" clId="Web-{C5B680E6-B7EB-B49A-82A3-B9D8E833557D}" dt="2025-09-26T19:08:38.788" v="70" actId="20577"/>
          <ac:spMkLst>
            <pc:docMk/>
            <pc:sldMk cId="3541413998" sldId="2147479608"/>
            <ac:spMk id="24" creationId="{0CAAEBA1-F090-1C1B-8CFF-A8657EEBF225}"/>
          </ac:spMkLst>
        </pc:spChg>
        <pc:spChg chg="mod">
          <ac:chgData name="Maria Alejandra Gomez" userId="S::maria.gomez@accelirate.com::384863ea-e335-4b5c-b2eb-08a7ddbf02c9" providerId="AD" clId="Web-{C5B680E6-B7EB-B49A-82A3-B9D8E833557D}" dt="2025-09-26T19:10:22.710" v="86" actId="20577"/>
          <ac:spMkLst>
            <pc:docMk/>
            <pc:sldMk cId="3541413998" sldId="2147479608"/>
            <ac:spMk id="25" creationId="{CBEA97ED-789A-0AD7-DCE4-554ECB4D2400}"/>
          </ac:spMkLst>
        </pc:spChg>
      </pc:sldChg>
    </pc:docChg>
  </pc:docChgLst>
  <pc:docChgLst>
    <pc:chgData name="Maria Alejandra Gomez" userId="S::maria.gomez@accelirate.com::384863ea-e335-4b5c-b2eb-08a7ddbf02c9" providerId="AD" clId="Web-{AF7A7335-7D9F-BBBB-5A01-4221F58D570C}"/>
    <pc:docChg chg="modSld">
      <pc:chgData name="Maria Alejandra Gomez" userId="S::maria.gomez@accelirate.com::384863ea-e335-4b5c-b2eb-08a7ddbf02c9" providerId="AD" clId="Web-{AF7A7335-7D9F-BBBB-5A01-4221F58D570C}" dt="2025-09-26T16:08:56.747" v="10" actId="1076"/>
      <pc:docMkLst>
        <pc:docMk/>
      </pc:docMkLst>
      <pc:sldChg chg="modSp">
        <pc:chgData name="Maria Alejandra Gomez" userId="S::maria.gomez@accelirate.com::384863ea-e335-4b5c-b2eb-08a7ddbf02c9" providerId="AD" clId="Web-{AF7A7335-7D9F-BBBB-5A01-4221F58D570C}" dt="2025-09-26T16:08:56.747" v="10" actId="1076"/>
        <pc:sldMkLst>
          <pc:docMk/>
          <pc:sldMk cId="3541413998" sldId="2147479608"/>
        </pc:sldMkLst>
        <pc:spChg chg="mod">
          <ac:chgData name="Maria Alejandra Gomez" userId="S::maria.gomez@accelirate.com::384863ea-e335-4b5c-b2eb-08a7ddbf02c9" providerId="AD" clId="Web-{AF7A7335-7D9F-BBBB-5A01-4221F58D570C}" dt="2025-09-26T16:08:56.747" v="10" actId="1076"/>
          <ac:spMkLst>
            <pc:docMk/>
            <pc:sldMk cId="3541413998" sldId="2147479608"/>
            <ac:spMk id="6" creationId="{E7514363-FC90-8E80-9F26-EFCFD85559B4}"/>
          </ac:spMkLst>
        </pc:spChg>
        <pc:picChg chg="mod">
          <ac:chgData name="Maria Alejandra Gomez" userId="S::maria.gomez@accelirate.com::384863ea-e335-4b5c-b2eb-08a7ddbf02c9" providerId="AD" clId="Web-{AF7A7335-7D9F-BBBB-5A01-4221F58D570C}" dt="2025-09-26T16:08:35.310" v="0" actId="1076"/>
          <ac:picMkLst>
            <pc:docMk/>
            <pc:sldMk cId="3541413998" sldId="2147479608"/>
            <ac:picMk id="51" creationId="{D762DB2F-A47B-A3CA-220D-05AEBEB451B3}"/>
          </ac:picMkLst>
        </pc:picChg>
        <pc:picChg chg="mod">
          <ac:chgData name="Maria Alejandra Gomez" userId="S::maria.gomez@accelirate.com::384863ea-e335-4b5c-b2eb-08a7ddbf02c9" providerId="AD" clId="Web-{AF7A7335-7D9F-BBBB-5A01-4221F58D570C}" dt="2025-09-26T16:08:35.341" v="1" actId="1076"/>
          <ac:picMkLst>
            <pc:docMk/>
            <pc:sldMk cId="3541413998" sldId="2147479608"/>
            <ac:picMk id="54" creationId="{99F0BC4E-1839-58D7-2F61-72D57279253B}"/>
          </ac:picMkLst>
        </pc:picChg>
        <pc:picChg chg="mod">
          <ac:chgData name="Maria Alejandra Gomez" userId="S::maria.gomez@accelirate.com::384863ea-e335-4b5c-b2eb-08a7ddbf02c9" providerId="AD" clId="Web-{AF7A7335-7D9F-BBBB-5A01-4221F58D570C}" dt="2025-09-26T16:08:40.482" v="2" actId="1076"/>
          <ac:picMkLst>
            <pc:docMk/>
            <pc:sldMk cId="3541413998" sldId="2147479608"/>
            <ac:picMk id="55" creationId="{2ADD24BF-FAF2-7F6D-C2D3-4F521F8CA1D5}"/>
          </ac:picMkLst>
        </pc:picChg>
        <pc:picChg chg="mod">
          <ac:chgData name="Maria Alejandra Gomez" userId="S::maria.gomez@accelirate.com::384863ea-e335-4b5c-b2eb-08a7ddbf02c9" providerId="AD" clId="Web-{AF7A7335-7D9F-BBBB-5A01-4221F58D570C}" dt="2025-09-26T16:08:40.513" v="3" actId="1076"/>
          <ac:picMkLst>
            <pc:docMk/>
            <pc:sldMk cId="3541413998" sldId="2147479608"/>
            <ac:picMk id="58" creationId="{4DF2A986-3B75-E12D-F0B2-0994657855BF}"/>
          </ac:picMkLst>
        </pc:picChg>
        <pc:picChg chg="mod">
          <ac:chgData name="Maria Alejandra Gomez" userId="S::maria.gomez@accelirate.com::384863ea-e335-4b5c-b2eb-08a7ddbf02c9" providerId="AD" clId="Web-{AF7A7335-7D9F-BBBB-5A01-4221F58D570C}" dt="2025-09-26T16:08:51.247" v="8" actId="1076"/>
          <ac:picMkLst>
            <pc:docMk/>
            <pc:sldMk cId="3541413998" sldId="2147479608"/>
            <ac:picMk id="61" creationId="{C9CCFDAD-22FA-BF9F-D942-B7BD4B46227A}"/>
          </ac:picMkLst>
        </pc:picChg>
        <pc:picChg chg="mod">
          <ac:chgData name="Maria Alejandra Gomez" userId="S::maria.gomez@accelirate.com::384863ea-e335-4b5c-b2eb-08a7ddbf02c9" providerId="AD" clId="Web-{AF7A7335-7D9F-BBBB-5A01-4221F58D570C}" dt="2025-09-26T16:08:51.279" v="9" actId="1076"/>
          <ac:picMkLst>
            <pc:docMk/>
            <pc:sldMk cId="3541413998" sldId="2147479608"/>
            <ac:picMk id="63" creationId="{5F935B89-E093-C55E-C5E8-857D4474D51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1FE456-6B1E-47CA-A338-B4E8A8FDF707}" type="datetimeFigureOut">
              <a:rPr lang="en-IN" smtClean="0"/>
              <a:t>26-09-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F4F75F-9BDF-4BF1-AA15-1638BF70EB57}" type="slidenum">
              <a:rPr lang="en-IN" smtClean="0"/>
              <a:t>‹#›</a:t>
            </a:fld>
            <a:endParaRPr lang="en-IN"/>
          </a:p>
        </p:txBody>
      </p:sp>
    </p:spTree>
    <p:extLst>
      <p:ext uri="{BB962C8B-B14F-4D97-AF65-F5344CB8AC3E}">
        <p14:creationId xmlns:p14="http://schemas.microsoft.com/office/powerpoint/2010/main" val="934094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7E967-ADE0-DDE9-8FE8-CE4C9F64F9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7949D-1F14-AA89-69E5-AFCAD2E137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11EAF4-7C25-C997-965A-28AB95EA35AC}"/>
              </a:ext>
            </a:extLst>
          </p:cNvPr>
          <p:cNvSpPr>
            <a:spLocks noGrp="1"/>
          </p:cNvSpPr>
          <p:nvPr>
            <p:ph type="body" idx="1"/>
          </p:nvPr>
        </p:nvSpPr>
        <p:spPr/>
        <p:txBody>
          <a:bodyPr/>
          <a:lstStyle/>
          <a:p>
            <a:r>
              <a:rPr lang="en-US"/>
              <a:t>Items 1 – 7 should reflect our content roadmap</a:t>
            </a:r>
          </a:p>
        </p:txBody>
      </p:sp>
      <p:sp>
        <p:nvSpPr>
          <p:cNvPr id="4" name="Slide Number Placeholder 3">
            <a:extLst>
              <a:ext uri="{FF2B5EF4-FFF2-40B4-BE49-F238E27FC236}">
                <a16:creationId xmlns:a16="http://schemas.microsoft.com/office/drawing/2014/main" id="{938825DE-37E9-9040-D354-BF34652361F7}"/>
              </a:ext>
            </a:extLst>
          </p:cNvPr>
          <p:cNvSpPr>
            <a:spLocks noGrp="1"/>
          </p:cNvSpPr>
          <p:nvPr>
            <p:ph type="sldNum" sz="quarter" idx="5"/>
          </p:nvPr>
        </p:nvSpPr>
        <p:spPr/>
        <p:txBody>
          <a:bodyPr/>
          <a:lstStyle/>
          <a:p>
            <a:fld id="{35891F78-D747-4439-9168-33682CD3F076}" type="slidenum">
              <a:rPr lang="en-US" smtClean="0"/>
              <a:t>2</a:t>
            </a:fld>
            <a:endParaRPr lang="en-US"/>
          </a:p>
        </p:txBody>
      </p:sp>
    </p:spTree>
    <p:extLst>
      <p:ext uri="{BB962C8B-B14F-4D97-AF65-F5344CB8AC3E}">
        <p14:creationId xmlns:p14="http://schemas.microsoft.com/office/powerpoint/2010/main" val="284040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63F4F75F-9BDF-4BF1-AA15-1638BF70EB57}" type="slidenum">
              <a:rPr lang="en-IN" smtClean="0"/>
              <a:t>4</a:t>
            </a:fld>
            <a:endParaRPr lang="en-IN"/>
          </a:p>
        </p:txBody>
      </p:sp>
    </p:spTree>
    <p:extLst>
      <p:ext uri="{BB962C8B-B14F-4D97-AF65-F5344CB8AC3E}">
        <p14:creationId xmlns:p14="http://schemas.microsoft.com/office/powerpoint/2010/main" val="289031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13536-651C-0313-F901-DFC6A4B865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9DDC9B-7E71-53BF-55C3-286A55E389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350CCB-94C5-780C-B4CB-B500F5EE9C8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44DEBB-8DC7-FA9A-F122-87CF5E204ECD}"/>
              </a:ext>
            </a:extLst>
          </p:cNvPr>
          <p:cNvSpPr>
            <a:spLocks noGrp="1"/>
          </p:cNvSpPr>
          <p:nvPr>
            <p:ph type="sldNum" sz="quarter" idx="5"/>
          </p:nvPr>
        </p:nvSpPr>
        <p:spPr/>
        <p:txBody>
          <a:bodyPr/>
          <a:lstStyle/>
          <a:p>
            <a:fld id="{63F4F75F-9BDF-4BF1-AA15-1638BF70EB57}" type="slidenum">
              <a:rPr lang="en-IN" smtClean="0"/>
              <a:t>8</a:t>
            </a:fld>
            <a:endParaRPr lang="en-IN"/>
          </a:p>
        </p:txBody>
      </p:sp>
    </p:spTree>
    <p:extLst>
      <p:ext uri="{BB962C8B-B14F-4D97-AF65-F5344CB8AC3E}">
        <p14:creationId xmlns:p14="http://schemas.microsoft.com/office/powerpoint/2010/main" val="78081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51C53-7498-857D-D25C-293E4E9421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86A07C-5A71-4B80-0494-08122E66ED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874392-4651-2668-260F-343C1E129BB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87DDCE-0ED1-AC1F-859E-1EE75A0E117E}"/>
              </a:ext>
            </a:extLst>
          </p:cNvPr>
          <p:cNvSpPr>
            <a:spLocks noGrp="1"/>
          </p:cNvSpPr>
          <p:nvPr>
            <p:ph type="sldNum" sz="quarter" idx="5"/>
          </p:nvPr>
        </p:nvSpPr>
        <p:spPr/>
        <p:txBody>
          <a:bodyPr/>
          <a:lstStyle/>
          <a:p>
            <a:fld id="{63F4F75F-9BDF-4BF1-AA15-1638BF70EB57}" type="slidenum">
              <a:rPr lang="en-IN" smtClean="0"/>
              <a:t>9</a:t>
            </a:fld>
            <a:endParaRPr lang="en-IN"/>
          </a:p>
        </p:txBody>
      </p:sp>
    </p:spTree>
    <p:extLst>
      <p:ext uri="{BB962C8B-B14F-4D97-AF65-F5344CB8AC3E}">
        <p14:creationId xmlns:p14="http://schemas.microsoft.com/office/powerpoint/2010/main" val="2202613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52"/>
        <p:cNvGrpSpPr/>
        <p:nvPr/>
      </p:nvGrpSpPr>
      <p:grpSpPr>
        <a:xfrm>
          <a:off x="0" y="0"/>
          <a:ext cx="0" cy="0"/>
          <a:chOff x="0" y="0"/>
          <a:chExt cx="0" cy="0"/>
        </a:xfrm>
      </p:grpSpPr>
      <p:sp>
        <p:nvSpPr>
          <p:cNvPr id="4753" name="Google Shape;4753;p1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r>
              <a:rPr lang="en-US"/>
              <a:t>Where to start, why it matters.</a:t>
            </a:r>
            <a:endParaRPr/>
          </a:p>
        </p:txBody>
      </p:sp>
      <p:sp>
        <p:nvSpPr>
          <p:cNvPr id="4754" name="Google Shape;4754;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1 slide per agent.</a:t>
            </a:r>
          </a:p>
        </p:txBody>
      </p:sp>
      <p:sp>
        <p:nvSpPr>
          <p:cNvPr id="4" name="Slide Number Placeholder 3"/>
          <p:cNvSpPr>
            <a:spLocks noGrp="1"/>
          </p:cNvSpPr>
          <p:nvPr>
            <p:ph type="sldNum" sz="quarter" idx="5"/>
          </p:nvPr>
        </p:nvSpPr>
        <p:spPr/>
        <p:txBody>
          <a:bodyPr/>
          <a:lstStyle/>
          <a:p>
            <a:fld id="{63F4F75F-9BDF-4BF1-AA15-1638BF70EB57}" type="slidenum">
              <a:rPr lang="en-IN" smtClean="0"/>
              <a:t>11</a:t>
            </a:fld>
            <a:endParaRPr lang="en-IN"/>
          </a:p>
        </p:txBody>
      </p:sp>
    </p:spTree>
    <p:extLst>
      <p:ext uri="{BB962C8B-B14F-4D97-AF65-F5344CB8AC3E}">
        <p14:creationId xmlns:p14="http://schemas.microsoft.com/office/powerpoint/2010/main" val="1953145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C1295-8FD5-9EDD-5E86-85A1F8335A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B401EE-9F25-3CCE-CA49-44E1B1C4C6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B17209-73D1-4F16-1212-9B62E662F842}"/>
              </a:ext>
            </a:extLst>
          </p:cNvPr>
          <p:cNvSpPr>
            <a:spLocks noGrp="1"/>
          </p:cNvSpPr>
          <p:nvPr>
            <p:ph type="body" idx="1"/>
          </p:nvPr>
        </p:nvSpPr>
        <p:spPr/>
        <p:txBody>
          <a:bodyPr/>
          <a:lstStyle/>
          <a:p>
            <a:r>
              <a:rPr lang="en-US"/>
              <a:t>Need 1 slide per agent.</a:t>
            </a:r>
          </a:p>
        </p:txBody>
      </p:sp>
      <p:sp>
        <p:nvSpPr>
          <p:cNvPr id="4" name="Slide Number Placeholder 3">
            <a:extLst>
              <a:ext uri="{FF2B5EF4-FFF2-40B4-BE49-F238E27FC236}">
                <a16:creationId xmlns:a16="http://schemas.microsoft.com/office/drawing/2014/main" id="{CA11C9EA-CDC3-D3AB-BF29-91119A668EA1}"/>
              </a:ext>
            </a:extLst>
          </p:cNvPr>
          <p:cNvSpPr>
            <a:spLocks noGrp="1"/>
          </p:cNvSpPr>
          <p:nvPr>
            <p:ph type="sldNum" sz="quarter" idx="5"/>
          </p:nvPr>
        </p:nvSpPr>
        <p:spPr/>
        <p:txBody>
          <a:bodyPr/>
          <a:lstStyle/>
          <a:p>
            <a:fld id="{63F4F75F-9BDF-4BF1-AA15-1638BF70EB57}" type="slidenum">
              <a:rPr lang="en-IN" smtClean="0"/>
              <a:t>12</a:t>
            </a:fld>
            <a:endParaRPr lang="en-IN"/>
          </a:p>
        </p:txBody>
      </p:sp>
    </p:spTree>
    <p:extLst>
      <p:ext uri="{BB962C8B-B14F-4D97-AF65-F5344CB8AC3E}">
        <p14:creationId xmlns:p14="http://schemas.microsoft.com/office/powerpoint/2010/main" val="4199487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C0B64-6C88-3429-B3B7-CA6BAED312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1E384-102B-7753-ACBE-1817B5DA4B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42DFF4-B15F-ECC6-DC50-8D0DDA66EBE2}"/>
              </a:ext>
            </a:extLst>
          </p:cNvPr>
          <p:cNvSpPr>
            <a:spLocks noGrp="1"/>
          </p:cNvSpPr>
          <p:nvPr>
            <p:ph type="body" idx="1"/>
          </p:nvPr>
        </p:nvSpPr>
        <p:spPr/>
        <p:txBody>
          <a:bodyPr/>
          <a:lstStyle/>
          <a:p>
            <a:r>
              <a:rPr lang="en-US"/>
              <a:t>Need 1 slide per agent.</a:t>
            </a:r>
          </a:p>
        </p:txBody>
      </p:sp>
      <p:sp>
        <p:nvSpPr>
          <p:cNvPr id="4" name="Slide Number Placeholder 3">
            <a:extLst>
              <a:ext uri="{FF2B5EF4-FFF2-40B4-BE49-F238E27FC236}">
                <a16:creationId xmlns:a16="http://schemas.microsoft.com/office/drawing/2014/main" id="{DB7649F5-9877-27C7-08B8-3FBED45E472B}"/>
              </a:ext>
            </a:extLst>
          </p:cNvPr>
          <p:cNvSpPr>
            <a:spLocks noGrp="1"/>
          </p:cNvSpPr>
          <p:nvPr>
            <p:ph type="sldNum" sz="quarter" idx="5"/>
          </p:nvPr>
        </p:nvSpPr>
        <p:spPr/>
        <p:txBody>
          <a:bodyPr/>
          <a:lstStyle/>
          <a:p>
            <a:fld id="{63F4F75F-9BDF-4BF1-AA15-1638BF70EB57}" type="slidenum">
              <a:rPr lang="en-IN" smtClean="0"/>
              <a:t>13</a:t>
            </a:fld>
            <a:endParaRPr lang="en-IN"/>
          </a:p>
        </p:txBody>
      </p:sp>
    </p:spTree>
    <p:extLst>
      <p:ext uri="{BB962C8B-B14F-4D97-AF65-F5344CB8AC3E}">
        <p14:creationId xmlns:p14="http://schemas.microsoft.com/office/powerpoint/2010/main" val="2585174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7A472-8496-6437-B527-1C70F56ECE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98B327-B3D9-2BB7-143C-3F23A8E963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8D79E2-EE2F-C8F2-7569-44801C1887F2}"/>
              </a:ext>
            </a:extLst>
          </p:cNvPr>
          <p:cNvSpPr>
            <a:spLocks noGrp="1"/>
          </p:cNvSpPr>
          <p:nvPr>
            <p:ph type="body" idx="1"/>
          </p:nvPr>
        </p:nvSpPr>
        <p:spPr/>
        <p:txBody>
          <a:bodyPr/>
          <a:lstStyle/>
          <a:p>
            <a:r>
              <a:rPr lang="en-US"/>
              <a:t>Need 1 slide per agent.</a:t>
            </a:r>
          </a:p>
        </p:txBody>
      </p:sp>
      <p:sp>
        <p:nvSpPr>
          <p:cNvPr id="4" name="Slide Number Placeholder 3">
            <a:extLst>
              <a:ext uri="{FF2B5EF4-FFF2-40B4-BE49-F238E27FC236}">
                <a16:creationId xmlns:a16="http://schemas.microsoft.com/office/drawing/2014/main" id="{C8E562F8-954C-7014-0F8F-088308528511}"/>
              </a:ext>
            </a:extLst>
          </p:cNvPr>
          <p:cNvSpPr>
            <a:spLocks noGrp="1"/>
          </p:cNvSpPr>
          <p:nvPr>
            <p:ph type="sldNum" sz="quarter" idx="5"/>
          </p:nvPr>
        </p:nvSpPr>
        <p:spPr/>
        <p:txBody>
          <a:bodyPr/>
          <a:lstStyle/>
          <a:p>
            <a:fld id="{63F4F75F-9BDF-4BF1-AA15-1638BF70EB57}" type="slidenum">
              <a:rPr lang="en-IN" smtClean="0"/>
              <a:t>14</a:t>
            </a:fld>
            <a:endParaRPr lang="en-IN"/>
          </a:p>
        </p:txBody>
      </p:sp>
    </p:spTree>
    <p:extLst>
      <p:ext uri="{BB962C8B-B14F-4D97-AF65-F5344CB8AC3E}">
        <p14:creationId xmlns:p14="http://schemas.microsoft.com/office/powerpoint/2010/main" val="1719787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D6832-27AF-ACEE-AC81-1C50B3BF9F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83EA8B35-54DA-C555-5579-6EE170B83B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373B1D8-3822-91BA-8F2C-1FB743A55CD1}"/>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5" name="Footer Placeholder 4">
            <a:extLst>
              <a:ext uri="{FF2B5EF4-FFF2-40B4-BE49-F238E27FC236}">
                <a16:creationId xmlns:a16="http://schemas.microsoft.com/office/drawing/2014/main" id="{1DDB9A2D-C4F8-4F39-F4A8-1CCC8C94E11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4771472-42ED-C3A8-90DE-483D3762EEBD}"/>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654426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CF006-3710-0DEB-507A-9FF06EBEB00A}"/>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14F80880-8302-B733-7DC8-054E1CB259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DE3D789-7065-6CF0-FA96-7FB796F3C34B}"/>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5" name="Footer Placeholder 4">
            <a:extLst>
              <a:ext uri="{FF2B5EF4-FFF2-40B4-BE49-F238E27FC236}">
                <a16:creationId xmlns:a16="http://schemas.microsoft.com/office/drawing/2014/main" id="{CBDAD674-9DEF-66D2-113C-F4279D842EA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8693F9F-EE08-E557-A646-5ECB376261F2}"/>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2616625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72A139-555D-CC91-0110-BFA70CD4D6E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86F2458-21B7-010B-E214-D6B7C1920DA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DAFEB24-2F9D-D38B-085D-1C8D72124BD0}"/>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5" name="Footer Placeholder 4">
            <a:extLst>
              <a:ext uri="{FF2B5EF4-FFF2-40B4-BE49-F238E27FC236}">
                <a16:creationId xmlns:a16="http://schemas.microsoft.com/office/drawing/2014/main" id="{653EB426-DBE1-CF6D-5E87-18D46B28095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E635327-D923-2ACF-BF94-991C5E51E73B}"/>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2940017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Agenda Chart">
  <p:cSld name="1_Agenda Chart">
    <p:spTree>
      <p:nvGrpSpPr>
        <p:cNvPr id="1" name="Shape 44"/>
        <p:cNvGrpSpPr/>
        <p:nvPr/>
      </p:nvGrpSpPr>
      <p:grpSpPr>
        <a:xfrm>
          <a:off x="0" y="0"/>
          <a:ext cx="0" cy="0"/>
          <a:chOff x="0" y="0"/>
          <a:chExt cx="0" cy="0"/>
        </a:xfrm>
      </p:grpSpPr>
      <p:sp>
        <p:nvSpPr>
          <p:cNvPr id="45" name="Google Shape;45;p48"/>
          <p:cNvSpPr txBox="1">
            <a:spLocks noGrp="1"/>
          </p:cNvSpPr>
          <p:nvPr>
            <p:ph type="title"/>
          </p:nvPr>
        </p:nvSpPr>
        <p:spPr>
          <a:xfrm>
            <a:off x="381102" y="357724"/>
            <a:ext cx="9417878" cy="690029"/>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SzPts val="2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56986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AFF2E-6F51-EF5B-66E6-D885A69E458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54013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2EE0B-9843-5A3B-8C9D-38C8601E661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ED49D6A-3697-3340-3AED-490AE66E4F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EBA2427-2F8B-9E94-5CE3-F8F4B94B85DD}"/>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5" name="Footer Placeholder 4">
            <a:extLst>
              <a:ext uri="{FF2B5EF4-FFF2-40B4-BE49-F238E27FC236}">
                <a16:creationId xmlns:a16="http://schemas.microsoft.com/office/drawing/2014/main" id="{4662B9CD-565D-3487-7134-F832D88B30F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27049CF-DFFE-BA5C-8B63-00742C3ACC5B}"/>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1811014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B2D4D-7A78-8876-1F70-84CC8B4E1B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BAACB38-6E82-FCE0-FF68-5239C783ACF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30F4E1-0A2E-7DFB-7ECF-C444D52383A7}"/>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5" name="Footer Placeholder 4">
            <a:extLst>
              <a:ext uri="{FF2B5EF4-FFF2-40B4-BE49-F238E27FC236}">
                <a16:creationId xmlns:a16="http://schemas.microsoft.com/office/drawing/2014/main" id="{5307119B-E17D-DFCA-4154-DDA8053DABC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236392D-512E-08D7-E553-5665FFAC11DE}"/>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8667447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1D3CD-AD2A-BE29-EBA3-970E09C7A22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CAF292B-613F-11D9-5A53-DE3FB4969C1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DDC76804-8F16-27D3-44E9-141F6677735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F27E4E8C-42B0-0A93-F0E9-1EDAB5042DAB}"/>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6" name="Footer Placeholder 5">
            <a:extLst>
              <a:ext uri="{FF2B5EF4-FFF2-40B4-BE49-F238E27FC236}">
                <a16:creationId xmlns:a16="http://schemas.microsoft.com/office/drawing/2014/main" id="{A82E5243-FB09-22CC-A9FE-DB389D518B5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4159281-9839-9414-E681-AE022914FD75}"/>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23463993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530B4-86AB-25D9-58A1-6B7D2AFAC3D8}"/>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58265C7-FF4B-68F6-35FC-1F4251503F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579273F-3FF3-A96C-C79D-30DB5953C1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7137358A-0CD8-A9A9-6898-3C92CB9ADC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44D1B35-0D43-CD95-C9B4-CAAB8D1C306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F12960C5-1170-5350-9DFE-3C09C75B02C3}"/>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8" name="Footer Placeholder 7">
            <a:extLst>
              <a:ext uri="{FF2B5EF4-FFF2-40B4-BE49-F238E27FC236}">
                <a16:creationId xmlns:a16="http://schemas.microsoft.com/office/drawing/2014/main" id="{E9B9847E-E80C-5CE5-B8FE-DA440E841430}"/>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6E6A0356-F8D3-1AFB-C4B4-96A19B9D8507}"/>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1684203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6513A-8626-6908-7353-24C54377F0A6}"/>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2075DDD-9A7F-9564-3900-394EF6DF7640}"/>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4" name="Footer Placeholder 3">
            <a:extLst>
              <a:ext uri="{FF2B5EF4-FFF2-40B4-BE49-F238E27FC236}">
                <a16:creationId xmlns:a16="http://schemas.microsoft.com/office/drawing/2014/main" id="{B3708885-79D7-0AA6-9DFE-869F40D3483D}"/>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CAA94BF8-65CF-90FC-CCAE-77BACD61D75E}"/>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583083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946AA2-C37C-2408-1D38-E3DAF73D0AA8}"/>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3" name="Footer Placeholder 2">
            <a:extLst>
              <a:ext uri="{FF2B5EF4-FFF2-40B4-BE49-F238E27FC236}">
                <a16:creationId xmlns:a16="http://schemas.microsoft.com/office/drawing/2014/main" id="{4F1D7026-A576-CC71-0A10-115A72E3D101}"/>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E560CBAC-B1AC-5FED-D726-AD7CA9CC7EB4}"/>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752606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91FF7-D9BA-F1B2-E364-8B201591B9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3801A0B-7ED2-1E87-3E72-A9E1917FF3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86B2DD42-9FA9-F6A4-2AD8-CEC8CAED64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0DD09F-ABE8-190B-0F57-CC6FEE68A7A6}"/>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6" name="Footer Placeholder 5">
            <a:extLst>
              <a:ext uri="{FF2B5EF4-FFF2-40B4-BE49-F238E27FC236}">
                <a16:creationId xmlns:a16="http://schemas.microsoft.com/office/drawing/2014/main" id="{C4A3DCCB-00F2-09F2-70F0-8EC3F104ACC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F1F9F8B-5B14-381D-C61D-EA3F37602B29}"/>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4237005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A4029-0A13-2B80-87B4-D49CEA3624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B95193F3-923E-5012-03E7-9D7993CE3C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7578FF06-92D6-F8A4-AE3D-27571643E6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D4F69C-96F3-BED8-C686-A98E5403965D}"/>
              </a:ext>
            </a:extLst>
          </p:cNvPr>
          <p:cNvSpPr>
            <a:spLocks noGrp="1"/>
          </p:cNvSpPr>
          <p:nvPr>
            <p:ph type="dt" sz="half" idx="10"/>
          </p:nvPr>
        </p:nvSpPr>
        <p:spPr/>
        <p:txBody>
          <a:bodyPr/>
          <a:lstStyle/>
          <a:p>
            <a:fld id="{2E09610E-DFEE-41BC-A9E8-4ED183DD70BA}" type="datetimeFigureOut">
              <a:rPr lang="en-IN" smtClean="0"/>
              <a:t>26-09-2025</a:t>
            </a:fld>
            <a:endParaRPr lang="en-IN"/>
          </a:p>
        </p:txBody>
      </p:sp>
      <p:sp>
        <p:nvSpPr>
          <p:cNvPr id="6" name="Footer Placeholder 5">
            <a:extLst>
              <a:ext uri="{FF2B5EF4-FFF2-40B4-BE49-F238E27FC236}">
                <a16:creationId xmlns:a16="http://schemas.microsoft.com/office/drawing/2014/main" id="{4334F93D-64B7-DB7F-F304-BEBA5F3FD32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252B740-D167-2608-D0F3-DA9158760BBB}"/>
              </a:ext>
            </a:extLst>
          </p:cNvPr>
          <p:cNvSpPr>
            <a:spLocks noGrp="1"/>
          </p:cNvSpPr>
          <p:nvPr>
            <p:ph type="sldNum" sz="quarter" idx="12"/>
          </p:nvPr>
        </p:nvSpPr>
        <p:spPr/>
        <p:txBody>
          <a:bodyPr/>
          <a:lstStyle/>
          <a:p>
            <a:fld id="{CF0CCB54-043F-4CB7-8F71-1195B185E031}" type="slidenum">
              <a:rPr lang="en-IN" smtClean="0"/>
              <a:t>‹#›</a:t>
            </a:fld>
            <a:endParaRPr lang="en-IN"/>
          </a:p>
        </p:txBody>
      </p:sp>
    </p:spTree>
    <p:extLst>
      <p:ext uri="{BB962C8B-B14F-4D97-AF65-F5344CB8AC3E}">
        <p14:creationId xmlns:p14="http://schemas.microsoft.com/office/powerpoint/2010/main" val="3470002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900C16-8429-B287-EA87-CF745F1EC2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4AA5216-33F6-E408-1625-03B4BBCF59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B206582-B3B9-77C1-3961-2825F80E75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E09610E-DFEE-41BC-A9E8-4ED183DD70BA}" type="datetimeFigureOut">
              <a:rPr lang="en-IN" smtClean="0"/>
              <a:t>26-09-2025</a:t>
            </a:fld>
            <a:endParaRPr lang="en-IN"/>
          </a:p>
        </p:txBody>
      </p:sp>
      <p:sp>
        <p:nvSpPr>
          <p:cNvPr id="5" name="Footer Placeholder 4">
            <a:extLst>
              <a:ext uri="{FF2B5EF4-FFF2-40B4-BE49-F238E27FC236}">
                <a16:creationId xmlns:a16="http://schemas.microsoft.com/office/drawing/2014/main" id="{D76029A1-A8CB-3F10-CE83-D897D02F0EF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833561A1-113F-7D0D-F5B9-3929EF1500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F0CCB54-043F-4CB7-8F71-1195B185E031}" type="slidenum">
              <a:rPr lang="en-IN" smtClean="0"/>
              <a:t>‹#›</a:t>
            </a:fld>
            <a:endParaRPr lang="en-IN"/>
          </a:p>
        </p:txBody>
      </p:sp>
    </p:spTree>
    <p:extLst>
      <p:ext uri="{BB962C8B-B14F-4D97-AF65-F5344CB8AC3E}">
        <p14:creationId xmlns:p14="http://schemas.microsoft.com/office/powerpoint/2010/main" val="41373031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 Id="rId9" Type="http://schemas.openxmlformats.org/officeDocument/2006/relationships/image" Target="../media/image15.svg"/></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 Id="rId9" Type="http://schemas.openxmlformats.org/officeDocument/2006/relationships/image" Target="../media/image15.svg"/></Relationships>
</file>

<file path=ppt/slides/_rels/slide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 Id="rId9" Type="http://schemas.openxmlformats.org/officeDocument/2006/relationships/image" Target="../media/image15.svg"/></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 Id="rId9" Type="http://schemas.openxmlformats.org/officeDocument/2006/relationships/image" Target="../media/image15.sv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13.sv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2.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16.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11.sv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0.png"/><Relationship Id="rId28" Type="http://schemas.openxmlformats.org/officeDocument/2006/relationships/image" Target="../media/image15.svg"/><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18.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7.xml"/><Relationship Id="rId27" Type="http://schemas.openxmlformats.org/officeDocument/2006/relationships/image" Target="../media/image14.png"/><Relationship Id="rId30" Type="http://schemas.openxmlformats.org/officeDocument/2006/relationships/image" Target="../media/image17.sv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png"/><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6.png"/><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A blue screen with white circles and a graph&#10;&#10;AI-generated content may be incorrect.">
            <a:extLst>
              <a:ext uri="{FF2B5EF4-FFF2-40B4-BE49-F238E27FC236}">
                <a16:creationId xmlns:a16="http://schemas.microsoft.com/office/drawing/2014/main" id="{9B605FF1-E86E-E15E-E6B7-037437B619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3" name="TextBox 32">
            <a:extLst>
              <a:ext uri="{FF2B5EF4-FFF2-40B4-BE49-F238E27FC236}">
                <a16:creationId xmlns:a16="http://schemas.microsoft.com/office/drawing/2014/main" id="{07B1178C-3B83-8739-601B-DE27788C4123}"/>
              </a:ext>
            </a:extLst>
          </p:cNvPr>
          <p:cNvSpPr txBox="1"/>
          <p:nvPr/>
        </p:nvSpPr>
        <p:spPr>
          <a:xfrm>
            <a:off x="729204" y="3052399"/>
            <a:ext cx="7744236" cy="707886"/>
          </a:xfrm>
          <a:prstGeom prst="rect">
            <a:avLst/>
          </a:prstGeom>
          <a:noFill/>
        </p:spPr>
        <p:txBody>
          <a:bodyPr wrap="square">
            <a:spAutoFit/>
          </a:bodyPr>
          <a:lstStyle/>
          <a:p>
            <a:r>
              <a:rPr lang="en-US" sz="4000" noProof="0" dirty="0">
                <a:solidFill>
                  <a:schemeClr val="bg1"/>
                </a:solidFill>
                <a:latin typeface="Roboto medium" pitchFamily="2" charset="0"/>
                <a:ea typeface="Roboto medium" pitchFamily="2" charset="0"/>
              </a:rPr>
              <a:t>Payment Posting</a:t>
            </a:r>
          </a:p>
        </p:txBody>
      </p:sp>
      <p:sp>
        <p:nvSpPr>
          <p:cNvPr id="35" name="TextBox 34">
            <a:extLst>
              <a:ext uri="{FF2B5EF4-FFF2-40B4-BE49-F238E27FC236}">
                <a16:creationId xmlns:a16="http://schemas.microsoft.com/office/drawing/2014/main" id="{10141458-5702-417D-6C2B-9B4B6E3AFECE}"/>
              </a:ext>
            </a:extLst>
          </p:cNvPr>
          <p:cNvSpPr txBox="1"/>
          <p:nvPr/>
        </p:nvSpPr>
        <p:spPr>
          <a:xfrm>
            <a:off x="729204" y="5232049"/>
            <a:ext cx="5778276" cy="1107996"/>
          </a:xfrm>
          <a:prstGeom prst="rect">
            <a:avLst/>
          </a:prstGeom>
          <a:noFill/>
        </p:spPr>
        <p:txBody>
          <a:bodyPr wrap="square">
            <a:spAutoFit/>
          </a:bodyPr>
          <a:lstStyle/>
          <a:p>
            <a:r>
              <a:rPr lang="en-US" sz="2200" i="1" noProof="0" dirty="0">
                <a:solidFill>
                  <a:srgbClr val="71A2FF"/>
                </a:solidFill>
                <a:effectLst/>
              </a:rPr>
              <a:t>How </a:t>
            </a:r>
            <a:r>
              <a:rPr lang="en-US" sz="2200" i="1" noProof="0" dirty="0">
                <a:solidFill>
                  <a:srgbClr val="71A2FF"/>
                </a:solidFill>
              </a:rPr>
              <a:t>agentic process automation can improve Payment Posting &amp; Reconciliation for Revenue Protection​</a:t>
            </a:r>
          </a:p>
        </p:txBody>
      </p:sp>
      <p:pic>
        <p:nvPicPr>
          <p:cNvPr id="39" name="Picture 38" descr="A red square object with dots&#10;&#10;AI-generated content may be incorrect.">
            <a:extLst>
              <a:ext uri="{FF2B5EF4-FFF2-40B4-BE49-F238E27FC236}">
                <a16:creationId xmlns:a16="http://schemas.microsoft.com/office/drawing/2014/main" id="{4DCFD825-1FAF-F5FF-357A-3639AF9A22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8373" y="5812772"/>
            <a:ext cx="2590933" cy="698536"/>
          </a:xfrm>
          <a:prstGeom prst="rect">
            <a:avLst/>
          </a:prstGeom>
        </p:spPr>
      </p:pic>
    </p:spTree>
    <p:extLst>
      <p:ext uri="{BB962C8B-B14F-4D97-AF65-F5344CB8AC3E}">
        <p14:creationId xmlns:p14="http://schemas.microsoft.com/office/powerpoint/2010/main" val="4717225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755"/>
        <p:cNvGrpSpPr/>
        <p:nvPr/>
      </p:nvGrpSpPr>
      <p:grpSpPr>
        <a:xfrm>
          <a:off x="0" y="0"/>
          <a:ext cx="0" cy="0"/>
          <a:chOff x="0" y="0"/>
          <a:chExt cx="0" cy="0"/>
        </a:xfrm>
      </p:grpSpPr>
      <p:sp>
        <p:nvSpPr>
          <p:cNvPr id="4757" name="Google Shape;4757;p10"/>
          <p:cNvSpPr txBox="1"/>
          <p:nvPr/>
        </p:nvSpPr>
        <p:spPr>
          <a:xfrm>
            <a:off x="5996881" y="1168881"/>
            <a:ext cx="1885580"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3</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58" name="Google Shape;4758;p10"/>
          <p:cNvSpPr txBox="1"/>
          <p:nvPr/>
        </p:nvSpPr>
        <p:spPr>
          <a:xfrm>
            <a:off x="8086346" y="5070554"/>
            <a:ext cx="1993392" cy="1746502"/>
          </a:xfrm>
          <a:prstGeom prst="rect">
            <a:avLst/>
          </a:prstGeom>
          <a:noFill/>
          <a:ln>
            <a:noFill/>
          </a:ln>
        </p:spPr>
        <p:txBody>
          <a:bodyPr spcFirstLastPara="1" wrap="square" lIns="45688" tIns="45688" rIns="45688" bIns="45688" anchor="t" anchorCtr="0">
            <a:noAutofit/>
          </a:bodyPr>
          <a:lstStyle/>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Appeal outcome tracking and analytics</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Root cause analysis (eligibility, coding, prior auth)Continuous improvement feedback to upstream workflows</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Predictive denial prevention (flagging claims pre-submission)</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59" name="Google Shape;4759;p10"/>
          <p:cNvSpPr txBox="1"/>
          <p:nvPr/>
        </p:nvSpPr>
        <p:spPr>
          <a:xfrm>
            <a:off x="5952744" y="5070553"/>
            <a:ext cx="1993392" cy="1746505"/>
          </a:xfrm>
          <a:prstGeom prst="rect">
            <a:avLst/>
          </a:prstGeom>
          <a:noFill/>
          <a:ln>
            <a:noFill/>
          </a:ln>
        </p:spPr>
        <p:txBody>
          <a:bodyPr spcFirstLastPara="1" wrap="square" lIns="45688" tIns="45688" rIns="45688" bIns="45688" anchor="t" anchorCtr="0">
            <a:noAutofit/>
          </a:bodyPr>
          <a:lstStyle/>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Automated appeal submission (portals, EDI, clearinghouses)Receipt confirmation logging</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Payer portal monitoring</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Exception-based alerts to staff</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60" name="Google Shape;4760;p10"/>
          <p:cNvSpPr txBox="1"/>
          <p:nvPr/>
        </p:nvSpPr>
        <p:spPr>
          <a:xfrm>
            <a:off x="3742087" y="5070553"/>
            <a:ext cx="2088524" cy="1764250"/>
          </a:xfrm>
          <a:prstGeom prst="rect">
            <a:avLst/>
          </a:prstGeom>
          <a:noFill/>
          <a:ln>
            <a:noFill/>
          </a:ln>
        </p:spPr>
        <p:txBody>
          <a:bodyPr spcFirstLastPara="1" wrap="square" lIns="45688" tIns="45688" rIns="45688" bIns="45688" anchor="t" anchorCtr="0">
            <a:noAutofit/>
          </a:bodyPr>
          <a:lstStyle/>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AI-driven appeal prediction (probability scoring)Automated appeal letter generation</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Document retrieval from EHR/coding systems</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Clinician e-signature workflow</a:t>
            </a:r>
            <a:endParaRPr lang="en-US" sz="1100" b="1" kern="0">
              <a:solidFill>
                <a:srgbClr val="000000"/>
              </a:solidFill>
              <a:latin typeface="Roboto" panose="02000000000000000000" pitchFamily="2" charset="0"/>
              <a:ea typeface="Roboto" panose="02000000000000000000" pitchFamily="2" charset="0"/>
              <a:cs typeface="Arial"/>
              <a:sym typeface="Arial"/>
            </a:endParaRPr>
          </a:p>
        </p:txBody>
      </p:sp>
      <p:sp>
        <p:nvSpPr>
          <p:cNvPr id="4761" name="Google Shape;4761;p10"/>
          <p:cNvSpPr txBox="1"/>
          <p:nvPr/>
        </p:nvSpPr>
        <p:spPr>
          <a:xfrm>
            <a:off x="1666035" y="5070553"/>
            <a:ext cx="1993392" cy="1764251"/>
          </a:xfrm>
          <a:prstGeom prst="rect">
            <a:avLst/>
          </a:prstGeom>
          <a:noFill/>
          <a:ln>
            <a:noFill/>
          </a:ln>
        </p:spPr>
        <p:txBody>
          <a:bodyPr spcFirstLastPara="1" wrap="square" lIns="45688" tIns="45688" rIns="45688" bIns="45688" anchor="t" anchorCtr="0">
            <a:noAutofit/>
          </a:bodyPr>
          <a:lstStyle/>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Automated denial code extraction</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Denial classification by payer/type</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Trend monitoring &amp; alerts</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Centralized denial repository</a:t>
            </a:r>
            <a:endParaRPr lang="en-US" sz="1200" kern="0">
              <a:solidFill>
                <a:srgbClr val="000000"/>
              </a:solidFill>
              <a:latin typeface="Roboto" panose="02000000000000000000" pitchFamily="2" charset="0"/>
              <a:ea typeface="Roboto" panose="02000000000000000000" pitchFamily="2" charset="0"/>
              <a:cs typeface="Arial"/>
              <a:sym typeface="Arial"/>
            </a:endParaRPr>
          </a:p>
        </p:txBody>
      </p:sp>
      <p:sp>
        <p:nvSpPr>
          <p:cNvPr id="4762" name="Google Shape;4762;p10"/>
          <p:cNvSpPr txBox="1"/>
          <p:nvPr/>
        </p:nvSpPr>
        <p:spPr>
          <a:xfrm>
            <a:off x="8277207" y="1179039"/>
            <a:ext cx="1698508"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4</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63" name="Google Shape;4763;p10"/>
          <p:cNvSpPr/>
          <p:nvPr/>
        </p:nvSpPr>
        <p:spPr>
          <a:xfrm>
            <a:off x="8025916" y="1441999"/>
            <a:ext cx="2190415" cy="522273"/>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400" b="1">
                <a:solidFill>
                  <a:schemeClr val="bg1"/>
                </a:solidFill>
              </a:rPr>
              <a:t>Contract &amp; Denial Analysis</a:t>
            </a:r>
            <a:endParaRPr lang="en-US" sz="1400" kern="0">
              <a:solidFill>
                <a:schemeClr val="bg1"/>
              </a:solidFill>
              <a:latin typeface="Roboto" panose="02000000000000000000" pitchFamily="2" charset="0"/>
              <a:ea typeface="Roboto" panose="02000000000000000000" pitchFamily="2" charset="0"/>
              <a:cs typeface="Arial"/>
              <a:sym typeface="Arial"/>
            </a:endParaRPr>
          </a:p>
        </p:txBody>
      </p:sp>
      <p:sp>
        <p:nvSpPr>
          <p:cNvPr id="4764" name="Google Shape;4764;p10"/>
          <p:cNvSpPr/>
          <p:nvPr/>
        </p:nvSpPr>
        <p:spPr>
          <a:xfrm>
            <a:off x="5884001" y="1434443"/>
            <a:ext cx="2193989" cy="548497"/>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a:solidFill>
                  <a:schemeClr val="bg1"/>
                </a:solidFill>
              </a:rPr>
              <a:t>Remittance Processing &amp; Adjustment Decisioning</a:t>
            </a:r>
            <a:endParaRPr lang="en-US" sz="1100" kern="0">
              <a:solidFill>
                <a:schemeClr val="bg1"/>
              </a:solidFill>
              <a:latin typeface="Roboto" panose="02000000000000000000" pitchFamily="2" charset="0"/>
              <a:ea typeface="Roboto" panose="02000000000000000000" pitchFamily="2" charset="0"/>
              <a:cs typeface="Arial"/>
              <a:sym typeface="Arial"/>
            </a:endParaRPr>
          </a:p>
        </p:txBody>
      </p:sp>
      <p:sp>
        <p:nvSpPr>
          <p:cNvPr id="4765" name="Google Shape;4765;p10"/>
          <p:cNvSpPr/>
          <p:nvPr/>
        </p:nvSpPr>
        <p:spPr>
          <a:xfrm>
            <a:off x="3756260" y="1442061"/>
            <a:ext cx="2193989" cy="548497"/>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400" b="1">
                <a:solidFill>
                  <a:schemeClr val="bg1"/>
                </a:solidFill>
              </a:rPr>
              <a:t>Batch Creation / Payment Logging</a:t>
            </a:r>
            <a:endParaRPr lang="en-US" sz="1400" kern="0">
              <a:solidFill>
                <a:schemeClr val="bg1"/>
              </a:solidFill>
              <a:latin typeface="Roboto" panose="02000000000000000000" pitchFamily="2" charset="0"/>
              <a:ea typeface="Roboto" panose="02000000000000000000" pitchFamily="2" charset="0"/>
              <a:cs typeface="Arial"/>
              <a:sym typeface="Arial"/>
            </a:endParaRPr>
          </a:p>
        </p:txBody>
      </p:sp>
      <p:sp>
        <p:nvSpPr>
          <p:cNvPr id="4766" name="Google Shape;4766;p10"/>
          <p:cNvSpPr/>
          <p:nvPr/>
        </p:nvSpPr>
        <p:spPr>
          <a:xfrm>
            <a:off x="1592245" y="1441999"/>
            <a:ext cx="2193989" cy="522359"/>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400" b="1">
                <a:solidFill>
                  <a:schemeClr val="bg1"/>
                </a:solidFill>
              </a:rPr>
              <a:t>Payment Receipt &amp; Retrieval</a:t>
            </a:r>
            <a:endParaRPr lang="en-US" sz="1400" kern="0">
              <a:solidFill>
                <a:schemeClr val="bg1"/>
              </a:solidFill>
              <a:latin typeface="Roboto" panose="02000000000000000000" pitchFamily="2" charset="0"/>
              <a:ea typeface="Roboto" panose="02000000000000000000" pitchFamily="2" charset="0"/>
              <a:cs typeface="Arial"/>
              <a:sym typeface="Arial"/>
            </a:endParaRPr>
          </a:p>
        </p:txBody>
      </p:sp>
      <p:cxnSp>
        <p:nvCxnSpPr>
          <p:cNvPr id="4768" name="Google Shape;4768;p10"/>
          <p:cNvCxnSpPr>
            <a:cxnSpLocks/>
          </p:cNvCxnSpPr>
          <p:nvPr/>
        </p:nvCxnSpPr>
        <p:spPr>
          <a:xfrm>
            <a:off x="1675164" y="4870091"/>
            <a:ext cx="8541167" cy="0"/>
          </a:xfrm>
          <a:prstGeom prst="straightConnector1">
            <a:avLst/>
          </a:prstGeom>
          <a:noFill/>
          <a:ln w="28575" cap="flat" cmpd="sng">
            <a:solidFill>
              <a:srgbClr val="A5A5A5"/>
            </a:solidFill>
            <a:prstDash val="solid"/>
            <a:round/>
            <a:headEnd type="none" w="sm" len="sm"/>
            <a:tailEnd type="none" w="sm" len="sm"/>
          </a:ln>
        </p:spPr>
      </p:cxnSp>
      <p:sp>
        <p:nvSpPr>
          <p:cNvPr id="4769" name="Google Shape;4769;p10"/>
          <p:cNvSpPr txBox="1"/>
          <p:nvPr/>
        </p:nvSpPr>
        <p:spPr>
          <a:xfrm>
            <a:off x="1666033" y="2862072"/>
            <a:ext cx="1994574" cy="1277208"/>
          </a:xfrm>
          <a:prstGeom prst="rect">
            <a:avLst/>
          </a:prstGeom>
          <a:noFill/>
          <a:ln>
            <a:noFill/>
          </a:ln>
        </p:spPr>
        <p:txBody>
          <a:bodyPr spcFirstLastPara="1" wrap="square" lIns="45688" tIns="45688" rIns="45688" bIns="45688" anchor="t" anchorCtr="0">
            <a:spAutoFit/>
          </a:bodyPr>
          <a:lstStyle/>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Establish centralized intake of all denials across 835s, EOBs, and payer portals</a:t>
            </a:r>
          </a:p>
          <a:p>
            <a:pPr marL="107918" indent="-107918" defTabSz="457200">
              <a:buClr>
                <a:srgbClr val="000000"/>
              </a:buClr>
              <a:buSzPts val="1100"/>
              <a:buFont typeface="Noto Sans Symbols"/>
              <a:buChar char="▪"/>
              <a:defRPr/>
            </a:pPr>
            <a:r>
              <a:rPr lang="en-US" sz="1100"/>
              <a:t>Process recordings, volume/time studies, CARC/RARC distribution, and backlog analysis</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0" name="Google Shape;4770;p10"/>
          <p:cNvSpPr txBox="1"/>
          <p:nvPr/>
        </p:nvSpPr>
        <p:spPr>
          <a:xfrm>
            <a:off x="1819336" y="4724217"/>
            <a:ext cx="949388" cy="407084"/>
          </a:xfrm>
          <a:prstGeom prst="rect">
            <a:avLst/>
          </a:prstGeom>
          <a:solidFill>
            <a:schemeClr val="lt1"/>
          </a:solidFill>
          <a:ln>
            <a:noFill/>
          </a:ln>
        </p:spPr>
        <p:txBody>
          <a:bodyPr spcFirstLastPara="1" wrap="square" lIns="45688" tIns="45688" rIns="45688" bIns="45688" anchor="t" anchorCtr="0">
            <a:noAutofit/>
          </a:bodyPr>
          <a:lstStyle/>
          <a:p>
            <a:pPr defTabSz="457200">
              <a:buClr>
                <a:srgbClr val="000000"/>
              </a:buClr>
              <a:defRPr/>
            </a:pPr>
            <a:r>
              <a:rPr lang="en-US" sz="1200" b="1" kern="0">
                <a:solidFill>
                  <a:srgbClr val="FA4616"/>
                </a:solidFill>
                <a:latin typeface="Roboto" panose="02000000000000000000" pitchFamily="2" charset="0"/>
                <a:ea typeface="Roboto" panose="02000000000000000000" pitchFamily="2" charset="0"/>
                <a:cs typeface="Arial"/>
                <a:sym typeface="Arial"/>
              </a:rPr>
              <a:t>Use Cases</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1" name="Google Shape;4771;p10"/>
          <p:cNvSpPr txBox="1"/>
          <p:nvPr/>
        </p:nvSpPr>
        <p:spPr>
          <a:xfrm>
            <a:off x="3742087" y="2862072"/>
            <a:ext cx="1994574" cy="1446485"/>
          </a:xfrm>
          <a:prstGeom prst="rect">
            <a:avLst/>
          </a:prstGeom>
          <a:noFill/>
          <a:ln>
            <a:noFill/>
          </a:ln>
        </p:spPr>
        <p:txBody>
          <a:bodyPr spcFirstLastPara="1" wrap="square" lIns="91401" tIns="45688" rIns="91401" bIns="45688" anchor="t" anchorCtr="0">
            <a:spAutoFit/>
          </a:bodyPr>
          <a:lstStyle/>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Accelerate decision-making on which denials to appeal</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Improve compliance and payer-specific alignment in appeal letters</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Standardize supporting documentation collection</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2" name="Google Shape;4772;p10"/>
          <p:cNvSpPr txBox="1"/>
          <p:nvPr/>
        </p:nvSpPr>
        <p:spPr>
          <a:xfrm>
            <a:off x="5949979" y="2862072"/>
            <a:ext cx="1993392" cy="1107931"/>
          </a:xfrm>
          <a:prstGeom prst="rect">
            <a:avLst/>
          </a:prstGeom>
          <a:noFill/>
          <a:ln>
            <a:noFill/>
          </a:ln>
        </p:spPr>
        <p:txBody>
          <a:bodyPr spcFirstLastPara="1" wrap="square" lIns="91401" tIns="45688" rIns="91401" bIns="45688" anchor="t" anchorCtr="0">
            <a:spAutoFit/>
          </a:bodyPr>
          <a:lstStyle/>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Ensure timely, error-free submission of all appeals</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Eliminate missed deadlines and manual portal checks</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Provide real-time payer response tracking</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3" name="Google Shape;4773;p10"/>
          <p:cNvSpPr txBox="1"/>
          <p:nvPr/>
        </p:nvSpPr>
        <p:spPr>
          <a:xfrm>
            <a:off x="8086345" y="2862072"/>
            <a:ext cx="1994574" cy="1615762"/>
          </a:xfrm>
          <a:prstGeom prst="rect">
            <a:avLst/>
          </a:prstGeom>
          <a:noFill/>
          <a:ln>
            <a:noFill/>
          </a:ln>
        </p:spPr>
        <p:txBody>
          <a:bodyPr spcFirstLastPara="1" wrap="square" lIns="91401" tIns="45688" rIns="91401" bIns="45688" anchor="t" anchorCtr="0">
            <a:spAutoFit/>
          </a:bodyPr>
          <a:lstStyle/>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Deliver continuous insights to reduce systemic denial causes</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Enable proactive prevention of high-risk denials</a:t>
            </a:r>
          </a:p>
          <a:p>
            <a:pPr marL="107918" indent="-107918" defTabSz="457200">
              <a:buClr>
                <a:srgbClr val="000000"/>
              </a:buClr>
              <a:buSzPts val="1100"/>
              <a:buFont typeface="Noto Sans Symbols"/>
              <a:buChar char="▪"/>
              <a:defRPr/>
            </a:pPr>
            <a:r>
              <a:rPr lang="en-US" sz="1100" kern="0">
                <a:solidFill>
                  <a:srgbClr val="000000"/>
                </a:solidFill>
                <a:latin typeface="Roboto" panose="02000000000000000000" pitchFamily="2" charset="0"/>
                <a:ea typeface="Roboto" panose="02000000000000000000" pitchFamily="2" charset="0"/>
                <a:cs typeface="Arial"/>
                <a:sym typeface="Arial"/>
              </a:rPr>
              <a:t>Provide leadership dashboards for denial trends and payer behaviors</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4" name="Google Shape;4774;p10"/>
          <p:cNvSpPr txBox="1"/>
          <p:nvPr/>
        </p:nvSpPr>
        <p:spPr>
          <a:xfrm>
            <a:off x="3961495" y="1165072"/>
            <a:ext cx="1885580"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2</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75" name="Google Shape;4775;p10"/>
          <p:cNvSpPr txBox="1"/>
          <p:nvPr/>
        </p:nvSpPr>
        <p:spPr>
          <a:xfrm>
            <a:off x="1824538" y="1166342"/>
            <a:ext cx="1885580" cy="276927"/>
          </a:xfrm>
          <a:prstGeom prst="rect">
            <a:avLst/>
          </a:prstGeom>
          <a:noFill/>
          <a:ln>
            <a:noFill/>
          </a:ln>
        </p:spPr>
        <p:txBody>
          <a:bodyPr spcFirstLastPara="1" wrap="square" lIns="91401" tIns="45688" rIns="91401" bIns="45688" anchor="t" anchorCtr="0">
            <a:spAutoFit/>
          </a:bodyPr>
          <a:lstStyle/>
          <a:p>
            <a:pPr algn="ctr" defTabSz="457200">
              <a:buClr>
                <a:srgbClr val="000000"/>
              </a:buClr>
              <a:defRPr/>
            </a:pPr>
            <a:r>
              <a:rPr lang="en-US" sz="1200" b="1" kern="0">
                <a:solidFill>
                  <a:srgbClr val="000000"/>
                </a:solidFill>
                <a:latin typeface="Roboto" panose="02000000000000000000" pitchFamily="2" charset="0"/>
                <a:ea typeface="Roboto" panose="02000000000000000000" pitchFamily="2" charset="0"/>
                <a:cs typeface="Arial"/>
                <a:sym typeface="Arial"/>
              </a:rPr>
              <a:t>Stage 1</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cxnSp>
        <p:nvCxnSpPr>
          <p:cNvPr id="4776" name="Google Shape;4776;p10"/>
          <p:cNvCxnSpPr/>
          <p:nvPr/>
        </p:nvCxnSpPr>
        <p:spPr>
          <a:xfrm>
            <a:off x="1675164" y="2742374"/>
            <a:ext cx="8541167" cy="0"/>
          </a:xfrm>
          <a:prstGeom prst="straightConnector1">
            <a:avLst/>
          </a:prstGeom>
          <a:noFill/>
          <a:ln w="28575" cap="flat" cmpd="sng">
            <a:solidFill>
              <a:srgbClr val="A5A5A5"/>
            </a:solidFill>
            <a:prstDash val="solid"/>
            <a:round/>
            <a:headEnd type="none" w="sm" len="sm"/>
            <a:tailEnd type="none" w="sm" len="sm"/>
          </a:ln>
        </p:spPr>
      </p:cxnSp>
      <p:sp>
        <p:nvSpPr>
          <p:cNvPr id="4777" name="Google Shape;4777;p10"/>
          <p:cNvSpPr txBox="1"/>
          <p:nvPr/>
        </p:nvSpPr>
        <p:spPr>
          <a:xfrm>
            <a:off x="1833190" y="2595890"/>
            <a:ext cx="566310" cy="295227"/>
          </a:xfrm>
          <a:prstGeom prst="rect">
            <a:avLst/>
          </a:prstGeom>
          <a:solidFill>
            <a:schemeClr val="lt1"/>
          </a:solidFill>
          <a:ln>
            <a:noFill/>
          </a:ln>
        </p:spPr>
        <p:txBody>
          <a:bodyPr spcFirstLastPara="1" wrap="square" lIns="45688" tIns="45688" rIns="45688" bIns="45688" anchor="t" anchorCtr="0">
            <a:noAutofit/>
          </a:bodyPr>
          <a:lstStyle/>
          <a:p>
            <a:pPr defTabSz="457200">
              <a:buClr>
                <a:srgbClr val="000000"/>
              </a:buClr>
              <a:defRPr/>
            </a:pPr>
            <a:r>
              <a:rPr lang="en-US" sz="1200" b="1" kern="0">
                <a:solidFill>
                  <a:srgbClr val="FA4616"/>
                </a:solidFill>
                <a:latin typeface="Roboto" panose="02000000000000000000" pitchFamily="2" charset="0"/>
                <a:ea typeface="Roboto" panose="02000000000000000000" pitchFamily="2" charset="0"/>
                <a:cs typeface="Arial"/>
                <a:sym typeface="Arial"/>
              </a:rPr>
              <a:t>Goals</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83" name="Google Shape;4783;p10"/>
          <p:cNvSpPr/>
          <p:nvPr/>
        </p:nvSpPr>
        <p:spPr>
          <a:xfrm>
            <a:off x="1641058" y="2061766"/>
            <a:ext cx="2134296" cy="408236"/>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kern="0">
                <a:solidFill>
                  <a:srgbClr val="FFFFFF"/>
                </a:solidFill>
                <a:latin typeface="Roboto" panose="02000000000000000000" pitchFamily="2" charset="0"/>
                <a:ea typeface="Roboto" panose="02000000000000000000" pitchFamily="2" charset="0"/>
                <a:cs typeface="Arial"/>
                <a:sym typeface="Arial"/>
              </a:rPr>
              <a:t>6-8 Months / 35% of Opportunity</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84" name="Google Shape;4784;p10"/>
          <p:cNvSpPr/>
          <p:nvPr/>
        </p:nvSpPr>
        <p:spPr>
          <a:xfrm>
            <a:off x="3749175" y="2061767"/>
            <a:ext cx="2190415" cy="403965"/>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kern="0">
                <a:solidFill>
                  <a:srgbClr val="FFFFFF"/>
                </a:solidFill>
                <a:latin typeface="Roboto" panose="02000000000000000000" pitchFamily="2" charset="0"/>
                <a:ea typeface="Roboto" panose="02000000000000000000" pitchFamily="2" charset="0"/>
                <a:cs typeface="Arial"/>
                <a:sym typeface="Arial"/>
              </a:rPr>
              <a:t>8-10 Months / 30% of Opportunity</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85" name="Google Shape;4785;p10"/>
          <p:cNvSpPr/>
          <p:nvPr/>
        </p:nvSpPr>
        <p:spPr>
          <a:xfrm>
            <a:off x="5925418" y="2057498"/>
            <a:ext cx="2134295" cy="408235"/>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kern="0">
                <a:solidFill>
                  <a:srgbClr val="FFFFFF"/>
                </a:solidFill>
                <a:latin typeface="Roboto" panose="02000000000000000000" pitchFamily="2" charset="0"/>
                <a:ea typeface="Roboto" panose="02000000000000000000" pitchFamily="2" charset="0"/>
                <a:cs typeface="Arial"/>
                <a:sym typeface="Arial"/>
              </a:rPr>
              <a:t>6-8 Months / 20% of Opportunity</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786" name="Google Shape;4786;p10"/>
          <p:cNvSpPr/>
          <p:nvPr/>
        </p:nvSpPr>
        <p:spPr>
          <a:xfrm>
            <a:off x="8041152" y="2057497"/>
            <a:ext cx="2190415" cy="414627"/>
          </a:xfrm>
          <a:prstGeom prst="chevron">
            <a:avLst>
              <a:gd name="adj" fmla="val 29375"/>
            </a:avLst>
          </a:prstGeom>
          <a:solidFill>
            <a:srgbClr val="0751DF"/>
          </a:solidFill>
          <a:ln>
            <a:noFill/>
          </a:ln>
        </p:spPr>
        <p:txBody>
          <a:bodyPr spcFirstLastPara="1" wrap="square" lIns="182827" tIns="45688" rIns="91401" bIns="45688" anchor="ctr" anchorCtr="0">
            <a:noAutofit/>
          </a:bodyPr>
          <a:lstStyle/>
          <a:p>
            <a:pPr algn="ctr" defTabSz="457200">
              <a:buClr>
                <a:srgbClr val="000000"/>
              </a:buClr>
              <a:defRPr/>
            </a:pPr>
            <a:r>
              <a:rPr lang="en-US" sz="1100" b="1" kern="0">
                <a:solidFill>
                  <a:srgbClr val="FFFFFF"/>
                </a:solidFill>
                <a:latin typeface="Roboto" panose="02000000000000000000" pitchFamily="2" charset="0"/>
                <a:ea typeface="Roboto" panose="02000000000000000000" pitchFamily="2" charset="0"/>
                <a:cs typeface="Arial"/>
                <a:sym typeface="Arial"/>
              </a:rPr>
              <a:t>6 Months / 15% of Opportunity</a:t>
            </a:r>
            <a:endParaRPr lang="en-US" sz="1400" kern="0">
              <a:solidFill>
                <a:srgbClr val="000000"/>
              </a:solidFill>
              <a:latin typeface="Roboto" panose="02000000000000000000" pitchFamily="2" charset="0"/>
              <a:ea typeface="Roboto" panose="02000000000000000000" pitchFamily="2" charset="0"/>
              <a:cs typeface="Arial"/>
              <a:sym typeface="Arial"/>
            </a:endParaRPr>
          </a:p>
        </p:txBody>
      </p:sp>
      <p:sp>
        <p:nvSpPr>
          <p:cNvPr id="4" name="TextBox 3">
            <a:extLst>
              <a:ext uri="{FF2B5EF4-FFF2-40B4-BE49-F238E27FC236}">
                <a16:creationId xmlns:a16="http://schemas.microsoft.com/office/drawing/2014/main" id="{308E15C3-3C31-20EE-F4D3-754E3C9D3FFA}"/>
              </a:ext>
            </a:extLst>
          </p:cNvPr>
          <p:cNvSpPr txBox="1"/>
          <p:nvPr/>
        </p:nvSpPr>
        <p:spPr>
          <a:xfrm>
            <a:off x="190274" y="259076"/>
            <a:ext cx="10860066" cy="615456"/>
          </a:xfrm>
          <a:prstGeom prst="rect">
            <a:avLst/>
          </a:prstGeom>
          <a:noFill/>
        </p:spPr>
        <p:txBody>
          <a:bodyPr wrap="square" lIns="91392" tIns="91392" rIns="91392" bIns="91392" rtlCol="0">
            <a:spAutoFit/>
          </a:bodyPr>
          <a:lstStyle/>
          <a:p>
            <a:pPr defTabSz="456926">
              <a:defRPr/>
            </a:pPr>
            <a:r>
              <a:rPr lang="en-US" sz="2800">
                <a:solidFill>
                  <a:srgbClr val="FF0000"/>
                </a:solidFill>
                <a:latin typeface="Roboto Medium"/>
                <a:ea typeface="Roboto Medium"/>
                <a:cs typeface="Roboto Medium"/>
              </a:rPr>
              <a:t>The Payment Posting Agentic Journey</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05D4B-6B3B-4935-F9C6-F23538E13969}"/>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9F8A5F15-CDEB-0AAE-D0EC-F6785AD33E60}"/>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solidFill>
                  <a:srgbClr val="FF0000"/>
                </a:solidFill>
              </a:rPr>
              <a:t>Remittance Intake &amp; Normalization Agent</a:t>
            </a:r>
            <a:endParaRPr lang="en-US" b="1">
              <a:solidFill>
                <a:srgbClr val="FF0000"/>
              </a:solidFill>
            </a:endParaRPr>
          </a:p>
        </p:txBody>
      </p:sp>
      <p:sp>
        <p:nvSpPr>
          <p:cNvPr id="5" name="TextBox 2">
            <a:extLst>
              <a:ext uri="{FF2B5EF4-FFF2-40B4-BE49-F238E27FC236}">
                <a16:creationId xmlns:a16="http://schemas.microsoft.com/office/drawing/2014/main" id="{9B6914B9-1A87-486B-9AD9-5D9852C09EB9}"/>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11C5C63D-A14E-828E-ED82-F7DA1ADD2D40}"/>
              </a:ext>
            </a:extLst>
          </p:cNvPr>
          <p:cNvSpPr txBox="1"/>
          <p:nvPr/>
        </p:nvSpPr>
        <p:spPr>
          <a:xfrm>
            <a:off x="2367223" y="4336578"/>
            <a:ext cx="1938528" cy="457081"/>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b="1" kern="0">
                <a:solidFill>
                  <a:srgbClr val="212529"/>
                </a:solidFill>
                <a:ea typeface="+mn-lt"/>
                <a:cs typeface="+mn-lt"/>
              </a:rPr>
              <a:t>Automated EFT/ERA Reassociation</a:t>
            </a:r>
            <a:endParaRPr lang="en-US" sz="1050"/>
          </a:p>
        </p:txBody>
      </p:sp>
      <p:sp>
        <p:nvSpPr>
          <p:cNvPr id="7" name="TextBox 4">
            <a:extLst>
              <a:ext uri="{FF2B5EF4-FFF2-40B4-BE49-F238E27FC236}">
                <a16:creationId xmlns:a16="http://schemas.microsoft.com/office/drawing/2014/main" id="{AB0A4653-D6FE-D15E-D792-D79DB7412C8F}"/>
              </a:ext>
            </a:extLst>
          </p:cNvPr>
          <p:cNvSpPr txBox="1"/>
          <p:nvPr/>
        </p:nvSpPr>
        <p:spPr>
          <a:xfrm>
            <a:off x="4488393" y="4336578"/>
            <a:ext cx="1938528" cy="457081"/>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212529"/>
                </a:solidFill>
                <a:ea typeface="+mn-lt"/>
                <a:cs typeface="+mn-lt"/>
              </a:rPr>
              <a:t>Intelligent Data Normalization</a:t>
            </a:r>
            <a:endParaRPr lang="en-US"/>
          </a:p>
        </p:txBody>
      </p:sp>
      <p:sp>
        <p:nvSpPr>
          <p:cNvPr id="8" name="TextBox 5">
            <a:extLst>
              <a:ext uri="{FF2B5EF4-FFF2-40B4-BE49-F238E27FC236}">
                <a16:creationId xmlns:a16="http://schemas.microsoft.com/office/drawing/2014/main" id="{C121AD69-DBB5-669C-6263-677E3022D511}"/>
              </a:ext>
            </a:extLst>
          </p:cNvPr>
          <p:cNvSpPr txBox="1"/>
          <p:nvPr/>
        </p:nvSpPr>
        <p:spPr>
          <a:xfrm>
            <a:off x="2343413" y="4865262"/>
            <a:ext cx="1938528"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212529"/>
                </a:solidFill>
                <a:latin typeface="Aptos"/>
                <a:ea typeface="Roboto"/>
              </a:rPr>
              <a:t>Automatically matches electronic payments (EFTs) to remittance advice (ERAs).</a:t>
            </a:r>
          </a:p>
          <a:p>
            <a:pPr defTabSz="457200">
              <a:defRPr/>
            </a:pPr>
            <a:r>
              <a:rPr lang="en-US" sz="1050">
                <a:solidFill>
                  <a:srgbClr val="212529"/>
                </a:solidFill>
                <a:latin typeface="Aptos"/>
                <a:ea typeface="Roboto"/>
              </a:rPr>
              <a:t>Uses TRN numbers to eliminate manual reconciliation and research.</a:t>
            </a:r>
          </a:p>
        </p:txBody>
      </p:sp>
      <p:sp>
        <p:nvSpPr>
          <p:cNvPr id="9" name="TextBox 6">
            <a:extLst>
              <a:ext uri="{FF2B5EF4-FFF2-40B4-BE49-F238E27FC236}">
                <a16:creationId xmlns:a16="http://schemas.microsoft.com/office/drawing/2014/main" id="{A3B587B4-6C97-FCD8-A63E-9E1FC8E746F7}"/>
              </a:ext>
            </a:extLst>
          </p:cNvPr>
          <p:cNvSpPr txBox="1"/>
          <p:nvPr/>
        </p:nvSpPr>
        <p:spPr>
          <a:xfrm>
            <a:off x="212010" y="4336578"/>
            <a:ext cx="1934767" cy="457081"/>
          </a:xfrm>
          <a:prstGeom prst="rect">
            <a:avLst/>
          </a:prstGeom>
          <a:noFill/>
        </p:spPr>
        <p:txBody>
          <a:bodyPr wrap="square" lIns="91416" tIns="45720" rIns="91416" bIns="4572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212529"/>
                </a:solidFill>
                <a:ea typeface="+mn-lt"/>
                <a:cs typeface="+mn-lt"/>
              </a:rPr>
              <a:t>Unified Remittance Ingestion</a:t>
            </a:r>
            <a:endParaRPr lang="en-US"/>
          </a:p>
        </p:txBody>
      </p:sp>
      <p:sp>
        <p:nvSpPr>
          <p:cNvPr id="10" name="TextBox 7">
            <a:extLst>
              <a:ext uri="{FF2B5EF4-FFF2-40B4-BE49-F238E27FC236}">
                <a16:creationId xmlns:a16="http://schemas.microsoft.com/office/drawing/2014/main" id="{55B1C444-56A8-D62C-644D-D366E36E967A}"/>
              </a:ext>
            </a:extLst>
          </p:cNvPr>
          <p:cNvSpPr txBox="1"/>
          <p:nvPr/>
        </p:nvSpPr>
        <p:spPr>
          <a:xfrm>
            <a:off x="212117" y="4793824"/>
            <a:ext cx="1934767" cy="1866908"/>
          </a:xfrm>
          <a:prstGeom prst="rect">
            <a:avLst/>
          </a:prstGeom>
          <a:noFill/>
        </p:spPr>
        <p:txBody>
          <a:bodyPr wrap="square" lIns="91416" tIns="91416" rIns="91416" bIns="914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050">
                <a:solidFill>
                  <a:srgbClr val="212529"/>
                </a:solidFill>
                <a:ea typeface="+mn-lt"/>
                <a:cs typeface="+mn-lt"/>
              </a:rPr>
              <a:t>Automated retrieval of all remittance files (ERAs, EOBs, EFTs).</a:t>
            </a:r>
          </a:p>
          <a:p>
            <a:pPr marL="171450" indent="-171450" defTabSz="457200">
              <a:spcBef>
                <a:spcPts val="300"/>
              </a:spcBef>
              <a:buFont typeface="Wingdings" pitchFamily="2" charset="2"/>
              <a:buChar char="§"/>
              <a:defRPr/>
            </a:pPr>
            <a:r>
              <a:rPr lang="en-US" sz="1050">
                <a:solidFill>
                  <a:srgbClr val="212529"/>
                </a:solidFill>
                <a:ea typeface="+mn-lt"/>
                <a:cs typeface="+mn-lt"/>
              </a:rPr>
              <a:t>Digitizes paper EOBs and correspondence using OCR.</a:t>
            </a:r>
          </a:p>
        </p:txBody>
      </p:sp>
      <p:sp>
        <p:nvSpPr>
          <p:cNvPr id="11" name="TextBox 8">
            <a:extLst>
              <a:ext uri="{FF2B5EF4-FFF2-40B4-BE49-F238E27FC236}">
                <a16:creationId xmlns:a16="http://schemas.microsoft.com/office/drawing/2014/main" id="{510C08B3-E518-E7CA-E605-9C8DF9E2CEBF}"/>
              </a:ext>
            </a:extLst>
          </p:cNvPr>
          <p:cNvSpPr txBox="1"/>
          <p:nvPr/>
        </p:nvSpPr>
        <p:spPr>
          <a:xfrm>
            <a:off x="4488394" y="4865262"/>
            <a:ext cx="1938528"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212529"/>
                </a:solidFill>
                <a:latin typeface="Aptos"/>
                <a:ea typeface="Roboto"/>
              </a:rPr>
              <a:t>Standardizes all payer reason codes (CARCs/RARCs) into a unified system.</a:t>
            </a:r>
          </a:p>
          <a:p>
            <a:pPr defTabSz="457200">
              <a:defRPr/>
            </a:pPr>
            <a:r>
              <a:rPr lang="en-US" sz="1050">
                <a:solidFill>
                  <a:srgbClr val="212529"/>
                </a:solidFill>
                <a:latin typeface="Aptos"/>
                <a:ea typeface="Roboto"/>
              </a:rPr>
              <a:t>Harmonizes varying payer data layouts into one consistent format.</a:t>
            </a:r>
            <a:endParaRPr lang="en-US" sz="1050">
              <a:solidFill>
                <a:srgbClr val="000000"/>
              </a:solidFill>
              <a:latin typeface="Aptos"/>
              <a:ea typeface="Roboto" panose="02000000000000000000" pitchFamily="2" charset="0"/>
            </a:endParaRPr>
          </a:p>
        </p:txBody>
      </p:sp>
      <p:cxnSp>
        <p:nvCxnSpPr>
          <p:cNvPr id="12" name="Straight Connector 11">
            <a:extLst>
              <a:ext uri="{FF2B5EF4-FFF2-40B4-BE49-F238E27FC236}">
                <a16:creationId xmlns:a16="http://schemas.microsoft.com/office/drawing/2014/main" id="{F23402E0-9AE0-4B8B-18BA-F0B3FD68345C}"/>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BE5180F6-ECC7-B1D2-3942-5869C9FC281A}"/>
              </a:ext>
            </a:extLst>
          </p:cNvPr>
          <p:cNvCxnSpPr>
            <a:cxnSpLocks/>
          </p:cNvCxnSpPr>
          <p:nvPr/>
        </p:nvCxnSpPr>
        <p:spPr>
          <a:xfrm>
            <a:off x="273055" y="2404609"/>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5145BA2A-1A81-54E8-E71C-E7A5CAB66377}"/>
              </a:ext>
            </a:extLst>
          </p:cNvPr>
          <p:cNvSpPr txBox="1"/>
          <p:nvPr/>
        </p:nvSpPr>
        <p:spPr>
          <a:xfrm>
            <a:off x="479871" y="23079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DD041EA9-76E9-1C34-79D3-255D57E18D62}"/>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78C402E6-45B9-9FCC-EB18-01D546C79B8F}"/>
              </a:ext>
            </a:extLst>
          </p:cNvPr>
          <p:cNvSpPr>
            <a:spLocks noChangeArrowheads="1"/>
          </p:cNvSpPr>
          <p:nvPr/>
        </p:nvSpPr>
        <p:spPr bwMode="gray">
          <a:xfrm>
            <a:off x="4648717" y="2592994"/>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700" b="1" kern="0">
                <a:solidFill>
                  <a:schemeClr val="bg1"/>
                </a:solidFill>
                <a:ea typeface="+mn-lt"/>
                <a:cs typeface="+mn-lt"/>
              </a:rPr>
              <a:t>Creates a clean, validated, post-ready data packet.</a:t>
            </a:r>
            <a:endParaRPr lang="en-US" sz="700">
              <a:solidFill>
                <a:schemeClr val="bg1"/>
              </a:solidFill>
            </a:endParaRPr>
          </a:p>
        </p:txBody>
      </p:sp>
      <p:sp>
        <p:nvSpPr>
          <p:cNvPr id="17" name="AutoShape 8">
            <a:extLst>
              <a:ext uri="{FF2B5EF4-FFF2-40B4-BE49-F238E27FC236}">
                <a16:creationId xmlns:a16="http://schemas.microsoft.com/office/drawing/2014/main" id="{64096F3D-26B4-5951-907C-ADBDD4C2C8DB}"/>
              </a:ext>
            </a:extLst>
          </p:cNvPr>
          <p:cNvSpPr>
            <a:spLocks noChangeArrowheads="1"/>
          </p:cNvSpPr>
          <p:nvPr/>
        </p:nvSpPr>
        <p:spPr bwMode="gray">
          <a:xfrm>
            <a:off x="3477602" y="2592994"/>
            <a:ext cx="1188720" cy="455518"/>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700" b="1" kern="0">
                <a:solidFill>
                  <a:schemeClr val="bg1"/>
                </a:solidFill>
                <a:ea typeface="+mn-lt"/>
                <a:cs typeface="+mn-lt"/>
              </a:rPr>
              <a:t>Normalizes all payer codes and data formats.</a:t>
            </a:r>
            <a:endParaRPr lang="en-US" sz="700">
              <a:solidFill>
                <a:schemeClr val="bg1"/>
              </a:solidFill>
            </a:endParaRPr>
          </a:p>
        </p:txBody>
      </p:sp>
      <p:sp>
        <p:nvSpPr>
          <p:cNvPr id="18" name="AutoShape 9">
            <a:extLst>
              <a:ext uri="{FF2B5EF4-FFF2-40B4-BE49-F238E27FC236}">
                <a16:creationId xmlns:a16="http://schemas.microsoft.com/office/drawing/2014/main" id="{2E5CC894-DB30-008D-E2C7-D2FD8ECEE9AE}"/>
              </a:ext>
            </a:extLst>
          </p:cNvPr>
          <p:cNvSpPr>
            <a:spLocks noChangeArrowheads="1"/>
          </p:cNvSpPr>
          <p:nvPr/>
        </p:nvSpPr>
        <p:spPr bwMode="gray">
          <a:xfrm>
            <a:off x="2306487"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700" b="1" kern="0">
                <a:solidFill>
                  <a:schemeClr val="bg1"/>
                </a:solidFill>
                <a:ea typeface="+mn-lt"/>
                <a:cs typeface="+mn-lt"/>
              </a:rPr>
              <a:t>Matches deposits to their remittance advice.</a:t>
            </a:r>
            <a:endParaRPr lang="en-US" sz="700" b="1">
              <a:solidFill>
                <a:schemeClr val="bg1"/>
              </a:solidFill>
            </a:endParaRPr>
          </a:p>
        </p:txBody>
      </p:sp>
      <p:sp>
        <p:nvSpPr>
          <p:cNvPr id="19" name="AutoShape 9">
            <a:extLst>
              <a:ext uri="{FF2B5EF4-FFF2-40B4-BE49-F238E27FC236}">
                <a16:creationId xmlns:a16="http://schemas.microsoft.com/office/drawing/2014/main" id="{60A7428A-F572-F07B-4246-57A5A1791AF3}"/>
              </a:ext>
            </a:extLst>
          </p:cNvPr>
          <p:cNvSpPr>
            <a:spLocks noChangeArrowheads="1"/>
          </p:cNvSpPr>
          <p:nvPr/>
        </p:nvSpPr>
        <p:spPr bwMode="gray">
          <a:xfrm>
            <a:off x="1135372"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600" b="1" kern="0">
                <a:solidFill>
                  <a:schemeClr val="bg1"/>
                </a:solidFill>
                <a:ea typeface="+mn-lt"/>
                <a:cs typeface="+mn-lt"/>
              </a:rPr>
              <a:t> </a:t>
            </a:r>
            <a:r>
              <a:rPr lang="en-US" sz="700" b="1" kern="0">
                <a:solidFill>
                  <a:schemeClr val="bg1"/>
                </a:solidFill>
                <a:ea typeface="+mn-lt"/>
                <a:cs typeface="+mn-lt"/>
              </a:rPr>
              <a:t>Ingests all remittance data, electronic and paper.</a:t>
            </a:r>
            <a:endParaRPr lang="en-US" sz="700">
              <a:solidFill>
                <a:schemeClr val="bg1"/>
              </a:solidFill>
            </a:endParaRPr>
          </a:p>
        </p:txBody>
      </p:sp>
      <p:sp>
        <p:nvSpPr>
          <p:cNvPr id="20" name="TextBox 17">
            <a:extLst>
              <a:ext uri="{FF2B5EF4-FFF2-40B4-BE49-F238E27FC236}">
                <a16:creationId xmlns:a16="http://schemas.microsoft.com/office/drawing/2014/main" id="{4F8E6AAC-F761-3F53-3C6B-E7C425D99493}"/>
              </a:ext>
            </a:extLst>
          </p:cNvPr>
          <p:cNvSpPr txBox="1"/>
          <p:nvPr/>
        </p:nvSpPr>
        <p:spPr>
          <a:xfrm>
            <a:off x="5466490" y="3453501"/>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67A68F20-B0A4-0C9E-2E75-3479CB6597D8}"/>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2487313F-F9A9-433F-FB02-1E838CFB8A7A}"/>
              </a:ext>
            </a:extLst>
          </p:cNvPr>
          <p:cNvSpPr/>
          <p:nvPr/>
        </p:nvSpPr>
        <p:spPr>
          <a:xfrm>
            <a:off x="8741294" y="917664"/>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90%</a:t>
            </a:r>
            <a:endParaRPr lang="en-US" sz="2399" b="1">
              <a:solidFill>
                <a:srgbClr val="FFFFFF"/>
              </a:solidFill>
              <a:latin typeface="Roboto" panose="02000000000000000000" pitchFamily="2" charset="0"/>
              <a:ea typeface="Roboto" panose="02000000000000000000" pitchFamily="2" charset="0"/>
              <a:cs typeface="Arial"/>
            </a:endParaRPr>
          </a:p>
          <a:p>
            <a:pPr algn="ctr" defTabSz="457200">
              <a:defRPr/>
            </a:pPr>
            <a:r>
              <a:rPr lang="en-US" sz="1200">
                <a:solidFill>
                  <a:srgbClr val="FFFFFF"/>
                </a:solidFill>
                <a:latin typeface="Roboto" panose="02000000000000000000" pitchFamily="2" charset="0"/>
                <a:ea typeface="Roboto" panose="02000000000000000000" pitchFamily="2" charset="0"/>
                <a:cs typeface="Arial"/>
              </a:rPr>
              <a:t>Reduction in posting backlog</a:t>
            </a:r>
          </a:p>
        </p:txBody>
      </p:sp>
      <p:sp>
        <p:nvSpPr>
          <p:cNvPr id="24" name="Rectangle 23">
            <a:extLst>
              <a:ext uri="{FF2B5EF4-FFF2-40B4-BE49-F238E27FC236}">
                <a16:creationId xmlns:a16="http://schemas.microsoft.com/office/drawing/2014/main" id="{965E49D9-241B-0048-4CC3-3249DB3B50AF}"/>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Millions</a:t>
            </a:r>
          </a:p>
          <a:p>
            <a:pPr algn="ctr" defTabSz="457200">
              <a:defRPr/>
            </a:pPr>
            <a:r>
              <a:rPr lang="en-US" sz="1200">
                <a:solidFill>
                  <a:srgbClr val="FFFFFF"/>
                </a:solidFill>
                <a:latin typeface="Roboto" panose="02000000000000000000" pitchFamily="2" charset="0"/>
                <a:ea typeface="Roboto" panose="02000000000000000000" pitchFamily="2" charset="0"/>
                <a:cs typeface="Arial"/>
              </a:rPr>
              <a:t> In underpayments identified at Day Zero</a:t>
            </a:r>
          </a:p>
        </p:txBody>
      </p:sp>
      <p:sp>
        <p:nvSpPr>
          <p:cNvPr id="25" name="AutoShape 7">
            <a:extLst>
              <a:ext uri="{FF2B5EF4-FFF2-40B4-BE49-F238E27FC236}">
                <a16:creationId xmlns:a16="http://schemas.microsoft.com/office/drawing/2014/main" id="{A1937EA3-9895-F436-D06F-8F66C55B3981}"/>
              </a:ext>
            </a:extLst>
          </p:cNvPr>
          <p:cNvSpPr>
            <a:spLocks noChangeArrowheads="1"/>
          </p:cNvSpPr>
          <p:nvPr/>
        </p:nvSpPr>
        <p:spPr bwMode="gray">
          <a:xfrm>
            <a:off x="5815104" y="2592994"/>
            <a:ext cx="1123044" cy="455518"/>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1050" b="1" kern="0">
                <a:solidFill>
                  <a:srgbClr val="212529"/>
                </a:solidFill>
                <a:ea typeface="+mn-lt"/>
                <a:cs typeface="+mn-lt"/>
              </a:rPr>
              <a:t> </a:t>
            </a:r>
            <a:r>
              <a:rPr lang="en-US" sz="800" b="1" kern="0">
                <a:solidFill>
                  <a:srgbClr val="212529"/>
                </a:solidFill>
                <a:ea typeface="+mn-lt"/>
                <a:cs typeface="+mn-lt"/>
              </a:rPr>
              <a:t>Reconcile Cash &amp; Analyze Trends</a:t>
            </a:r>
            <a:endParaRPr lang="en-US" sz="800"/>
          </a:p>
        </p:txBody>
      </p:sp>
      <p:sp>
        <p:nvSpPr>
          <p:cNvPr id="32" name="TextBox 33">
            <a:extLst>
              <a:ext uri="{FF2B5EF4-FFF2-40B4-BE49-F238E27FC236}">
                <a16:creationId xmlns:a16="http://schemas.microsoft.com/office/drawing/2014/main" id="{B0CB8503-DD52-8884-0D30-5635EE496EBB}"/>
              </a:ext>
            </a:extLst>
          </p:cNvPr>
          <p:cNvSpPr txBox="1"/>
          <p:nvPr/>
        </p:nvSpPr>
        <p:spPr>
          <a:xfrm>
            <a:off x="303440" y="1164955"/>
            <a:ext cx="8358528" cy="962553"/>
          </a:xfrm>
          <a:prstGeom prst="rect">
            <a:avLst/>
          </a:prstGeom>
          <a:noFill/>
        </p:spPr>
        <p:txBody>
          <a:bodyPr wrap="square" lIns="9144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Arial" panose="020B0604020202020204" pitchFamily="34" charset="0"/>
              <a:buChar char="•"/>
              <a:defRPr/>
            </a:pPr>
            <a:r>
              <a:rPr lang="en-US" sz="1050" b="1" kern="0">
                <a:solidFill>
                  <a:srgbClr val="212529"/>
                </a:solidFill>
                <a:ea typeface="+mn-lt"/>
                <a:cs typeface="+mn-lt"/>
              </a:rPr>
              <a:t>Fragmented Data Intake: </a:t>
            </a:r>
            <a:r>
              <a:rPr lang="en-US" sz="1050" kern="0">
                <a:solidFill>
                  <a:srgbClr val="212529"/>
                </a:solidFill>
                <a:ea typeface="+mn-lt"/>
                <a:cs typeface="+mn-lt"/>
              </a:rPr>
              <a:t>Receiving remittance information from hundreds of payers in a patchwork of inconsistent formats, including electronic ERAs, paper EOBs, lockbox reports, and EFT confirmations.</a:t>
            </a:r>
          </a:p>
          <a:p>
            <a:pPr marL="171450" indent="-171450" defTabSz="457200">
              <a:spcBef>
                <a:spcPts val="300"/>
              </a:spcBef>
              <a:buFont typeface="Arial" panose="020B0604020202020204" pitchFamily="34" charset="0"/>
              <a:buChar char="•"/>
              <a:defRPr/>
            </a:pPr>
            <a:r>
              <a:rPr lang="en-US" sz="1050" b="1" kern="0">
                <a:solidFill>
                  <a:srgbClr val="212529"/>
                </a:solidFill>
                <a:ea typeface="+mn-lt"/>
                <a:cs typeface="+mn-lt"/>
              </a:rPr>
              <a:t>Manual and Error-Prone Processes:</a:t>
            </a:r>
            <a:r>
              <a:rPr lang="en-US" sz="1050" kern="0">
                <a:solidFill>
                  <a:srgbClr val="212529"/>
                </a:solidFill>
                <a:ea typeface="+mn-lt"/>
                <a:cs typeface="+mn-lt"/>
              </a:rPr>
              <a:t> Relying on slow, manual data entry and reconciliation, which creates significant backlogs and is susceptible to human error.</a:t>
            </a:r>
          </a:p>
          <a:p>
            <a:pPr marL="171450" indent="-171450" defTabSz="457200">
              <a:spcBef>
                <a:spcPts val="300"/>
              </a:spcBef>
              <a:buFont typeface="Arial" panose="020B0604020202020204" pitchFamily="34" charset="0"/>
              <a:buChar char="•"/>
              <a:defRPr/>
            </a:pPr>
            <a:r>
              <a:rPr lang="en-US" sz="1050" b="1" kern="0">
                <a:solidFill>
                  <a:srgbClr val="212529"/>
                </a:solidFill>
                <a:ea typeface="+mn-lt"/>
                <a:cs typeface="+mn-lt"/>
              </a:rPr>
              <a:t>Delayed Revenue Recognition: </a:t>
            </a:r>
            <a:r>
              <a:rPr lang="en-US" sz="1050" kern="0">
                <a:solidFill>
                  <a:srgbClr val="212529"/>
                </a:solidFill>
                <a:ea typeface="+mn-lt"/>
                <a:cs typeface="+mn-lt"/>
              </a:rPr>
              <a:t>Experiencing slowed cash flow because the manual preparation and reconciliation process delays the posting of payments.</a:t>
            </a:r>
          </a:p>
        </p:txBody>
      </p:sp>
      <p:sp>
        <p:nvSpPr>
          <p:cNvPr id="33" name="Rectangle 32">
            <a:extLst>
              <a:ext uri="{FF2B5EF4-FFF2-40B4-BE49-F238E27FC236}">
                <a16:creationId xmlns:a16="http://schemas.microsoft.com/office/drawing/2014/main" id="{F27C998B-5879-4117-4F9B-54CD7F925415}"/>
              </a:ext>
            </a:extLst>
          </p:cNvPr>
          <p:cNvSpPr/>
          <p:nvPr/>
        </p:nvSpPr>
        <p:spPr>
          <a:xfrm>
            <a:off x="8721135" y="2665693"/>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Same-Day </a:t>
            </a:r>
            <a:r>
              <a:rPr lang="en-US" sz="1200">
                <a:solidFill>
                  <a:srgbClr val="FFFFFF"/>
                </a:solidFill>
                <a:latin typeface="Roboto" panose="02000000000000000000" pitchFamily="2" charset="0"/>
                <a:ea typeface="Roboto" panose="02000000000000000000" pitchFamily="2" charset="0"/>
                <a:cs typeface="Arial"/>
              </a:rPr>
              <a:t>EFT and ERA reconciliation</a:t>
            </a:r>
            <a:endParaRPr lang="en-US" sz="1000">
              <a:solidFill>
                <a:srgbClr val="FFFFFF"/>
              </a:solidFill>
              <a:latin typeface="Roboto" panose="02000000000000000000" pitchFamily="2" charset="0"/>
              <a:ea typeface="Roboto" panose="02000000000000000000" pitchFamily="2" charset="0"/>
              <a:cs typeface="Arial"/>
            </a:endParaRPr>
          </a:p>
        </p:txBody>
      </p:sp>
      <p:sp>
        <p:nvSpPr>
          <p:cNvPr id="34" name="TextBox 37">
            <a:extLst>
              <a:ext uri="{FF2B5EF4-FFF2-40B4-BE49-F238E27FC236}">
                <a16:creationId xmlns:a16="http://schemas.microsoft.com/office/drawing/2014/main" id="{177C6494-A34F-055E-A873-8064BEE47738}"/>
              </a:ext>
            </a:extLst>
          </p:cNvPr>
          <p:cNvSpPr txBox="1"/>
          <p:nvPr/>
        </p:nvSpPr>
        <p:spPr>
          <a:xfrm>
            <a:off x="5971425" y="3778748"/>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610119F4-8136-E98D-041F-E636E9C425A6}"/>
              </a:ext>
            </a:extLst>
          </p:cNvPr>
          <p:cNvSpPr txBox="1"/>
          <p:nvPr/>
        </p:nvSpPr>
        <p:spPr>
          <a:xfrm>
            <a:off x="7795786" y="3778748"/>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7CA146D1-6803-6305-7D30-9CB82C7048C4}"/>
              </a:ext>
            </a:extLst>
          </p:cNvPr>
          <p:cNvSpPr txBox="1"/>
          <p:nvPr/>
        </p:nvSpPr>
        <p:spPr>
          <a:xfrm>
            <a:off x="6897199" y="3778748"/>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sp>
        <p:nvSpPr>
          <p:cNvPr id="37" name="Oval 36">
            <a:extLst>
              <a:ext uri="{FF2B5EF4-FFF2-40B4-BE49-F238E27FC236}">
                <a16:creationId xmlns:a16="http://schemas.microsoft.com/office/drawing/2014/main" id="{31AEF833-D713-2EBA-A004-10FFDEA85BD5}"/>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6636E9AD-D832-EC86-F9B8-9460653A29A6}"/>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sp>
        <p:nvSpPr>
          <p:cNvPr id="39" name="Oval 38">
            <a:extLst>
              <a:ext uri="{FF2B5EF4-FFF2-40B4-BE49-F238E27FC236}">
                <a16:creationId xmlns:a16="http://schemas.microsoft.com/office/drawing/2014/main" id="{AE222E20-D475-6A30-FDAF-666DA8C476F2}"/>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3EA52664-5298-42F7-A970-20D06D59A7F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sp>
        <p:nvSpPr>
          <p:cNvPr id="43" name="Oval 42">
            <a:extLst>
              <a:ext uri="{FF2B5EF4-FFF2-40B4-BE49-F238E27FC236}">
                <a16:creationId xmlns:a16="http://schemas.microsoft.com/office/drawing/2014/main" id="{2FDEF75B-A864-25C5-0FAF-D3BB0FF69E2C}"/>
              </a:ext>
            </a:extLst>
          </p:cNvPr>
          <p:cNvSpPr>
            <a:spLocks noChangeAspect="1"/>
          </p:cNvSpPr>
          <p:nvPr/>
        </p:nvSpPr>
        <p:spPr>
          <a:xfrm>
            <a:off x="1146263"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sp>
        <p:nvSpPr>
          <p:cNvPr id="47" name="Oval 46">
            <a:extLst>
              <a:ext uri="{FF2B5EF4-FFF2-40B4-BE49-F238E27FC236}">
                <a16:creationId xmlns:a16="http://schemas.microsoft.com/office/drawing/2014/main" id="{E22FF0DA-8CBC-31C2-7862-75B7D7005113}"/>
              </a:ext>
            </a:extLst>
          </p:cNvPr>
          <p:cNvSpPr>
            <a:spLocks noChangeAspect="1"/>
          </p:cNvSpPr>
          <p:nvPr/>
        </p:nvSpPr>
        <p:spPr>
          <a:xfrm>
            <a:off x="2720463" y="310381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8" name="Graphic 47">
            <a:extLst>
              <a:ext uri="{FF2B5EF4-FFF2-40B4-BE49-F238E27FC236}">
                <a16:creationId xmlns:a16="http://schemas.microsoft.com/office/drawing/2014/main" id="{590D375A-CAC2-156F-F8F6-A8DC03CEFF1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766183" y="3149533"/>
            <a:ext cx="274320" cy="274320"/>
          </a:xfrm>
          <a:prstGeom prst="rect">
            <a:avLst/>
          </a:prstGeom>
        </p:spPr>
      </p:pic>
      <p:sp>
        <p:nvSpPr>
          <p:cNvPr id="53" name="Oval 52">
            <a:extLst>
              <a:ext uri="{FF2B5EF4-FFF2-40B4-BE49-F238E27FC236}">
                <a16:creationId xmlns:a16="http://schemas.microsoft.com/office/drawing/2014/main" id="{653390E3-9293-3B1E-CF13-04DAAA1B40B1}"/>
              </a:ext>
            </a:extLst>
          </p:cNvPr>
          <p:cNvSpPr>
            <a:spLocks noChangeAspect="1"/>
          </p:cNvSpPr>
          <p:nvPr/>
        </p:nvSpPr>
        <p:spPr>
          <a:xfrm>
            <a:off x="4670402"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4" name="Graphic 53">
            <a:extLst>
              <a:ext uri="{FF2B5EF4-FFF2-40B4-BE49-F238E27FC236}">
                <a16:creationId xmlns:a16="http://schemas.microsoft.com/office/drawing/2014/main" id="{25729074-A621-5A3B-8437-E436D0F27C1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716122" y="3155020"/>
            <a:ext cx="274320" cy="274320"/>
          </a:xfrm>
          <a:prstGeom prst="rect">
            <a:avLst/>
          </a:prstGeom>
        </p:spPr>
      </p:pic>
      <p:sp>
        <p:nvSpPr>
          <p:cNvPr id="55" name="AutoShape 7">
            <a:extLst>
              <a:ext uri="{FF2B5EF4-FFF2-40B4-BE49-F238E27FC236}">
                <a16:creationId xmlns:a16="http://schemas.microsoft.com/office/drawing/2014/main" id="{62D88683-FEA6-3A38-8300-AE09D3D83820}"/>
              </a:ext>
            </a:extLst>
          </p:cNvPr>
          <p:cNvSpPr>
            <a:spLocks noChangeArrowheads="1"/>
          </p:cNvSpPr>
          <p:nvPr/>
        </p:nvSpPr>
        <p:spPr bwMode="gray">
          <a:xfrm>
            <a:off x="7435745" y="2439323"/>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69BD02AA-DD28-7590-0B56-D3F1989F75D7}"/>
              </a:ext>
            </a:extLst>
          </p:cNvPr>
          <p:cNvSpPr txBox="1"/>
          <p:nvPr/>
        </p:nvSpPr>
        <p:spPr>
          <a:xfrm>
            <a:off x="7719302" y="2426830"/>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60072195-EB43-6F09-6C7F-EE470F4B026D}"/>
              </a:ext>
            </a:extLst>
          </p:cNvPr>
          <p:cNvSpPr>
            <a:spLocks noChangeArrowheads="1"/>
          </p:cNvSpPr>
          <p:nvPr/>
        </p:nvSpPr>
        <p:spPr bwMode="gray">
          <a:xfrm>
            <a:off x="6143365" y="2439323"/>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D4B10042-17AF-6AB0-6000-655FB5236FE8}"/>
              </a:ext>
            </a:extLst>
          </p:cNvPr>
          <p:cNvSpPr txBox="1"/>
          <p:nvPr/>
        </p:nvSpPr>
        <p:spPr>
          <a:xfrm>
            <a:off x="6426921" y="2426830"/>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EAFDADE2-4E6A-EE5A-4A71-2FA3619BE2D0}"/>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AB0B8C30-7AF7-5A67-70FA-90DD80C4EA3D}"/>
              </a:ext>
            </a:extLst>
          </p:cNvPr>
          <p:cNvSpPr txBox="1"/>
          <p:nvPr/>
        </p:nvSpPr>
        <p:spPr>
          <a:xfrm>
            <a:off x="10170340" y="1162812"/>
            <a:ext cx="1920240" cy="127727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solidFill>
                  <a:srgbClr val="212529"/>
                </a:solidFill>
                <a:ea typeface="+mn-lt"/>
                <a:cs typeface="+mn-lt"/>
              </a:rPr>
              <a:t>Surfaces 1-11% of net revenue at risk from underpayments and denials at the point of intake, rather than discovering them weeks later during A/R follow-up.</a:t>
            </a:r>
            <a:endParaRPr lang="en-US">
              <a:solidFill>
                <a:srgbClr val="212529"/>
              </a:solidFill>
              <a:ea typeface="+mn-lt"/>
              <a:cs typeface="+mn-lt"/>
            </a:endParaRPr>
          </a:p>
        </p:txBody>
      </p:sp>
      <p:sp>
        <p:nvSpPr>
          <p:cNvPr id="61" name="TextBox 49">
            <a:extLst>
              <a:ext uri="{FF2B5EF4-FFF2-40B4-BE49-F238E27FC236}">
                <a16:creationId xmlns:a16="http://schemas.microsoft.com/office/drawing/2014/main" id="{8DAB4BE3-CB63-19BE-B2F1-79A3C1F291CF}"/>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0EDE44E8-B108-3B13-81F5-48C2B00BECF9}"/>
              </a:ext>
            </a:extLst>
          </p:cNvPr>
          <p:cNvSpPr txBox="1"/>
          <p:nvPr/>
        </p:nvSpPr>
        <p:spPr>
          <a:xfrm>
            <a:off x="10179927" y="4985694"/>
            <a:ext cx="1920240" cy="110799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solidFill>
                  <a:srgbClr val="212529"/>
                </a:solidFill>
                <a:ea typeface="+mn-lt"/>
                <a:cs typeface="+mn-lt"/>
              </a:rPr>
              <a:t>Increases productivity by automating the vast majority of manual data entry and reconciliation, elevating staff to focus on high-value exception management.</a:t>
            </a:r>
            <a:endParaRPr lang="en-US">
              <a:solidFill>
                <a:srgbClr val="212529"/>
              </a:solidFill>
              <a:ea typeface="+mn-lt"/>
              <a:cs typeface="+mn-lt"/>
            </a:endParaRPr>
          </a:p>
        </p:txBody>
      </p:sp>
      <p:sp>
        <p:nvSpPr>
          <p:cNvPr id="63" name="TextBox 55">
            <a:extLst>
              <a:ext uri="{FF2B5EF4-FFF2-40B4-BE49-F238E27FC236}">
                <a16:creationId xmlns:a16="http://schemas.microsoft.com/office/drawing/2014/main" id="{8E1E634D-D45E-16B4-D6FC-0E2E315A8312}"/>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154AB079-D05F-4FDB-6F64-B02BE2335DF9}"/>
              </a:ext>
            </a:extLst>
          </p:cNvPr>
          <p:cNvSpPr txBox="1"/>
          <p:nvPr/>
        </p:nvSpPr>
        <p:spPr>
          <a:xfrm>
            <a:off x="10154873" y="2979207"/>
            <a:ext cx="1920240" cy="127727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solidFill>
                  <a:srgbClr val="212529"/>
                </a:solidFill>
                <a:ea typeface="+mn-lt"/>
                <a:cs typeface="+mn-lt"/>
              </a:rPr>
              <a:t>Unlocks straight-through-processing for 75-85% of all payments by delivering perfectly formatted, validated data to the posting agent, eliminating the primary bottleneck.</a:t>
            </a:r>
            <a:endParaRPr lang="en-US">
              <a:solidFill>
                <a:srgbClr val="212529"/>
              </a:solidFill>
              <a:ea typeface="+mn-lt"/>
              <a:cs typeface="+mn-lt"/>
            </a:endParaRPr>
          </a:p>
        </p:txBody>
      </p:sp>
      <p:sp>
        <p:nvSpPr>
          <p:cNvPr id="65" name="Rectangle 64">
            <a:extLst>
              <a:ext uri="{FF2B5EF4-FFF2-40B4-BE49-F238E27FC236}">
                <a16:creationId xmlns:a16="http://schemas.microsoft.com/office/drawing/2014/main" id="{DA0CBF7C-E307-48EF-596A-CE72F7FB0F72}"/>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120174E6-42D9-34BA-0499-61D90A462985}"/>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3FCA8643-C04C-78C8-34F5-1448EF7BEAF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0C059ABA-7175-5617-C2AA-BD45F3E02FBB}"/>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111372D9-0B26-CF15-D832-7D3B27166663}"/>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sp>
        <p:nvSpPr>
          <p:cNvPr id="72" name="TextBox 4">
            <a:extLst>
              <a:ext uri="{FF2B5EF4-FFF2-40B4-BE49-F238E27FC236}">
                <a16:creationId xmlns:a16="http://schemas.microsoft.com/office/drawing/2014/main" id="{53E39BBC-2229-DF8B-E62C-356E917472D1}"/>
              </a:ext>
            </a:extLst>
          </p:cNvPr>
          <p:cNvSpPr txBox="1"/>
          <p:nvPr/>
        </p:nvSpPr>
        <p:spPr>
          <a:xfrm>
            <a:off x="6645012" y="4328641"/>
            <a:ext cx="1914716"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Creation of a Canonical, Post-Ready Dataset</a:t>
            </a:r>
          </a:p>
        </p:txBody>
      </p:sp>
      <p:sp>
        <p:nvSpPr>
          <p:cNvPr id="73" name="TextBox 8">
            <a:extLst>
              <a:ext uri="{FF2B5EF4-FFF2-40B4-BE49-F238E27FC236}">
                <a16:creationId xmlns:a16="http://schemas.microsoft.com/office/drawing/2014/main" id="{970F5B34-55FB-7C62-2164-46691622EA5C}"/>
              </a:ext>
            </a:extLst>
          </p:cNvPr>
          <p:cNvSpPr txBox="1"/>
          <p:nvPr/>
        </p:nvSpPr>
        <p:spPr>
          <a:xfrm>
            <a:off x="6621201" y="4865262"/>
            <a:ext cx="1938528" cy="1783080"/>
          </a:xfrm>
          <a:prstGeom prst="rect">
            <a:avLst/>
          </a:prstGeom>
          <a:noFill/>
        </p:spPr>
        <p:txBody>
          <a:bodyPr wrap="square" lIns="91416" tIns="91416" rIns="91416" bIns="91416" rtlCol="0" anchor="t">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212529"/>
                </a:solidFill>
                <a:latin typeface="Aptos"/>
                <a:ea typeface="Roboto"/>
              </a:rPr>
              <a:t>Produces a clean, de-duplicated, and validated data packet for every payment.</a:t>
            </a:r>
          </a:p>
          <a:p>
            <a:pPr defTabSz="457200">
              <a:defRPr/>
            </a:pPr>
            <a:r>
              <a:rPr lang="en-US" sz="1050">
                <a:solidFill>
                  <a:srgbClr val="212529"/>
                </a:solidFill>
                <a:latin typeface="Aptos"/>
                <a:ea typeface="Roboto"/>
              </a:rPr>
              <a:t>Delivers an audit-ready dataset formatted for straight-through posting.</a:t>
            </a:r>
            <a:endParaRPr lang="en-US" sz="1050">
              <a:solidFill>
                <a:srgbClr val="000000"/>
              </a:solidFill>
              <a:latin typeface="Aptos"/>
              <a:ea typeface="Roboto"/>
            </a:endParaRPr>
          </a:p>
        </p:txBody>
      </p:sp>
      <p:pic>
        <p:nvPicPr>
          <p:cNvPr id="76" name="Graphic 44">
            <a:extLst>
              <a:ext uri="{FF2B5EF4-FFF2-40B4-BE49-F238E27FC236}">
                <a16:creationId xmlns:a16="http://schemas.microsoft.com/office/drawing/2014/main" id="{B8E32531-4AFE-20EB-B559-56928983F97A}"/>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214593" y="3166006"/>
            <a:ext cx="219456" cy="220585"/>
          </a:xfrm>
          <a:prstGeom prst="rect">
            <a:avLst/>
          </a:prstGeom>
        </p:spPr>
      </p:pic>
      <p:sp>
        <p:nvSpPr>
          <p:cNvPr id="77" name="Oval 76">
            <a:extLst>
              <a:ext uri="{FF2B5EF4-FFF2-40B4-BE49-F238E27FC236}">
                <a16:creationId xmlns:a16="http://schemas.microsoft.com/office/drawing/2014/main" id="{0D2F7C87-06B0-04C2-45F8-E31197E6934A}"/>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71658077-8975-FF0C-A845-12C48814E245}"/>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sp>
        <p:nvSpPr>
          <p:cNvPr id="82" name="Oval 81">
            <a:extLst>
              <a:ext uri="{FF2B5EF4-FFF2-40B4-BE49-F238E27FC236}">
                <a16:creationId xmlns:a16="http://schemas.microsoft.com/office/drawing/2014/main" id="{0DDDD623-4D09-F3BF-665B-29C79FE9C95B}"/>
              </a:ext>
            </a:extLst>
          </p:cNvPr>
          <p:cNvSpPr>
            <a:spLocks noChangeAspect="1"/>
          </p:cNvSpPr>
          <p:nvPr/>
        </p:nvSpPr>
        <p:spPr>
          <a:xfrm>
            <a:off x="5793367" y="310381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3" name="Graphic 44">
            <a:extLst>
              <a:ext uri="{FF2B5EF4-FFF2-40B4-BE49-F238E27FC236}">
                <a16:creationId xmlns:a16="http://schemas.microsoft.com/office/drawing/2014/main" id="{FB9FD52C-9F0D-3168-AE1B-38A032442CE2}"/>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861697" y="3160519"/>
            <a:ext cx="219456" cy="220585"/>
          </a:xfrm>
          <a:prstGeom prst="rect">
            <a:avLst/>
          </a:prstGeom>
        </p:spPr>
      </p:pic>
      <p:sp>
        <p:nvSpPr>
          <p:cNvPr id="84" name="Oval 83">
            <a:extLst>
              <a:ext uri="{FF2B5EF4-FFF2-40B4-BE49-F238E27FC236}">
                <a16:creationId xmlns:a16="http://schemas.microsoft.com/office/drawing/2014/main" id="{E4B2418D-B881-A3DB-DCEF-EDCD7724827B}"/>
              </a:ext>
            </a:extLst>
          </p:cNvPr>
          <p:cNvSpPr>
            <a:spLocks noChangeAspect="1"/>
          </p:cNvSpPr>
          <p:nvPr/>
        </p:nvSpPr>
        <p:spPr>
          <a:xfrm>
            <a:off x="5110020"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5" name="Graphic 84">
            <a:extLst>
              <a:ext uri="{FF2B5EF4-FFF2-40B4-BE49-F238E27FC236}">
                <a16:creationId xmlns:a16="http://schemas.microsoft.com/office/drawing/2014/main" id="{CF3A7E51-BE88-F72C-F848-DACDC3596890}"/>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5155320" y="3130669"/>
            <a:ext cx="274320" cy="274320"/>
          </a:xfrm>
          <a:prstGeom prst="rect">
            <a:avLst/>
          </a:prstGeom>
        </p:spPr>
      </p:pic>
      <p:sp>
        <p:nvSpPr>
          <p:cNvPr id="86" name="Oval 85">
            <a:extLst>
              <a:ext uri="{FF2B5EF4-FFF2-40B4-BE49-F238E27FC236}">
                <a16:creationId xmlns:a16="http://schemas.microsoft.com/office/drawing/2014/main" id="{54103A13-EFE9-9A44-8D6B-0D64DEAF7FAF}"/>
              </a:ext>
            </a:extLst>
          </p:cNvPr>
          <p:cNvSpPr>
            <a:spLocks noChangeAspect="1"/>
          </p:cNvSpPr>
          <p:nvPr/>
        </p:nvSpPr>
        <p:spPr>
          <a:xfrm>
            <a:off x="2278612" y="3097921"/>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7" name="Graphic 44">
            <a:extLst>
              <a:ext uri="{FF2B5EF4-FFF2-40B4-BE49-F238E27FC236}">
                <a16:creationId xmlns:a16="http://schemas.microsoft.com/office/drawing/2014/main" id="{EF2069DD-5094-84D8-B126-239D357F5AF0}"/>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2346942" y="3154627"/>
            <a:ext cx="219456" cy="220585"/>
          </a:xfrm>
          <a:prstGeom prst="rect">
            <a:avLst/>
          </a:prstGeom>
        </p:spPr>
      </p:pic>
      <p:sp>
        <p:nvSpPr>
          <p:cNvPr id="88" name="Oval 87">
            <a:extLst>
              <a:ext uri="{FF2B5EF4-FFF2-40B4-BE49-F238E27FC236}">
                <a16:creationId xmlns:a16="http://schemas.microsoft.com/office/drawing/2014/main" id="{138C483F-88C0-7F8B-0E88-6B1E6C6179A1}"/>
              </a:ext>
            </a:extLst>
          </p:cNvPr>
          <p:cNvSpPr>
            <a:spLocks noChangeAspect="1"/>
          </p:cNvSpPr>
          <p:nvPr/>
        </p:nvSpPr>
        <p:spPr>
          <a:xfrm>
            <a:off x="3879859" y="310381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89" name="Graphic 88">
            <a:extLst>
              <a:ext uri="{FF2B5EF4-FFF2-40B4-BE49-F238E27FC236}">
                <a16:creationId xmlns:a16="http://schemas.microsoft.com/office/drawing/2014/main" id="{A4B86E3C-57E8-DC5A-FA1E-6A7A12AA4A7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925579" y="3149533"/>
            <a:ext cx="274320" cy="274320"/>
          </a:xfrm>
          <a:prstGeom prst="rect">
            <a:avLst/>
          </a:prstGeom>
        </p:spPr>
      </p:pic>
      <p:sp>
        <p:nvSpPr>
          <p:cNvPr id="90" name="Oval 89">
            <a:extLst>
              <a:ext uri="{FF2B5EF4-FFF2-40B4-BE49-F238E27FC236}">
                <a16:creationId xmlns:a16="http://schemas.microsoft.com/office/drawing/2014/main" id="{3478A2A8-D472-8BB4-78D3-B2F7C81C5F26}"/>
              </a:ext>
            </a:extLst>
          </p:cNvPr>
          <p:cNvSpPr>
            <a:spLocks noChangeAspect="1"/>
          </p:cNvSpPr>
          <p:nvPr/>
        </p:nvSpPr>
        <p:spPr>
          <a:xfrm>
            <a:off x="3438008" y="3097921"/>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91" name="Graphic 44">
            <a:extLst>
              <a:ext uri="{FF2B5EF4-FFF2-40B4-BE49-F238E27FC236}">
                <a16:creationId xmlns:a16="http://schemas.microsoft.com/office/drawing/2014/main" id="{3451A1C4-CF09-65E3-DC0C-329F3F329DB7}"/>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3506338" y="3154627"/>
            <a:ext cx="219456" cy="220585"/>
          </a:xfrm>
          <a:prstGeom prst="rect">
            <a:avLst/>
          </a:prstGeom>
        </p:spPr>
      </p:pic>
    </p:spTree>
    <p:extLst>
      <p:ext uri="{BB962C8B-B14F-4D97-AF65-F5344CB8AC3E}">
        <p14:creationId xmlns:p14="http://schemas.microsoft.com/office/powerpoint/2010/main" val="28275513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0E602-C1F7-8577-C657-AD06193231D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E14AF33-7303-6888-8A42-CD789CBEA6DB}"/>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D2C8E3BC-B04F-6670-91A8-B3E0438904F9}"/>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FF0000"/>
                </a:solidFill>
              </a:rPr>
              <a:t>Posting &amp; Adjustment Decisioning Agent</a:t>
            </a:r>
          </a:p>
        </p:txBody>
      </p:sp>
      <p:sp>
        <p:nvSpPr>
          <p:cNvPr id="5" name="TextBox 2">
            <a:extLst>
              <a:ext uri="{FF2B5EF4-FFF2-40B4-BE49-F238E27FC236}">
                <a16:creationId xmlns:a16="http://schemas.microsoft.com/office/drawing/2014/main" id="{716FD0AD-0106-87DE-433A-5AADADF9910F}"/>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49590F7E-529A-DB15-D269-81A337675133}"/>
              </a:ext>
            </a:extLst>
          </p:cNvPr>
          <p:cNvSpPr txBox="1"/>
          <p:nvPr/>
        </p:nvSpPr>
        <p:spPr>
          <a:xfrm>
            <a:off x="2343411"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Financial</a:t>
            </a:r>
          </a:p>
        </p:txBody>
      </p:sp>
      <p:sp>
        <p:nvSpPr>
          <p:cNvPr id="7" name="TextBox 4">
            <a:extLst>
              <a:ext uri="{FF2B5EF4-FFF2-40B4-BE49-F238E27FC236}">
                <a16:creationId xmlns:a16="http://schemas.microsoft.com/office/drawing/2014/main" id="{9B56898B-2CDF-648C-8AE5-7218AAE39FEA}"/>
              </a:ext>
            </a:extLst>
          </p:cNvPr>
          <p:cNvSpPr txBox="1"/>
          <p:nvPr/>
        </p:nvSpPr>
        <p:spPr>
          <a:xfrm>
            <a:off x="4488393"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100" b="1"/>
              <a:t>Compliance &amp; Quality</a:t>
            </a:r>
            <a:endParaRPr lang="en-US" sz="1100"/>
          </a:p>
        </p:txBody>
      </p:sp>
      <p:sp>
        <p:nvSpPr>
          <p:cNvPr id="8" name="TextBox 5">
            <a:extLst>
              <a:ext uri="{FF2B5EF4-FFF2-40B4-BE49-F238E27FC236}">
                <a16:creationId xmlns:a16="http://schemas.microsoft.com/office/drawing/2014/main" id="{F7F56E89-A908-54CE-86A1-D337FFD8BFF7}"/>
              </a:ext>
            </a:extLst>
          </p:cNvPr>
          <p:cNvSpPr txBox="1"/>
          <p:nvPr/>
        </p:nvSpPr>
        <p:spPr>
          <a:xfrm>
            <a:off x="1851750" y="4865262"/>
            <a:ext cx="2430191"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28650" lvl="1" indent="-171450">
              <a:buFont typeface="Arial" panose="020B0604020202020204" pitchFamily="34" charset="0"/>
              <a:buChar char="•"/>
            </a:pPr>
            <a:r>
              <a:rPr lang="en-US" sz="1050"/>
              <a:t>Protects 2–3% of revenue lost to underpayments</a:t>
            </a:r>
          </a:p>
          <a:p>
            <a:pPr marL="628650" lvl="1" indent="-171450">
              <a:buFont typeface="Arial" panose="020B0604020202020204" pitchFamily="34" charset="0"/>
              <a:buChar char="•"/>
            </a:pPr>
            <a:r>
              <a:rPr lang="en-US" sz="1050"/>
              <a:t>Faster recognition of cash inflows improves financial forecasting</a:t>
            </a:r>
          </a:p>
          <a:p>
            <a:pPr marL="628650" lvl="1" indent="-171450">
              <a:buFont typeface="Arial" panose="020B0604020202020204" pitchFamily="34" charset="0"/>
              <a:buChar char="•"/>
            </a:pPr>
            <a:r>
              <a:rPr lang="en-US" sz="1050"/>
              <a:t>Reduces labor costs tied to manual posting</a:t>
            </a:r>
            <a:endParaRPr lang="en-US" sz="1050">
              <a:solidFill>
                <a:srgbClr val="000000"/>
              </a:solidFill>
              <a:latin typeface="Roboto" panose="02000000000000000000" pitchFamily="2" charset="0"/>
              <a:ea typeface="Roboto" panose="02000000000000000000" pitchFamily="2" charset="0"/>
            </a:endParaRPr>
          </a:p>
        </p:txBody>
      </p:sp>
      <p:sp>
        <p:nvSpPr>
          <p:cNvPr id="9" name="TextBox 6">
            <a:extLst>
              <a:ext uri="{FF2B5EF4-FFF2-40B4-BE49-F238E27FC236}">
                <a16:creationId xmlns:a16="http://schemas.microsoft.com/office/drawing/2014/main" id="{93380C25-9BA1-F3E4-8DC3-700611492442}"/>
              </a:ext>
            </a:extLst>
          </p:cNvPr>
          <p:cNvSpPr txBox="1"/>
          <p:nvPr/>
        </p:nvSpPr>
        <p:spPr>
          <a:xfrm>
            <a:off x="196135" y="4415953"/>
            <a:ext cx="1934767"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Operational</a:t>
            </a:r>
          </a:p>
        </p:txBody>
      </p:sp>
      <p:sp>
        <p:nvSpPr>
          <p:cNvPr id="10" name="TextBox 7">
            <a:extLst>
              <a:ext uri="{FF2B5EF4-FFF2-40B4-BE49-F238E27FC236}">
                <a16:creationId xmlns:a16="http://schemas.microsoft.com/office/drawing/2014/main" id="{DA09EC7D-5A56-E30A-EBBB-80B1138C5FCD}"/>
              </a:ext>
            </a:extLst>
          </p:cNvPr>
          <p:cNvSpPr txBox="1"/>
          <p:nvPr/>
        </p:nvSpPr>
        <p:spPr>
          <a:xfrm>
            <a:off x="-234669" y="4865262"/>
            <a:ext cx="2362033" cy="1779596"/>
          </a:xfrm>
          <a:prstGeom prst="rect">
            <a:avLst/>
          </a:prstGeom>
          <a:noFill/>
        </p:spPr>
        <p:txBody>
          <a:bodyPr wrap="square" lIns="91416" tIns="91416" rIns="91416" bIns="91416"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28650" lvl="1" indent="-171450" algn="just">
              <a:buFont typeface="Arial" panose="020B0604020202020204" pitchFamily="34" charset="0"/>
              <a:buChar char="•"/>
            </a:pPr>
            <a:r>
              <a:rPr lang="en-US" sz="1050"/>
              <a:t>Same-day posting → reduced A/R cycle time</a:t>
            </a:r>
          </a:p>
          <a:p>
            <a:pPr marL="628650" lvl="1" indent="-171450" algn="just">
              <a:buFont typeface="Arial" panose="020B0604020202020204" pitchFamily="34" charset="0"/>
              <a:buChar char="•"/>
            </a:pPr>
            <a:r>
              <a:rPr lang="en-US" sz="1050"/>
              <a:t>70–80% of payments fully auto-posted</a:t>
            </a:r>
          </a:p>
          <a:p>
            <a:pPr marL="628650" lvl="1" indent="-171450" algn="just">
              <a:buFont typeface="Arial" panose="020B0604020202020204" pitchFamily="34" charset="0"/>
              <a:buChar char="•"/>
            </a:pPr>
            <a:r>
              <a:rPr lang="en-US" sz="1050"/>
              <a:t>Standardized processes across payers</a:t>
            </a:r>
          </a:p>
        </p:txBody>
      </p:sp>
      <p:sp>
        <p:nvSpPr>
          <p:cNvPr id="11" name="TextBox 8">
            <a:extLst>
              <a:ext uri="{FF2B5EF4-FFF2-40B4-BE49-F238E27FC236}">
                <a16:creationId xmlns:a16="http://schemas.microsoft.com/office/drawing/2014/main" id="{C2641DFA-05F8-9424-718E-472AC6C26DE1}"/>
              </a:ext>
            </a:extLst>
          </p:cNvPr>
          <p:cNvSpPr txBox="1"/>
          <p:nvPr/>
        </p:nvSpPr>
        <p:spPr>
          <a:xfrm>
            <a:off x="4488394"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latin typeface="+mn-lt"/>
                <a:ea typeface="Roboto" panose="02000000000000000000" pitchFamily="2" charset="0"/>
              </a:rPr>
              <a:t>Routes draft appeals to clinicians for e-signature with audit trails.</a:t>
            </a:r>
          </a:p>
          <a:p>
            <a:pPr defTabSz="457200">
              <a:defRPr/>
            </a:pPr>
            <a:r>
              <a:rPr lang="en-US" sz="1050">
                <a:solidFill>
                  <a:srgbClr val="000000"/>
                </a:solidFill>
                <a:latin typeface="+mn-lt"/>
                <a:ea typeface="Roboto" panose="02000000000000000000" pitchFamily="2" charset="0"/>
              </a:rPr>
              <a:t>Ensures all submissions meet payer-specific compliance requirements.</a:t>
            </a:r>
          </a:p>
        </p:txBody>
      </p:sp>
      <p:cxnSp>
        <p:nvCxnSpPr>
          <p:cNvPr id="12" name="Straight Connector 11">
            <a:extLst>
              <a:ext uri="{FF2B5EF4-FFF2-40B4-BE49-F238E27FC236}">
                <a16:creationId xmlns:a16="http://schemas.microsoft.com/office/drawing/2014/main" id="{F18D5857-BBF0-B88B-81D5-7DD54446D7B0}"/>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A907EB77-49A1-8545-7596-E8F4CF14E4EA}"/>
              </a:ext>
            </a:extLst>
          </p:cNvPr>
          <p:cNvCxnSpPr>
            <a:cxnSpLocks/>
          </p:cNvCxnSpPr>
          <p:nvPr/>
        </p:nvCxnSpPr>
        <p:spPr>
          <a:xfrm>
            <a:off x="273055" y="2238354"/>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4F39873E-888A-9EBB-8EC5-568DA7460041}"/>
              </a:ext>
            </a:extLst>
          </p:cNvPr>
          <p:cNvSpPr txBox="1"/>
          <p:nvPr/>
        </p:nvSpPr>
        <p:spPr>
          <a:xfrm>
            <a:off x="463996" y="2145160"/>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0B21CEB1-2B5D-0CF0-7EDE-122C08444268}"/>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93044172-D2BF-765D-88BA-CD1145159144}"/>
              </a:ext>
            </a:extLst>
          </p:cNvPr>
          <p:cNvSpPr>
            <a:spLocks noChangeArrowheads="1"/>
          </p:cNvSpPr>
          <p:nvPr/>
        </p:nvSpPr>
        <p:spPr bwMode="gray">
          <a:xfrm>
            <a:off x="3933028" y="2611076"/>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700" kern="0">
                <a:solidFill>
                  <a:srgbClr val="FFFFFF"/>
                </a:solidFill>
                <a:latin typeface="Roboto" panose="02000000000000000000" pitchFamily="2" charset="0"/>
                <a:ea typeface="Roboto" panose="02000000000000000000" pitchFamily="2" charset="0"/>
                <a:cs typeface="Arial" charset="0"/>
              </a:rPr>
              <a:t>Compares payments to contracted rates to detect underpayments</a:t>
            </a:r>
          </a:p>
        </p:txBody>
      </p:sp>
      <p:sp>
        <p:nvSpPr>
          <p:cNvPr id="17" name="AutoShape 8">
            <a:extLst>
              <a:ext uri="{FF2B5EF4-FFF2-40B4-BE49-F238E27FC236}">
                <a16:creationId xmlns:a16="http://schemas.microsoft.com/office/drawing/2014/main" id="{6D5125C3-9F70-A639-1EA9-2553E1DDB01E}"/>
              </a:ext>
            </a:extLst>
          </p:cNvPr>
          <p:cNvSpPr>
            <a:spLocks noChangeArrowheads="1"/>
          </p:cNvSpPr>
          <p:nvPr/>
        </p:nvSpPr>
        <p:spPr bwMode="gray">
          <a:xfrm>
            <a:off x="2793789" y="2602843"/>
            <a:ext cx="1188720" cy="455518"/>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700" kern="0">
                <a:solidFill>
                  <a:srgbClr val="FFFFFF"/>
                </a:solidFill>
                <a:latin typeface="Roboto" panose="02000000000000000000" pitchFamily="2" charset="0"/>
                <a:ea typeface="Roboto" panose="02000000000000000000" pitchFamily="2" charset="0"/>
              </a:rPr>
              <a:t>Post clean payments and adjustments into the billing/HER system</a:t>
            </a:r>
          </a:p>
        </p:txBody>
      </p:sp>
      <p:sp>
        <p:nvSpPr>
          <p:cNvPr id="18" name="AutoShape 9">
            <a:extLst>
              <a:ext uri="{FF2B5EF4-FFF2-40B4-BE49-F238E27FC236}">
                <a16:creationId xmlns:a16="http://schemas.microsoft.com/office/drawing/2014/main" id="{14E5B1B4-311C-C5BD-C603-260F427C33B4}"/>
              </a:ext>
            </a:extLst>
          </p:cNvPr>
          <p:cNvSpPr>
            <a:spLocks noChangeArrowheads="1"/>
          </p:cNvSpPr>
          <p:nvPr/>
        </p:nvSpPr>
        <p:spPr bwMode="gray">
          <a:xfrm>
            <a:off x="1631091"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700" kern="0">
                <a:solidFill>
                  <a:srgbClr val="FFFFFF"/>
                </a:solidFill>
                <a:latin typeface="Roboto" panose="02000000000000000000" pitchFamily="2" charset="0"/>
                <a:ea typeface="Roboto" panose="02000000000000000000" pitchFamily="2" charset="0"/>
              </a:rPr>
              <a:t>Applies Payer contracts to determine valid adjustments vs. variances</a:t>
            </a:r>
          </a:p>
        </p:txBody>
      </p:sp>
      <p:sp>
        <p:nvSpPr>
          <p:cNvPr id="19" name="AutoShape 9">
            <a:extLst>
              <a:ext uri="{FF2B5EF4-FFF2-40B4-BE49-F238E27FC236}">
                <a16:creationId xmlns:a16="http://schemas.microsoft.com/office/drawing/2014/main" id="{741B89D6-1B8B-86B9-3676-96F10C9384F2}"/>
              </a:ext>
            </a:extLst>
          </p:cNvPr>
          <p:cNvSpPr>
            <a:spLocks noChangeArrowheads="1"/>
          </p:cNvSpPr>
          <p:nvPr/>
        </p:nvSpPr>
        <p:spPr bwMode="gray">
          <a:xfrm>
            <a:off x="470558"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700">
                <a:solidFill>
                  <a:schemeClr val="bg1"/>
                </a:solidFill>
              </a:rPr>
              <a:t>Classifies and interprets remittances </a:t>
            </a:r>
            <a:endParaRPr lang="en-US" sz="700" kern="0">
              <a:solidFill>
                <a:schemeClr val="bg1"/>
              </a:solidFill>
              <a:latin typeface="Roboto" panose="02000000000000000000" pitchFamily="2" charset="0"/>
              <a:ea typeface="Roboto" panose="02000000000000000000" pitchFamily="2" charset="0"/>
            </a:endParaRPr>
          </a:p>
        </p:txBody>
      </p:sp>
      <p:sp>
        <p:nvSpPr>
          <p:cNvPr id="20" name="TextBox 17">
            <a:extLst>
              <a:ext uri="{FF2B5EF4-FFF2-40B4-BE49-F238E27FC236}">
                <a16:creationId xmlns:a16="http://schemas.microsoft.com/office/drawing/2014/main" id="{EF555CC4-8CAE-DD8F-9702-9EA439575FCB}"/>
              </a:ext>
            </a:extLst>
          </p:cNvPr>
          <p:cNvSpPr txBox="1"/>
          <p:nvPr/>
        </p:nvSpPr>
        <p:spPr>
          <a:xfrm>
            <a:off x="5466490" y="3453501"/>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5502A5EE-2D34-335F-39CC-391E93DDB82C}"/>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B2F989B2-D126-4EA2-3101-4BABD987B369}"/>
              </a:ext>
            </a:extLst>
          </p:cNvPr>
          <p:cNvSpPr/>
          <p:nvPr/>
        </p:nvSpPr>
        <p:spPr>
          <a:xfrm>
            <a:off x="8741294" y="917664"/>
            <a:ext cx="1206481" cy="13206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lt; 2 min</a:t>
            </a:r>
          </a:p>
          <a:p>
            <a:pPr algn="ctr" defTabSz="457200">
              <a:defRPr/>
            </a:pPr>
            <a:r>
              <a:rPr lang="en-US" sz="1200">
                <a:solidFill>
                  <a:srgbClr val="FFFFFF"/>
                </a:solidFill>
                <a:latin typeface="Roboto" panose="02000000000000000000" pitchFamily="2" charset="0"/>
                <a:ea typeface="Roboto" panose="02000000000000000000" pitchFamily="2" charset="0"/>
                <a:cs typeface="Arial"/>
              </a:rPr>
              <a:t>to flag, document, and queue an underpaid claim for reconciliation</a:t>
            </a:r>
          </a:p>
        </p:txBody>
      </p:sp>
      <p:sp>
        <p:nvSpPr>
          <p:cNvPr id="24" name="Rectangle 23">
            <a:extLst>
              <a:ext uri="{FF2B5EF4-FFF2-40B4-BE49-F238E27FC236}">
                <a16:creationId xmlns:a16="http://schemas.microsoft.com/office/drawing/2014/main" id="{08887908-5A73-D477-4C02-88E73CEC5CA1}"/>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Reduced</a:t>
            </a:r>
          </a:p>
          <a:p>
            <a:pPr algn="ctr" defTabSz="457200">
              <a:defRPr/>
            </a:pPr>
            <a:r>
              <a:rPr lang="en-US" sz="1200">
                <a:solidFill>
                  <a:srgbClr val="FFFFFF"/>
                </a:solidFill>
                <a:latin typeface="Roboto" panose="02000000000000000000" pitchFamily="2" charset="0"/>
                <a:ea typeface="Roboto" panose="02000000000000000000" pitchFamily="2" charset="0"/>
                <a:cs typeface="Arial"/>
              </a:rPr>
              <a:t>wasted effort by 95%.</a:t>
            </a:r>
          </a:p>
        </p:txBody>
      </p:sp>
      <p:sp>
        <p:nvSpPr>
          <p:cNvPr id="32" name="TextBox 33">
            <a:extLst>
              <a:ext uri="{FF2B5EF4-FFF2-40B4-BE49-F238E27FC236}">
                <a16:creationId xmlns:a16="http://schemas.microsoft.com/office/drawing/2014/main" id="{BCC9E7D8-5FFD-AACB-B29C-58C293967793}"/>
              </a:ext>
            </a:extLst>
          </p:cNvPr>
          <p:cNvSpPr txBox="1"/>
          <p:nvPr/>
        </p:nvSpPr>
        <p:spPr>
          <a:xfrm>
            <a:off x="311377" y="1164955"/>
            <a:ext cx="8357518" cy="946389"/>
          </a:xfrm>
          <a:prstGeom prst="rect">
            <a:avLst/>
          </a:prstGeom>
          <a:noFill/>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000" b="1"/>
              <a:t>Delays</a:t>
            </a:r>
            <a:r>
              <a:rPr lang="en-US" sz="1000"/>
              <a:t>: Manual posting backlogs extend </a:t>
            </a:r>
            <a:r>
              <a:rPr lang="en-US" sz="1000" b="1"/>
              <a:t>Days in A/R</a:t>
            </a:r>
            <a:r>
              <a:rPr lang="en-US" sz="1000"/>
              <a:t> by 5–10 days, slowing cash flow.</a:t>
            </a:r>
          </a:p>
          <a:p>
            <a:pPr lvl="0"/>
            <a:r>
              <a:rPr lang="en-US" sz="1000" b="1"/>
              <a:t>Errors</a:t>
            </a:r>
            <a:r>
              <a:rPr lang="en-US" sz="1000"/>
              <a:t>: Payment posting error rates can reach </a:t>
            </a:r>
            <a:r>
              <a:rPr lang="en-US" sz="1000" b="1"/>
              <a:t>5–7%</a:t>
            </a:r>
            <a:r>
              <a:rPr lang="en-US" sz="1000"/>
              <a:t> when done manually, leading to inaccurate balances.</a:t>
            </a:r>
          </a:p>
          <a:p>
            <a:pPr lvl="0"/>
            <a:r>
              <a:rPr lang="en-US" sz="1000" b="1"/>
              <a:t>Revenue Leakage</a:t>
            </a:r>
            <a:r>
              <a:rPr lang="en-US" sz="1000"/>
              <a:t>: Advisory Board estimates </a:t>
            </a:r>
            <a:r>
              <a:rPr lang="en-US" sz="1000" b="1"/>
              <a:t>2–3% of net revenue is lost</a:t>
            </a:r>
            <a:r>
              <a:rPr lang="en-US" sz="1000"/>
              <a:t> annually due to underpayments that aren’t caught.</a:t>
            </a:r>
          </a:p>
          <a:p>
            <a:pPr lvl="0"/>
            <a:r>
              <a:rPr lang="en-US" sz="1000" b="1"/>
              <a:t>Backlogs &amp; Staffing</a:t>
            </a:r>
            <a:r>
              <a:rPr lang="en-US" sz="1000"/>
              <a:t>: Posting teams face high volumes of ERAs (Electronic Remittance Advice) and paper EOBs, worsened by workforce shortages.</a:t>
            </a:r>
          </a:p>
          <a:p>
            <a:pPr lvl="0"/>
            <a:r>
              <a:rPr lang="en-US" sz="1000" b="1"/>
              <a:t>Compliance Risks</a:t>
            </a:r>
            <a:r>
              <a:rPr lang="en-US" sz="1000"/>
              <a:t>: Inconsistent adjustment application creates exposure during payer audits or RAC reviews.</a:t>
            </a:r>
          </a:p>
        </p:txBody>
      </p:sp>
      <p:sp>
        <p:nvSpPr>
          <p:cNvPr id="33" name="Rectangle 32">
            <a:extLst>
              <a:ext uri="{FF2B5EF4-FFF2-40B4-BE49-F238E27FC236}">
                <a16:creationId xmlns:a16="http://schemas.microsoft.com/office/drawing/2014/main" id="{1398B6BF-F1EE-E58A-9EE7-C8434A481E58}"/>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30%</a:t>
            </a:r>
            <a:br>
              <a:rPr lang="en-US" sz="2000" b="1">
                <a:solidFill>
                  <a:srgbClr val="FFFFFF"/>
                </a:solidFill>
                <a:latin typeface="Roboto" panose="02000000000000000000" pitchFamily="2" charset="0"/>
                <a:ea typeface="Roboto" panose="02000000000000000000" pitchFamily="2" charset="0"/>
                <a:cs typeface="Arial"/>
              </a:rPr>
            </a:br>
            <a:r>
              <a:rPr lang="en-US" sz="1400" b="1">
                <a:solidFill>
                  <a:srgbClr val="FFFFFF"/>
                </a:solidFill>
                <a:latin typeface="Roboto" panose="02000000000000000000" pitchFamily="2" charset="0"/>
                <a:ea typeface="Roboto" panose="02000000000000000000" pitchFamily="2" charset="0"/>
                <a:cs typeface="Arial"/>
              </a:rPr>
              <a:t> </a:t>
            </a:r>
            <a:r>
              <a:rPr lang="en-US" sz="1200">
                <a:solidFill>
                  <a:srgbClr val="FFFFFF"/>
                </a:solidFill>
                <a:latin typeface="Roboto" panose="02000000000000000000" pitchFamily="2" charset="0"/>
                <a:ea typeface="Roboto" panose="02000000000000000000" pitchFamily="2" charset="0"/>
                <a:cs typeface="Arial"/>
              </a:rPr>
              <a:t>Increase in overturn success rate</a:t>
            </a:r>
            <a:endParaRPr lang="en-US" sz="1000">
              <a:solidFill>
                <a:srgbClr val="FFFFFF"/>
              </a:solidFill>
              <a:latin typeface="Roboto" panose="02000000000000000000" pitchFamily="2" charset="0"/>
              <a:ea typeface="Roboto" panose="02000000000000000000" pitchFamily="2" charset="0"/>
              <a:cs typeface="Arial"/>
            </a:endParaRPr>
          </a:p>
        </p:txBody>
      </p:sp>
      <p:sp>
        <p:nvSpPr>
          <p:cNvPr id="34" name="TextBox 37">
            <a:extLst>
              <a:ext uri="{FF2B5EF4-FFF2-40B4-BE49-F238E27FC236}">
                <a16:creationId xmlns:a16="http://schemas.microsoft.com/office/drawing/2014/main" id="{718C7834-860D-7015-52B2-3747F47E6221}"/>
              </a:ext>
            </a:extLst>
          </p:cNvPr>
          <p:cNvSpPr txBox="1"/>
          <p:nvPr/>
        </p:nvSpPr>
        <p:spPr>
          <a:xfrm>
            <a:off x="5971425" y="3778748"/>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C7407FB9-54E1-A67E-55F2-21410FC334BB}"/>
              </a:ext>
            </a:extLst>
          </p:cNvPr>
          <p:cNvSpPr txBox="1"/>
          <p:nvPr/>
        </p:nvSpPr>
        <p:spPr>
          <a:xfrm>
            <a:off x="7795786" y="3778748"/>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0FDB11B6-6AFD-21CC-DEE3-FC36C7F28892}"/>
              </a:ext>
            </a:extLst>
          </p:cNvPr>
          <p:cNvSpPr txBox="1"/>
          <p:nvPr/>
        </p:nvSpPr>
        <p:spPr>
          <a:xfrm>
            <a:off x="6897199" y="3778748"/>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30" name="Group 29">
            <a:extLst>
              <a:ext uri="{FF2B5EF4-FFF2-40B4-BE49-F238E27FC236}">
                <a16:creationId xmlns:a16="http://schemas.microsoft.com/office/drawing/2014/main" id="{21D20A49-D81F-7878-C9EF-84871A20C1CA}"/>
              </a:ext>
            </a:extLst>
          </p:cNvPr>
          <p:cNvGrpSpPr/>
          <p:nvPr/>
        </p:nvGrpSpPr>
        <p:grpSpPr>
          <a:xfrm>
            <a:off x="6467482" y="3711433"/>
            <a:ext cx="365760" cy="365760"/>
            <a:chOff x="6467482" y="3711433"/>
            <a:chExt cx="365760" cy="365760"/>
          </a:xfrm>
        </p:grpSpPr>
        <p:sp>
          <p:nvSpPr>
            <p:cNvPr id="37" name="Oval 36">
              <a:extLst>
                <a:ext uri="{FF2B5EF4-FFF2-40B4-BE49-F238E27FC236}">
                  <a16:creationId xmlns:a16="http://schemas.microsoft.com/office/drawing/2014/main" id="{45A66C7C-FFF3-5E0A-0416-C18C6AD72DC7}"/>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A78FDA31-BABD-E0B8-FA6B-8EF2D934D700}"/>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grpSp>
      <p:grpSp>
        <p:nvGrpSpPr>
          <p:cNvPr id="29" name="Group 28">
            <a:extLst>
              <a:ext uri="{FF2B5EF4-FFF2-40B4-BE49-F238E27FC236}">
                <a16:creationId xmlns:a16="http://schemas.microsoft.com/office/drawing/2014/main" id="{F73D32AC-CC81-69AD-B5F5-417840051785}"/>
              </a:ext>
            </a:extLst>
          </p:cNvPr>
          <p:cNvGrpSpPr/>
          <p:nvPr/>
        </p:nvGrpSpPr>
        <p:grpSpPr>
          <a:xfrm>
            <a:off x="7376596" y="3713632"/>
            <a:ext cx="365760" cy="365760"/>
            <a:chOff x="7376596" y="3713632"/>
            <a:chExt cx="365760" cy="365760"/>
          </a:xfrm>
        </p:grpSpPr>
        <p:sp>
          <p:nvSpPr>
            <p:cNvPr id="39" name="Oval 38">
              <a:extLst>
                <a:ext uri="{FF2B5EF4-FFF2-40B4-BE49-F238E27FC236}">
                  <a16:creationId xmlns:a16="http://schemas.microsoft.com/office/drawing/2014/main" id="{514398B2-938A-247D-83F8-B9F2145D98D8}"/>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2AC14D23-7001-F6E3-987F-6E99710E284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21" name="Group 20">
            <a:extLst>
              <a:ext uri="{FF2B5EF4-FFF2-40B4-BE49-F238E27FC236}">
                <a16:creationId xmlns:a16="http://schemas.microsoft.com/office/drawing/2014/main" id="{6EC007E4-2F33-368F-96A6-C79FC500F27E}"/>
              </a:ext>
            </a:extLst>
          </p:cNvPr>
          <p:cNvGrpSpPr/>
          <p:nvPr/>
        </p:nvGrpSpPr>
        <p:grpSpPr>
          <a:xfrm>
            <a:off x="1131345" y="3115192"/>
            <a:ext cx="365760" cy="365760"/>
            <a:chOff x="2303163" y="3115192"/>
            <a:chExt cx="365760" cy="365760"/>
          </a:xfrm>
        </p:grpSpPr>
        <p:sp>
          <p:nvSpPr>
            <p:cNvPr id="47" name="Oval 46">
              <a:extLst>
                <a:ext uri="{FF2B5EF4-FFF2-40B4-BE49-F238E27FC236}">
                  <a16:creationId xmlns:a16="http://schemas.microsoft.com/office/drawing/2014/main" id="{73A5F116-EE58-9775-E846-84B98CD3ECC8}"/>
                </a:ext>
              </a:extLst>
            </p:cNvPr>
            <p:cNvSpPr>
              <a:spLocks noChangeAspect="1"/>
            </p:cNvSpPr>
            <p:nvPr/>
          </p:nvSpPr>
          <p:spPr>
            <a:xfrm>
              <a:off x="2303163" y="311519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8" name="Graphic 47">
              <a:extLst>
                <a:ext uri="{FF2B5EF4-FFF2-40B4-BE49-F238E27FC236}">
                  <a16:creationId xmlns:a16="http://schemas.microsoft.com/office/drawing/2014/main" id="{E9536FA2-64E3-5722-50BF-12AD714501D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48883" y="3160912"/>
              <a:ext cx="274320" cy="274320"/>
            </a:xfrm>
            <a:prstGeom prst="rect">
              <a:avLst/>
            </a:prstGeom>
          </p:spPr>
        </p:pic>
      </p:grpSp>
      <p:sp>
        <p:nvSpPr>
          <p:cNvPr id="49" name="Oval 48">
            <a:extLst>
              <a:ext uri="{FF2B5EF4-FFF2-40B4-BE49-F238E27FC236}">
                <a16:creationId xmlns:a16="http://schemas.microsoft.com/office/drawing/2014/main" id="{520B7700-3840-6231-EF75-0341B846F81D}"/>
              </a:ext>
            </a:extLst>
          </p:cNvPr>
          <p:cNvSpPr>
            <a:spLocks noChangeAspect="1"/>
          </p:cNvSpPr>
          <p:nvPr/>
        </p:nvSpPr>
        <p:spPr>
          <a:xfrm>
            <a:off x="3496546"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2" name="Graphic 51">
            <a:extLst>
              <a:ext uri="{FF2B5EF4-FFF2-40B4-BE49-F238E27FC236}">
                <a16:creationId xmlns:a16="http://schemas.microsoft.com/office/drawing/2014/main" id="{8C324772-56E1-4784-3023-15CA7FD6013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31504" y="3155020"/>
            <a:ext cx="274320" cy="274320"/>
          </a:xfrm>
          <a:prstGeom prst="rect">
            <a:avLst/>
          </a:prstGeom>
        </p:spPr>
      </p:pic>
      <p:sp>
        <p:nvSpPr>
          <p:cNvPr id="55" name="AutoShape 7">
            <a:extLst>
              <a:ext uri="{FF2B5EF4-FFF2-40B4-BE49-F238E27FC236}">
                <a16:creationId xmlns:a16="http://schemas.microsoft.com/office/drawing/2014/main" id="{729FC827-1841-D10F-6D9A-CEC770FFBF3B}"/>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85DFBA9F-CC6F-9B36-5F7E-645F347E91B0}"/>
              </a:ext>
            </a:extLst>
          </p:cNvPr>
          <p:cNvSpPr txBox="1"/>
          <p:nvPr/>
        </p:nvSpPr>
        <p:spPr>
          <a:xfrm>
            <a:off x="7719302" y="2322921"/>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C3ED3AAE-060B-9376-4A1E-2CECE10A7E46}"/>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0BB6BACC-C8DC-C85E-36D9-19372C72341A}"/>
              </a:ext>
            </a:extLst>
          </p:cNvPr>
          <p:cNvSpPr txBox="1"/>
          <p:nvPr/>
        </p:nvSpPr>
        <p:spPr>
          <a:xfrm>
            <a:off x="6426921" y="2322921"/>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FBA44942-B208-CD05-DAE1-82B246BB8FE8}"/>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B29001AB-36BC-FC43-5E39-F524AC96DC96}"/>
              </a:ext>
            </a:extLst>
          </p:cNvPr>
          <p:cNvSpPr txBox="1"/>
          <p:nvPr/>
        </p:nvSpPr>
        <p:spPr>
          <a:xfrm>
            <a:off x="10170340" y="1162812"/>
            <a:ext cx="1920240" cy="127727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panose="02000000000000000000" pitchFamily="2" charset="0"/>
                <a:ea typeface="Roboto" panose="02000000000000000000" pitchFamily="2" charset="0"/>
              </a:rPr>
              <a:t>Increases net revenue by recapturing 1-3% of lost payments and accelerates cash flow by providing real-time visibility into underpayments and DIR fees.</a:t>
            </a:r>
            <a:endParaRPr lang="en-US" sz="1100">
              <a:solidFill>
                <a:srgbClr val="0C0C0C"/>
              </a:solidFill>
              <a:latin typeface="Roboto" panose="02000000000000000000" pitchFamily="2" charset="0"/>
              <a:ea typeface="Roboto" panose="02000000000000000000" pitchFamily="2" charset="0"/>
            </a:endParaRPr>
          </a:p>
        </p:txBody>
      </p:sp>
      <p:sp>
        <p:nvSpPr>
          <p:cNvPr id="61" name="TextBox 49">
            <a:extLst>
              <a:ext uri="{FF2B5EF4-FFF2-40B4-BE49-F238E27FC236}">
                <a16:creationId xmlns:a16="http://schemas.microsoft.com/office/drawing/2014/main" id="{62C45211-6898-D6EA-F2B9-D5D79CF58B17}"/>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79259061-C18B-E669-7431-4DCDDEC98B90}"/>
              </a:ext>
            </a:extLst>
          </p:cNvPr>
          <p:cNvSpPr txBox="1"/>
          <p:nvPr/>
        </p:nvSpPr>
        <p:spPr>
          <a:xfrm>
            <a:off x="10179927" y="4985694"/>
            <a:ext cx="1920240" cy="1615827"/>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solidFill>
                  <a:srgbClr val="0C0C0C"/>
                </a:solidFill>
                <a:latin typeface="Roboto" panose="02000000000000000000" pitchFamily="2" charset="0"/>
                <a:ea typeface="Roboto" panose="02000000000000000000" pitchFamily="2" charset="0"/>
              </a:rPr>
              <a:t>Automates 80-90% of payment posting, reducing the time to handle an exception from 30 minutes to under two and increasing appeal success rates by over 30% by focusing staff effort only where it's needed.</a:t>
            </a:r>
          </a:p>
        </p:txBody>
      </p:sp>
      <p:sp>
        <p:nvSpPr>
          <p:cNvPr id="63" name="TextBox 55">
            <a:extLst>
              <a:ext uri="{FF2B5EF4-FFF2-40B4-BE49-F238E27FC236}">
                <a16:creationId xmlns:a16="http://schemas.microsoft.com/office/drawing/2014/main" id="{51B21581-8356-4876-BE43-01A6630D44A6}"/>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1D24DBDA-410A-484E-6854-871F2C1B6D31}"/>
              </a:ext>
            </a:extLst>
          </p:cNvPr>
          <p:cNvSpPr txBox="1"/>
          <p:nvPr/>
        </p:nvSpPr>
        <p:spPr>
          <a:xfrm>
            <a:off x="10154873" y="2979207"/>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panose="02000000000000000000" pitchFamily="2" charset="0"/>
                <a:ea typeface="Roboto" panose="02000000000000000000" pitchFamily="2" charset="0"/>
              </a:rPr>
              <a:t>Delivers consistency and compliance in payment posting quality, reducing audit risk and strengthening payer relationships.</a:t>
            </a:r>
            <a:endParaRPr lang="en-US" sz="1100">
              <a:solidFill>
                <a:srgbClr val="0C0C0C"/>
              </a:solidFill>
              <a:latin typeface="Roboto" panose="02000000000000000000" pitchFamily="2" charset="0"/>
              <a:ea typeface="Roboto" panose="02000000000000000000" pitchFamily="2" charset="0"/>
            </a:endParaRPr>
          </a:p>
        </p:txBody>
      </p:sp>
      <p:sp>
        <p:nvSpPr>
          <p:cNvPr id="65" name="Rectangle 64">
            <a:extLst>
              <a:ext uri="{FF2B5EF4-FFF2-40B4-BE49-F238E27FC236}">
                <a16:creationId xmlns:a16="http://schemas.microsoft.com/office/drawing/2014/main" id="{FA105B53-A4D5-011E-1406-B98979036524}"/>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66057C40-BA38-D1A8-9568-83468421C3DC}"/>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26068B4A-92C9-022B-C268-2ED65D9277C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E7CF77F6-3F10-4B8C-0DC1-E998883FEC7E}"/>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65225019-9237-9416-FD33-E1679DC52FBD}"/>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sp>
        <p:nvSpPr>
          <p:cNvPr id="72" name="TextBox 4">
            <a:extLst>
              <a:ext uri="{FF2B5EF4-FFF2-40B4-BE49-F238E27FC236}">
                <a16:creationId xmlns:a16="http://schemas.microsoft.com/office/drawing/2014/main" id="{4AF151E3-C852-5EAB-0418-B79AE4AC7901}"/>
              </a:ext>
            </a:extLst>
          </p:cNvPr>
          <p:cNvSpPr txBox="1"/>
          <p:nvPr/>
        </p:nvSpPr>
        <p:spPr>
          <a:xfrm>
            <a:off x="6621200"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a:t>Integrity and Payment Reconciliation</a:t>
            </a:r>
          </a:p>
        </p:txBody>
      </p:sp>
      <p:sp>
        <p:nvSpPr>
          <p:cNvPr id="73" name="TextBox 8">
            <a:extLst>
              <a:ext uri="{FF2B5EF4-FFF2-40B4-BE49-F238E27FC236}">
                <a16:creationId xmlns:a16="http://schemas.microsoft.com/office/drawing/2014/main" id="{DC128119-4F42-C725-0362-3A0FFA0FAD95}"/>
              </a:ext>
            </a:extLst>
          </p:cNvPr>
          <p:cNvSpPr txBox="1"/>
          <p:nvPr/>
        </p:nvSpPr>
        <p:spPr>
          <a:xfrm>
            <a:off x="6621201"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latin typeface="+mn-lt"/>
              </a:rPr>
              <a:t>Posts clean payments and adjustments into the billing/EHR system.</a:t>
            </a:r>
          </a:p>
          <a:p>
            <a:pPr defTabSz="457200">
              <a:defRPr/>
            </a:pPr>
            <a:r>
              <a:rPr lang="en-US" sz="1050">
                <a:latin typeface="+mn-lt"/>
              </a:rPr>
              <a:t>Generates exception queues for ambiguous or disputed postings.</a:t>
            </a:r>
          </a:p>
          <a:p>
            <a:pPr defTabSz="457200">
              <a:defRPr/>
            </a:pPr>
            <a:r>
              <a:rPr lang="en-US" sz="1050">
                <a:latin typeface="+mn-lt"/>
              </a:rPr>
              <a:t>Builds an audit trail with standardized documentation for compliance.</a:t>
            </a:r>
            <a:endParaRPr lang="en-US" sz="1050">
              <a:solidFill>
                <a:srgbClr val="000000"/>
              </a:solidFill>
              <a:latin typeface="+mn-lt"/>
              <a:ea typeface="Roboto" panose="02000000000000000000" pitchFamily="2" charset="0"/>
            </a:endParaRPr>
          </a:p>
        </p:txBody>
      </p:sp>
      <p:grpSp>
        <p:nvGrpSpPr>
          <p:cNvPr id="26" name="Group 25">
            <a:extLst>
              <a:ext uri="{FF2B5EF4-FFF2-40B4-BE49-F238E27FC236}">
                <a16:creationId xmlns:a16="http://schemas.microsoft.com/office/drawing/2014/main" id="{8B53A1BF-A799-A8F6-8FA2-B81D0295D711}"/>
              </a:ext>
            </a:extLst>
          </p:cNvPr>
          <p:cNvGrpSpPr/>
          <p:nvPr/>
        </p:nvGrpSpPr>
        <p:grpSpPr>
          <a:xfrm>
            <a:off x="2256658" y="3118756"/>
            <a:ext cx="365760" cy="365760"/>
            <a:chOff x="1706099" y="3570332"/>
            <a:chExt cx="365760" cy="365760"/>
          </a:xfrm>
        </p:grpSpPr>
        <p:sp>
          <p:nvSpPr>
            <p:cNvPr id="43" name="Oval 42">
              <a:extLst>
                <a:ext uri="{FF2B5EF4-FFF2-40B4-BE49-F238E27FC236}">
                  <a16:creationId xmlns:a16="http://schemas.microsoft.com/office/drawing/2014/main" id="{95846133-EDBC-3CD6-C056-5E371E016766}"/>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6" name="Graphic 44">
              <a:extLst>
                <a:ext uri="{FF2B5EF4-FFF2-40B4-BE49-F238E27FC236}">
                  <a16:creationId xmlns:a16="http://schemas.microsoft.com/office/drawing/2014/main" id="{464E1FC8-B344-271F-0716-985856E53842}"/>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28" name="Group 27">
            <a:extLst>
              <a:ext uri="{FF2B5EF4-FFF2-40B4-BE49-F238E27FC236}">
                <a16:creationId xmlns:a16="http://schemas.microsoft.com/office/drawing/2014/main" id="{6D7B4966-8C3B-288E-50C2-DD4AB5E6CDD7}"/>
              </a:ext>
            </a:extLst>
          </p:cNvPr>
          <p:cNvGrpSpPr/>
          <p:nvPr/>
        </p:nvGrpSpPr>
        <p:grpSpPr>
          <a:xfrm>
            <a:off x="5530438" y="3720867"/>
            <a:ext cx="365760" cy="365760"/>
            <a:chOff x="5530438" y="3720867"/>
            <a:chExt cx="365760" cy="365760"/>
          </a:xfrm>
        </p:grpSpPr>
        <p:sp>
          <p:nvSpPr>
            <p:cNvPr id="77" name="Oval 76">
              <a:extLst>
                <a:ext uri="{FF2B5EF4-FFF2-40B4-BE49-F238E27FC236}">
                  <a16:creationId xmlns:a16="http://schemas.microsoft.com/office/drawing/2014/main" id="{09E578DA-5173-E1D4-4E16-CB970778C8EA}"/>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71AFD7CA-372A-12FA-BF35-CE562F2ADF97}"/>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grpSp>
      <p:grpSp>
        <p:nvGrpSpPr>
          <p:cNvPr id="27" name="Group 26">
            <a:extLst>
              <a:ext uri="{FF2B5EF4-FFF2-40B4-BE49-F238E27FC236}">
                <a16:creationId xmlns:a16="http://schemas.microsoft.com/office/drawing/2014/main" id="{D87954F2-FE26-9550-54A7-52EB92F12EE5}"/>
              </a:ext>
            </a:extLst>
          </p:cNvPr>
          <p:cNvGrpSpPr/>
          <p:nvPr/>
        </p:nvGrpSpPr>
        <p:grpSpPr>
          <a:xfrm>
            <a:off x="4619023" y="3118756"/>
            <a:ext cx="365760" cy="365760"/>
            <a:chOff x="2742870" y="3118756"/>
            <a:chExt cx="365760" cy="365760"/>
          </a:xfrm>
        </p:grpSpPr>
        <p:sp>
          <p:nvSpPr>
            <p:cNvPr id="80" name="Oval 79">
              <a:extLst>
                <a:ext uri="{FF2B5EF4-FFF2-40B4-BE49-F238E27FC236}">
                  <a16:creationId xmlns:a16="http://schemas.microsoft.com/office/drawing/2014/main" id="{CE74E74E-F85C-3F37-7258-82F73EBB9A60}"/>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1" name="Graphic 80">
              <a:extLst>
                <a:ext uri="{FF2B5EF4-FFF2-40B4-BE49-F238E27FC236}">
                  <a16:creationId xmlns:a16="http://schemas.microsoft.com/office/drawing/2014/main" id="{CDFA419E-9955-806A-572D-12931AB58F07}"/>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sp>
        <p:nvSpPr>
          <p:cNvPr id="2" name="AutoShape 7">
            <a:extLst>
              <a:ext uri="{FF2B5EF4-FFF2-40B4-BE49-F238E27FC236}">
                <a16:creationId xmlns:a16="http://schemas.microsoft.com/office/drawing/2014/main" id="{225A0C42-06FF-8FAD-FFF2-2E5D4AD4BB2F}"/>
              </a:ext>
            </a:extLst>
          </p:cNvPr>
          <p:cNvSpPr>
            <a:spLocks noChangeArrowheads="1"/>
          </p:cNvSpPr>
          <p:nvPr/>
        </p:nvSpPr>
        <p:spPr bwMode="gray">
          <a:xfrm>
            <a:off x="5089297" y="2611076"/>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700" kern="0">
                <a:solidFill>
                  <a:srgbClr val="FFFFFF"/>
                </a:solidFill>
                <a:latin typeface="Roboto" panose="02000000000000000000" pitchFamily="2" charset="0"/>
                <a:ea typeface="Roboto" panose="02000000000000000000" pitchFamily="2" charset="0"/>
                <a:cs typeface="Arial" charset="0"/>
              </a:rPr>
              <a:t>Generates exception queues for ambiguous or disputed postings.</a:t>
            </a:r>
          </a:p>
        </p:txBody>
      </p:sp>
      <p:sp>
        <p:nvSpPr>
          <p:cNvPr id="25" name="AutoShape 7">
            <a:extLst>
              <a:ext uri="{FF2B5EF4-FFF2-40B4-BE49-F238E27FC236}">
                <a16:creationId xmlns:a16="http://schemas.microsoft.com/office/drawing/2014/main" id="{0D83DA03-1E9B-596F-FEA1-B356989A53FA}"/>
              </a:ext>
            </a:extLst>
          </p:cNvPr>
          <p:cNvSpPr>
            <a:spLocks noChangeArrowheads="1"/>
          </p:cNvSpPr>
          <p:nvPr/>
        </p:nvSpPr>
        <p:spPr bwMode="gray">
          <a:xfrm>
            <a:off x="6256259" y="2618365"/>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700" kern="0">
                <a:solidFill>
                  <a:srgbClr val="FFFFFF"/>
                </a:solidFill>
                <a:latin typeface="Roboto" panose="02000000000000000000" pitchFamily="2" charset="0"/>
                <a:ea typeface="Roboto" panose="02000000000000000000" pitchFamily="2" charset="0"/>
                <a:cs typeface="Arial" charset="0"/>
              </a:rPr>
              <a:t>Builds an audit trail with standardized documentation for compliance.</a:t>
            </a:r>
          </a:p>
        </p:txBody>
      </p:sp>
    </p:spTree>
    <p:extLst>
      <p:ext uri="{BB962C8B-B14F-4D97-AF65-F5344CB8AC3E}">
        <p14:creationId xmlns:p14="http://schemas.microsoft.com/office/powerpoint/2010/main" val="2818113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D9CD5-7957-AB79-E9BC-8C5E5590121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C019BDA-425C-E539-F824-FE5E116E2678}"/>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8B02EABD-BC41-EFEF-8D85-623BAC99CD61}"/>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solidFill>
                  <a:srgbClr val="FF0000"/>
                </a:solidFill>
              </a:rPr>
              <a:t>The Contract &amp; Denial Analysis Agent</a:t>
            </a:r>
          </a:p>
        </p:txBody>
      </p:sp>
      <p:sp>
        <p:nvSpPr>
          <p:cNvPr id="5" name="TextBox 2">
            <a:extLst>
              <a:ext uri="{FF2B5EF4-FFF2-40B4-BE49-F238E27FC236}">
                <a16:creationId xmlns:a16="http://schemas.microsoft.com/office/drawing/2014/main" id="{ADC42CB3-5185-DBC7-716C-6C0FDB42AB8A}"/>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A3F7DA3B-E0AD-FF28-BE02-78F9AAFD6ECF}"/>
              </a:ext>
            </a:extLst>
          </p:cNvPr>
          <p:cNvSpPr txBox="1"/>
          <p:nvPr/>
        </p:nvSpPr>
        <p:spPr>
          <a:xfrm>
            <a:off x="2343411"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Automated Variance Flagging</a:t>
            </a:r>
          </a:p>
        </p:txBody>
      </p:sp>
      <p:sp>
        <p:nvSpPr>
          <p:cNvPr id="7" name="TextBox 4">
            <a:extLst>
              <a:ext uri="{FF2B5EF4-FFF2-40B4-BE49-F238E27FC236}">
                <a16:creationId xmlns:a16="http://schemas.microsoft.com/office/drawing/2014/main" id="{BF46BBE5-C84A-3F42-E6AF-EC171B844C4F}"/>
              </a:ext>
            </a:extLst>
          </p:cNvPr>
          <p:cNvSpPr txBox="1"/>
          <p:nvPr/>
        </p:nvSpPr>
        <p:spPr>
          <a:xfrm>
            <a:off x="4488393"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AI-Powered Denial Classification</a:t>
            </a:r>
          </a:p>
        </p:txBody>
      </p:sp>
      <p:sp>
        <p:nvSpPr>
          <p:cNvPr id="8" name="TextBox 5">
            <a:extLst>
              <a:ext uri="{FF2B5EF4-FFF2-40B4-BE49-F238E27FC236}">
                <a16:creationId xmlns:a16="http://schemas.microsoft.com/office/drawing/2014/main" id="{C8D929E7-2BBC-3E23-DB23-CC6E042AAB24}"/>
              </a:ext>
            </a:extLst>
          </p:cNvPr>
          <p:cNvSpPr txBox="1"/>
          <p:nvPr/>
        </p:nvSpPr>
        <p:spPr>
          <a:xfrm>
            <a:off x="2343413"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latin typeface="Roboto" panose="02000000000000000000" pitchFamily="2" charset="0"/>
                <a:ea typeface="Roboto" panose="02000000000000000000" pitchFamily="2" charset="0"/>
              </a:rPr>
              <a:t>Instantly identifies every underpayment and overpayment.</a:t>
            </a:r>
          </a:p>
          <a:p>
            <a:pPr defTabSz="457200">
              <a:defRPr/>
            </a:pPr>
            <a:r>
              <a:rPr lang="en-US" sz="1050">
                <a:solidFill>
                  <a:srgbClr val="000000"/>
                </a:solidFill>
                <a:latin typeface="Roboto" panose="02000000000000000000" pitchFamily="2" charset="0"/>
                <a:ea typeface="Roboto" panose="02000000000000000000" pitchFamily="2" charset="0"/>
              </a:rPr>
              <a:t>Flags all payment variances based on pre-set financial rules.</a:t>
            </a:r>
          </a:p>
        </p:txBody>
      </p:sp>
      <p:sp>
        <p:nvSpPr>
          <p:cNvPr id="9" name="TextBox 6">
            <a:extLst>
              <a:ext uri="{FF2B5EF4-FFF2-40B4-BE49-F238E27FC236}">
                <a16:creationId xmlns:a16="http://schemas.microsoft.com/office/drawing/2014/main" id="{18395F1B-54DB-EA68-FD00-F127F6597398}"/>
              </a:ext>
            </a:extLst>
          </p:cNvPr>
          <p:cNvSpPr txBox="1"/>
          <p:nvPr/>
        </p:nvSpPr>
        <p:spPr>
          <a:xfrm>
            <a:off x="196135" y="4415953"/>
            <a:ext cx="1934767"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Real-Time Contract Compliance</a:t>
            </a:r>
          </a:p>
        </p:txBody>
      </p:sp>
      <p:sp>
        <p:nvSpPr>
          <p:cNvPr id="10" name="TextBox 7">
            <a:extLst>
              <a:ext uri="{FF2B5EF4-FFF2-40B4-BE49-F238E27FC236}">
                <a16:creationId xmlns:a16="http://schemas.microsoft.com/office/drawing/2014/main" id="{C06E6158-E7A4-7E07-0B47-FA4D083D6E40}"/>
              </a:ext>
            </a:extLst>
          </p:cNvPr>
          <p:cNvSpPr txBox="1"/>
          <p:nvPr/>
        </p:nvSpPr>
        <p:spPr>
          <a:xfrm>
            <a:off x="212117" y="4865262"/>
            <a:ext cx="1934767" cy="1779596"/>
          </a:xfrm>
          <a:prstGeom prst="rect">
            <a:avLst/>
          </a:prstGeom>
          <a:noFill/>
        </p:spPr>
        <p:txBody>
          <a:bodyPr wrap="square" lIns="91416" tIns="91416" rIns="91416" bIns="91416"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050">
                <a:solidFill>
                  <a:srgbClr val="000000"/>
                </a:solidFill>
                <a:latin typeface="Roboto" panose="02000000000000000000" pitchFamily="2" charset="0"/>
                <a:ea typeface="Roboto" panose="02000000000000000000" pitchFamily="2" charset="0"/>
                <a:cs typeface="Arial"/>
              </a:rPr>
              <a:t>Automatically compares every paid claim to the contract in real-time.</a:t>
            </a:r>
          </a:p>
          <a:p>
            <a:pPr marL="171450" indent="-171450" defTabSz="457200">
              <a:spcBef>
                <a:spcPts val="300"/>
              </a:spcBef>
              <a:buFont typeface="Wingdings" pitchFamily="2" charset="2"/>
              <a:buChar char="§"/>
              <a:defRPr/>
            </a:pPr>
            <a:r>
              <a:rPr lang="en-US" sz="1050">
                <a:solidFill>
                  <a:srgbClr val="000000"/>
                </a:solidFill>
                <a:latin typeface="Roboto" panose="02000000000000000000" pitchFamily="2" charset="0"/>
                <a:ea typeface="Roboto" panose="02000000000000000000" pitchFamily="2" charset="0"/>
                <a:cs typeface="Arial"/>
              </a:rPr>
              <a:t>Eliminates the need for manual auditing and spot-checking.</a:t>
            </a:r>
          </a:p>
        </p:txBody>
      </p:sp>
      <p:sp>
        <p:nvSpPr>
          <p:cNvPr id="11" name="TextBox 8">
            <a:extLst>
              <a:ext uri="{FF2B5EF4-FFF2-40B4-BE49-F238E27FC236}">
                <a16:creationId xmlns:a16="http://schemas.microsoft.com/office/drawing/2014/main" id="{1285B382-3C2B-2996-977F-EE4EBA354013}"/>
              </a:ext>
            </a:extLst>
          </p:cNvPr>
          <p:cNvSpPr txBox="1"/>
          <p:nvPr/>
        </p:nvSpPr>
        <p:spPr>
          <a:xfrm>
            <a:off x="4488394"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latin typeface="Roboto" panose="02000000000000000000" pitchFamily="2" charset="0"/>
                <a:ea typeface="Roboto" panose="02000000000000000000" pitchFamily="2" charset="0"/>
              </a:rPr>
              <a:t>Uses AI to interpret denial codes and unstructured payer narratives.</a:t>
            </a:r>
          </a:p>
          <a:p>
            <a:pPr defTabSz="457200">
              <a:defRPr/>
            </a:pPr>
            <a:r>
              <a:rPr lang="en-US" sz="1050">
                <a:solidFill>
                  <a:srgbClr val="000000"/>
                </a:solidFill>
                <a:latin typeface="Roboto" panose="02000000000000000000" pitchFamily="2" charset="0"/>
                <a:ea typeface="Roboto" panose="02000000000000000000" pitchFamily="2" charset="0"/>
              </a:rPr>
              <a:t>Accurately categorizes the true root cause for every denial.</a:t>
            </a:r>
          </a:p>
        </p:txBody>
      </p:sp>
      <p:cxnSp>
        <p:nvCxnSpPr>
          <p:cNvPr id="12" name="Straight Connector 11">
            <a:extLst>
              <a:ext uri="{FF2B5EF4-FFF2-40B4-BE49-F238E27FC236}">
                <a16:creationId xmlns:a16="http://schemas.microsoft.com/office/drawing/2014/main" id="{5C74F471-1F76-D052-2169-E66CE132A12A}"/>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9743420A-5C40-A7FB-7A32-06CA5A0CC8DE}"/>
              </a:ext>
            </a:extLst>
          </p:cNvPr>
          <p:cNvCxnSpPr>
            <a:cxnSpLocks/>
          </p:cNvCxnSpPr>
          <p:nvPr/>
        </p:nvCxnSpPr>
        <p:spPr>
          <a:xfrm>
            <a:off x="273055" y="2209784"/>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CB07D7E1-86E0-5EB0-A00E-D6430238FC95}"/>
              </a:ext>
            </a:extLst>
          </p:cNvPr>
          <p:cNvSpPr txBox="1"/>
          <p:nvPr/>
        </p:nvSpPr>
        <p:spPr>
          <a:xfrm>
            <a:off x="463996" y="21174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EA01E062-4650-AF88-F826-AE4E12B6DCB8}"/>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7" name="AutoShape 8">
            <a:extLst>
              <a:ext uri="{FF2B5EF4-FFF2-40B4-BE49-F238E27FC236}">
                <a16:creationId xmlns:a16="http://schemas.microsoft.com/office/drawing/2014/main" id="{96AE5283-5927-BD8E-BB3F-BEA68748C25E}"/>
              </a:ext>
            </a:extLst>
          </p:cNvPr>
          <p:cNvSpPr>
            <a:spLocks noChangeArrowheads="1"/>
          </p:cNvSpPr>
          <p:nvPr/>
        </p:nvSpPr>
        <p:spPr bwMode="gray">
          <a:xfrm>
            <a:off x="4867313" y="2569498"/>
            <a:ext cx="1188720" cy="455518"/>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700" kern="0">
                <a:solidFill>
                  <a:srgbClr val="FFFFFF"/>
                </a:solidFill>
                <a:latin typeface="Roboto" panose="02000000000000000000" pitchFamily="2" charset="0"/>
                <a:ea typeface="Roboto" panose="02000000000000000000" pitchFamily="2" charset="0"/>
              </a:rPr>
              <a:t>Humans resolve the flagged exceptions and manage appeals.</a:t>
            </a:r>
          </a:p>
        </p:txBody>
      </p:sp>
      <p:sp>
        <p:nvSpPr>
          <p:cNvPr id="18" name="AutoShape 9">
            <a:extLst>
              <a:ext uri="{FF2B5EF4-FFF2-40B4-BE49-F238E27FC236}">
                <a16:creationId xmlns:a16="http://schemas.microsoft.com/office/drawing/2014/main" id="{2BF57AA8-4003-8DC6-6DD6-71FAADCADB84}"/>
              </a:ext>
            </a:extLst>
          </p:cNvPr>
          <p:cNvSpPr>
            <a:spLocks noChangeArrowheads="1"/>
          </p:cNvSpPr>
          <p:nvPr/>
        </p:nvSpPr>
        <p:spPr bwMode="gray">
          <a:xfrm>
            <a:off x="3547147" y="2577566"/>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700" kern="0">
                <a:solidFill>
                  <a:srgbClr val="FFFFFF"/>
                </a:solidFill>
                <a:latin typeface="Roboto" panose="02000000000000000000" pitchFamily="2" charset="0"/>
                <a:ea typeface="Roboto" panose="02000000000000000000" pitchFamily="2" charset="0"/>
              </a:rPr>
              <a:t>AI analyzes payments, flags all issues, and recommends actions.</a:t>
            </a:r>
          </a:p>
        </p:txBody>
      </p:sp>
      <p:sp>
        <p:nvSpPr>
          <p:cNvPr id="19" name="AutoShape 9">
            <a:extLst>
              <a:ext uri="{FF2B5EF4-FFF2-40B4-BE49-F238E27FC236}">
                <a16:creationId xmlns:a16="http://schemas.microsoft.com/office/drawing/2014/main" id="{CA0B2242-44BF-DAFC-3608-6A170844521B}"/>
              </a:ext>
            </a:extLst>
          </p:cNvPr>
          <p:cNvSpPr>
            <a:spLocks noChangeArrowheads="1"/>
          </p:cNvSpPr>
          <p:nvPr/>
        </p:nvSpPr>
        <p:spPr bwMode="gray">
          <a:xfrm>
            <a:off x="2241763" y="2577138"/>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800">
                <a:solidFill>
                  <a:schemeClr val="bg1"/>
                </a:solidFill>
              </a:rPr>
              <a:t>Bots ingest and post the payment files (ERAs/EOBs).</a:t>
            </a:r>
            <a:endParaRPr lang="en-US" sz="800" kern="0">
              <a:solidFill>
                <a:schemeClr val="bg1"/>
              </a:solidFill>
              <a:latin typeface="Roboto" panose="02000000000000000000" pitchFamily="2" charset="0"/>
              <a:ea typeface="Roboto" panose="02000000000000000000" pitchFamily="2" charset="0"/>
            </a:endParaRPr>
          </a:p>
        </p:txBody>
      </p:sp>
      <p:sp>
        <p:nvSpPr>
          <p:cNvPr id="20" name="TextBox 17">
            <a:extLst>
              <a:ext uri="{FF2B5EF4-FFF2-40B4-BE49-F238E27FC236}">
                <a16:creationId xmlns:a16="http://schemas.microsoft.com/office/drawing/2014/main" id="{0B67B16A-499C-F3E5-6931-C10F1D3C7B15}"/>
              </a:ext>
            </a:extLst>
          </p:cNvPr>
          <p:cNvSpPr txBox="1"/>
          <p:nvPr/>
        </p:nvSpPr>
        <p:spPr>
          <a:xfrm>
            <a:off x="5466490" y="3453501"/>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443E277B-F1AD-C4D2-5102-A54B8E08F3CC}"/>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B0D3C266-BCF0-DC06-5655-8174AE608736}"/>
              </a:ext>
            </a:extLst>
          </p:cNvPr>
          <p:cNvSpPr/>
          <p:nvPr/>
        </p:nvSpPr>
        <p:spPr>
          <a:xfrm>
            <a:off x="8741294" y="917664"/>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40%</a:t>
            </a:r>
            <a:endParaRPr lang="en-US" sz="2399" b="1">
              <a:solidFill>
                <a:srgbClr val="FFFFFF"/>
              </a:solidFill>
              <a:latin typeface="Roboto" panose="02000000000000000000" pitchFamily="2" charset="0"/>
              <a:ea typeface="Roboto" panose="02000000000000000000" pitchFamily="2" charset="0"/>
              <a:cs typeface="Arial"/>
            </a:endParaRPr>
          </a:p>
          <a:p>
            <a:pPr algn="ctr" defTabSz="457200">
              <a:defRPr/>
            </a:pPr>
            <a:r>
              <a:rPr lang="en-US" sz="1200">
                <a:solidFill>
                  <a:srgbClr val="FFFFFF"/>
                </a:solidFill>
                <a:latin typeface="Roboto" panose="02000000000000000000" pitchFamily="2" charset="0"/>
                <a:ea typeface="Roboto" panose="02000000000000000000" pitchFamily="2" charset="0"/>
                <a:cs typeface="Arial"/>
              </a:rPr>
              <a:t>Increase in appeal overturn rate</a:t>
            </a:r>
          </a:p>
        </p:txBody>
      </p:sp>
      <p:sp>
        <p:nvSpPr>
          <p:cNvPr id="24" name="Rectangle 23">
            <a:extLst>
              <a:ext uri="{FF2B5EF4-FFF2-40B4-BE49-F238E27FC236}">
                <a16:creationId xmlns:a16="http://schemas.microsoft.com/office/drawing/2014/main" id="{7AA418EF-5E40-7F71-2EE7-C85B7C56FBBE}"/>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Days-to-Weeks</a:t>
            </a:r>
          </a:p>
          <a:p>
            <a:pPr algn="ctr" defTabSz="457200">
              <a:defRPr/>
            </a:pPr>
            <a:r>
              <a:rPr lang="en-US" sz="1200">
                <a:solidFill>
                  <a:srgbClr val="FFFFFF"/>
                </a:solidFill>
                <a:latin typeface="Roboto" panose="02000000000000000000" pitchFamily="2" charset="0"/>
                <a:ea typeface="Roboto" panose="02000000000000000000" pitchFamily="2" charset="0"/>
                <a:cs typeface="Arial"/>
              </a:rPr>
              <a:t>Reduction in A/R cycle time</a:t>
            </a:r>
          </a:p>
        </p:txBody>
      </p:sp>
      <p:sp>
        <p:nvSpPr>
          <p:cNvPr id="32" name="TextBox 33">
            <a:extLst>
              <a:ext uri="{FF2B5EF4-FFF2-40B4-BE49-F238E27FC236}">
                <a16:creationId xmlns:a16="http://schemas.microsoft.com/office/drawing/2014/main" id="{2FC6055C-4A97-E177-528B-BBB178B6DDAD}"/>
              </a:ext>
            </a:extLst>
          </p:cNvPr>
          <p:cNvSpPr txBox="1"/>
          <p:nvPr/>
        </p:nvSpPr>
        <p:spPr>
          <a:xfrm>
            <a:off x="311377" y="1164955"/>
            <a:ext cx="8357518" cy="946389"/>
          </a:xfrm>
          <a:prstGeom prst="rect">
            <a:avLst/>
          </a:prstGeom>
          <a:noFill/>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100" b="1"/>
              <a:t>Underpayments</a:t>
            </a:r>
            <a:r>
              <a:rPr lang="en-US" sz="1100"/>
              <a:t>: Studies estimate providers lose </a:t>
            </a:r>
            <a:r>
              <a:rPr lang="en-US" sz="1100" b="1"/>
              <a:t>1–3% of net patient revenue</a:t>
            </a:r>
            <a:r>
              <a:rPr lang="en-US" sz="1100"/>
              <a:t> annually to undetected underpayments. For a $500M health system, this equates to $5–15M in lost revenue.</a:t>
            </a:r>
          </a:p>
          <a:p>
            <a:pPr lvl="0"/>
            <a:r>
              <a:rPr lang="en-US" sz="1100" b="1"/>
              <a:t>Denial rates</a:t>
            </a:r>
            <a:r>
              <a:rPr lang="en-US" sz="1100"/>
              <a:t>: On average, </a:t>
            </a:r>
            <a:r>
              <a:rPr lang="en-US" sz="1100" b="1"/>
              <a:t>10–12% of claims are denied on first pass</a:t>
            </a:r>
            <a:r>
              <a:rPr lang="en-US" sz="1100"/>
              <a:t>, costing $25–$118 per reworked claim.</a:t>
            </a:r>
          </a:p>
          <a:p>
            <a:pPr lvl="0"/>
            <a:r>
              <a:rPr lang="en-US" sz="1100" b="1"/>
              <a:t>Delayed follow-up</a:t>
            </a:r>
            <a:r>
              <a:rPr lang="en-US" sz="1100"/>
              <a:t>: Manual reconciliation pushes </a:t>
            </a:r>
            <a:r>
              <a:rPr lang="en-US" sz="1100" b="1"/>
              <a:t>Days in A/R higher</a:t>
            </a:r>
            <a:r>
              <a:rPr lang="en-US" sz="1100"/>
              <a:t> and delays cash flow.</a:t>
            </a:r>
          </a:p>
        </p:txBody>
      </p:sp>
      <p:sp>
        <p:nvSpPr>
          <p:cNvPr id="33" name="Rectangle 32">
            <a:extLst>
              <a:ext uri="{FF2B5EF4-FFF2-40B4-BE49-F238E27FC236}">
                <a16:creationId xmlns:a16="http://schemas.microsoft.com/office/drawing/2014/main" id="{DD54D6B3-AF50-2E76-8781-73D745EABA77}"/>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Zero-Touch</a:t>
            </a:r>
            <a:br>
              <a:rPr lang="en-US" sz="2000" b="1">
                <a:solidFill>
                  <a:srgbClr val="FFFFFF"/>
                </a:solidFill>
                <a:latin typeface="Roboto" panose="02000000000000000000" pitchFamily="2" charset="0"/>
                <a:ea typeface="Roboto" panose="02000000000000000000" pitchFamily="2" charset="0"/>
                <a:cs typeface="Arial"/>
              </a:rPr>
            </a:br>
            <a:r>
              <a:rPr lang="en-US" sz="1400" b="1">
                <a:solidFill>
                  <a:srgbClr val="FFFFFF"/>
                </a:solidFill>
                <a:latin typeface="Roboto" panose="02000000000000000000" pitchFamily="2" charset="0"/>
                <a:ea typeface="Roboto" panose="02000000000000000000" pitchFamily="2" charset="0"/>
                <a:cs typeface="Arial"/>
              </a:rPr>
              <a:t> </a:t>
            </a:r>
            <a:r>
              <a:rPr lang="en-US" sz="1200">
                <a:solidFill>
                  <a:srgbClr val="FFFFFF"/>
                </a:solidFill>
                <a:latin typeface="Roboto" panose="02000000000000000000" pitchFamily="2" charset="0"/>
                <a:ea typeface="Roboto" panose="02000000000000000000" pitchFamily="2" charset="0"/>
                <a:cs typeface="Arial"/>
              </a:rPr>
              <a:t>Denial and variance task creation</a:t>
            </a:r>
            <a:endParaRPr lang="en-US" sz="1000">
              <a:solidFill>
                <a:srgbClr val="FFFFFF"/>
              </a:solidFill>
              <a:latin typeface="Roboto" panose="02000000000000000000" pitchFamily="2" charset="0"/>
              <a:ea typeface="Roboto" panose="02000000000000000000" pitchFamily="2" charset="0"/>
              <a:cs typeface="Arial"/>
            </a:endParaRPr>
          </a:p>
        </p:txBody>
      </p:sp>
      <p:sp>
        <p:nvSpPr>
          <p:cNvPr id="34" name="TextBox 37">
            <a:extLst>
              <a:ext uri="{FF2B5EF4-FFF2-40B4-BE49-F238E27FC236}">
                <a16:creationId xmlns:a16="http://schemas.microsoft.com/office/drawing/2014/main" id="{4EB05E13-DBD9-C80A-6658-06053A356D6E}"/>
              </a:ext>
            </a:extLst>
          </p:cNvPr>
          <p:cNvSpPr txBox="1"/>
          <p:nvPr/>
        </p:nvSpPr>
        <p:spPr>
          <a:xfrm>
            <a:off x="5971425" y="3778748"/>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83CA4D5A-6E04-4B47-B4B2-571F11DC383D}"/>
              </a:ext>
            </a:extLst>
          </p:cNvPr>
          <p:cNvSpPr txBox="1"/>
          <p:nvPr/>
        </p:nvSpPr>
        <p:spPr>
          <a:xfrm>
            <a:off x="7795786" y="3778748"/>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B75EA1C7-5DDF-5BB1-6866-3000DF3B29C4}"/>
              </a:ext>
            </a:extLst>
          </p:cNvPr>
          <p:cNvSpPr txBox="1"/>
          <p:nvPr/>
        </p:nvSpPr>
        <p:spPr>
          <a:xfrm>
            <a:off x="6897199" y="3778748"/>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30" name="Group 29">
            <a:extLst>
              <a:ext uri="{FF2B5EF4-FFF2-40B4-BE49-F238E27FC236}">
                <a16:creationId xmlns:a16="http://schemas.microsoft.com/office/drawing/2014/main" id="{5DB62028-5A56-D307-F14B-B050C2FD2248}"/>
              </a:ext>
            </a:extLst>
          </p:cNvPr>
          <p:cNvGrpSpPr/>
          <p:nvPr/>
        </p:nvGrpSpPr>
        <p:grpSpPr>
          <a:xfrm>
            <a:off x="6467482" y="3711433"/>
            <a:ext cx="365760" cy="365760"/>
            <a:chOff x="6467482" y="3711433"/>
            <a:chExt cx="365760" cy="365760"/>
          </a:xfrm>
        </p:grpSpPr>
        <p:sp>
          <p:nvSpPr>
            <p:cNvPr id="37" name="Oval 36">
              <a:extLst>
                <a:ext uri="{FF2B5EF4-FFF2-40B4-BE49-F238E27FC236}">
                  <a16:creationId xmlns:a16="http://schemas.microsoft.com/office/drawing/2014/main" id="{4F835CCA-E60C-BEFA-8AFA-1EBE5A50B1E6}"/>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05DE607A-2630-270B-2CD2-924EDE4EA8E7}"/>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grpSp>
      <p:grpSp>
        <p:nvGrpSpPr>
          <p:cNvPr id="29" name="Group 28">
            <a:extLst>
              <a:ext uri="{FF2B5EF4-FFF2-40B4-BE49-F238E27FC236}">
                <a16:creationId xmlns:a16="http://schemas.microsoft.com/office/drawing/2014/main" id="{F1DB773E-4F65-BC20-63BD-854C4E56D9D5}"/>
              </a:ext>
            </a:extLst>
          </p:cNvPr>
          <p:cNvGrpSpPr/>
          <p:nvPr/>
        </p:nvGrpSpPr>
        <p:grpSpPr>
          <a:xfrm>
            <a:off x="7376596" y="3713632"/>
            <a:ext cx="365760" cy="365760"/>
            <a:chOff x="7376596" y="3713632"/>
            <a:chExt cx="365760" cy="365760"/>
          </a:xfrm>
        </p:grpSpPr>
        <p:sp>
          <p:nvSpPr>
            <p:cNvPr id="39" name="Oval 38">
              <a:extLst>
                <a:ext uri="{FF2B5EF4-FFF2-40B4-BE49-F238E27FC236}">
                  <a16:creationId xmlns:a16="http://schemas.microsoft.com/office/drawing/2014/main" id="{80064EA9-4428-8620-E4F3-641A77DFE824}"/>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4890863D-DFCA-1834-F8B4-94F3A0DDFBD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sp>
        <p:nvSpPr>
          <p:cNvPr id="49" name="Oval 48">
            <a:extLst>
              <a:ext uri="{FF2B5EF4-FFF2-40B4-BE49-F238E27FC236}">
                <a16:creationId xmlns:a16="http://schemas.microsoft.com/office/drawing/2014/main" id="{802E71EB-86F6-CD1D-A335-ED9C01491C8E}"/>
              </a:ext>
            </a:extLst>
          </p:cNvPr>
          <p:cNvSpPr>
            <a:spLocks noChangeAspect="1"/>
          </p:cNvSpPr>
          <p:nvPr/>
        </p:nvSpPr>
        <p:spPr>
          <a:xfrm>
            <a:off x="3891864" y="31391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2" name="Graphic 51">
            <a:extLst>
              <a:ext uri="{FF2B5EF4-FFF2-40B4-BE49-F238E27FC236}">
                <a16:creationId xmlns:a16="http://schemas.microsoft.com/office/drawing/2014/main" id="{2717CECA-B36C-4AEC-62D7-CE27B39F7C8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919207" y="3192920"/>
            <a:ext cx="274320" cy="274320"/>
          </a:xfrm>
          <a:prstGeom prst="rect">
            <a:avLst/>
          </a:prstGeom>
        </p:spPr>
      </p:pic>
      <p:sp>
        <p:nvSpPr>
          <p:cNvPr id="55" name="AutoShape 7">
            <a:extLst>
              <a:ext uri="{FF2B5EF4-FFF2-40B4-BE49-F238E27FC236}">
                <a16:creationId xmlns:a16="http://schemas.microsoft.com/office/drawing/2014/main" id="{05BC0EF8-DA2B-9A9A-20E9-45516DB128A5}"/>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8FFD4358-F7BE-3D5F-65F8-AB1ADE7888D3}"/>
              </a:ext>
            </a:extLst>
          </p:cNvPr>
          <p:cNvSpPr txBox="1"/>
          <p:nvPr/>
        </p:nvSpPr>
        <p:spPr>
          <a:xfrm>
            <a:off x="7719302" y="2322921"/>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A4270991-2A75-360A-5859-8BACBC4DD937}"/>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9C586156-1303-855C-4227-72A3F0301F04}"/>
              </a:ext>
            </a:extLst>
          </p:cNvPr>
          <p:cNvSpPr txBox="1"/>
          <p:nvPr/>
        </p:nvSpPr>
        <p:spPr>
          <a:xfrm>
            <a:off x="6426921" y="2322921"/>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B21294E2-29ED-E55A-34F9-C1C106D179FF}"/>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FFA2120C-C804-CCF7-2CA8-7DEE66FA2427}"/>
              </a:ext>
            </a:extLst>
          </p:cNvPr>
          <p:cNvSpPr txBox="1"/>
          <p:nvPr/>
        </p:nvSpPr>
        <p:spPr>
          <a:xfrm>
            <a:off x="10170340" y="1162812"/>
            <a:ext cx="1920240" cy="93871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panose="02000000000000000000" pitchFamily="2" charset="0"/>
                <a:ea typeface="Roboto" panose="02000000000000000000" pitchFamily="2" charset="0"/>
              </a:rPr>
              <a:t>Directly increases net revenue by recovering underpayments, winning more appeals, and cutting rework costs..</a:t>
            </a:r>
            <a:endParaRPr lang="en-US" sz="1100">
              <a:solidFill>
                <a:srgbClr val="0C0C0C"/>
              </a:solidFill>
              <a:latin typeface="Roboto" panose="02000000000000000000" pitchFamily="2" charset="0"/>
              <a:ea typeface="Roboto" panose="02000000000000000000" pitchFamily="2" charset="0"/>
            </a:endParaRPr>
          </a:p>
        </p:txBody>
      </p:sp>
      <p:sp>
        <p:nvSpPr>
          <p:cNvPr id="61" name="TextBox 49">
            <a:extLst>
              <a:ext uri="{FF2B5EF4-FFF2-40B4-BE49-F238E27FC236}">
                <a16:creationId xmlns:a16="http://schemas.microsoft.com/office/drawing/2014/main" id="{4031C34D-5456-40F2-4128-E544AE471D2A}"/>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CA5DF416-BFC2-5F80-A8E0-94553F159375}"/>
              </a:ext>
            </a:extLst>
          </p:cNvPr>
          <p:cNvSpPr txBox="1"/>
          <p:nvPr/>
        </p:nvSpPr>
        <p:spPr>
          <a:xfrm>
            <a:off x="10179927" y="4985694"/>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solidFill>
                  <a:srgbClr val="0C0C0C"/>
                </a:solidFill>
                <a:latin typeface="Roboto" panose="02000000000000000000" pitchFamily="2" charset="0"/>
                <a:ea typeface="Roboto" panose="02000000000000000000" pitchFamily="2" charset="0"/>
              </a:rPr>
              <a:t>Saves thousands of staff hours by automating manual reviews, task creation, and appeal preparation..</a:t>
            </a:r>
          </a:p>
        </p:txBody>
      </p:sp>
      <p:sp>
        <p:nvSpPr>
          <p:cNvPr id="63" name="TextBox 55">
            <a:extLst>
              <a:ext uri="{FF2B5EF4-FFF2-40B4-BE49-F238E27FC236}">
                <a16:creationId xmlns:a16="http://schemas.microsoft.com/office/drawing/2014/main" id="{F19B5081-8DD5-3C27-4881-1FDF4CA9A4AA}"/>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B3365240-96A4-E391-8CC5-9D8D6F47BF25}"/>
              </a:ext>
            </a:extLst>
          </p:cNvPr>
          <p:cNvSpPr txBox="1"/>
          <p:nvPr/>
        </p:nvSpPr>
        <p:spPr>
          <a:xfrm>
            <a:off x="10154873" y="2979207"/>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panose="02000000000000000000" pitchFamily="2" charset="0"/>
                <a:ea typeface="Roboto" panose="02000000000000000000" pitchFamily="2" charset="0"/>
              </a:rPr>
              <a:t>Empowers leaders with negotiation data and accelerates downstream denial and appeals workflows.</a:t>
            </a:r>
            <a:endParaRPr lang="en-US" sz="1100">
              <a:solidFill>
                <a:srgbClr val="0C0C0C"/>
              </a:solidFill>
              <a:latin typeface="Roboto" panose="02000000000000000000" pitchFamily="2" charset="0"/>
              <a:ea typeface="Roboto" panose="02000000000000000000" pitchFamily="2" charset="0"/>
            </a:endParaRPr>
          </a:p>
        </p:txBody>
      </p:sp>
      <p:sp>
        <p:nvSpPr>
          <p:cNvPr id="65" name="Rectangle 64">
            <a:extLst>
              <a:ext uri="{FF2B5EF4-FFF2-40B4-BE49-F238E27FC236}">
                <a16:creationId xmlns:a16="http://schemas.microsoft.com/office/drawing/2014/main" id="{8EA54EB6-5555-D088-4C4D-6DA071A81831}"/>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169C7FC0-1C26-89BE-2D40-E97D8D24F774}"/>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A2126A19-C257-21AE-E26A-C77EA45ACA7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9351E3B0-94BB-C9EC-9148-E299964BAEB4}"/>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247A36BD-706A-3052-28D5-72D331F0BD11}"/>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sp>
        <p:nvSpPr>
          <p:cNvPr id="72" name="TextBox 4">
            <a:extLst>
              <a:ext uri="{FF2B5EF4-FFF2-40B4-BE49-F238E27FC236}">
                <a16:creationId xmlns:a16="http://schemas.microsoft.com/office/drawing/2014/main" id="{15E75856-735C-8833-1DFF-05280FB98841}"/>
              </a:ext>
            </a:extLst>
          </p:cNvPr>
          <p:cNvSpPr txBox="1"/>
          <p:nvPr/>
        </p:nvSpPr>
        <p:spPr>
          <a:xfrm>
            <a:off x="6621200"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Next-Best-Action Recommendation</a:t>
            </a:r>
          </a:p>
        </p:txBody>
      </p:sp>
      <p:sp>
        <p:nvSpPr>
          <p:cNvPr id="73" name="TextBox 8">
            <a:extLst>
              <a:ext uri="{FF2B5EF4-FFF2-40B4-BE49-F238E27FC236}">
                <a16:creationId xmlns:a16="http://schemas.microsoft.com/office/drawing/2014/main" id="{1EF501B6-C789-7975-8286-D431D2F74883}"/>
              </a:ext>
            </a:extLst>
          </p:cNvPr>
          <p:cNvSpPr txBox="1"/>
          <p:nvPr/>
        </p:nvSpPr>
        <p:spPr>
          <a:xfrm>
            <a:off x="6621201"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latin typeface="Roboto" panose="02000000000000000000" pitchFamily="2" charset="0"/>
                <a:ea typeface="Roboto" panose="02000000000000000000" pitchFamily="2" charset="0"/>
              </a:rPr>
              <a:t>Intelligently recommends the most effective next step for every issue.</a:t>
            </a:r>
          </a:p>
          <a:p>
            <a:pPr defTabSz="457200">
              <a:defRPr/>
            </a:pPr>
            <a:r>
              <a:rPr lang="en-US" sz="1050">
                <a:solidFill>
                  <a:srgbClr val="000000"/>
                </a:solidFill>
                <a:latin typeface="Roboto" panose="02000000000000000000" pitchFamily="2" charset="0"/>
                <a:ea typeface="Roboto" panose="02000000000000000000" pitchFamily="2" charset="0"/>
              </a:rPr>
              <a:t>Provides clear guidance, such as "Appeal," "Rebill," or "Write-off."</a:t>
            </a:r>
          </a:p>
        </p:txBody>
      </p:sp>
      <p:grpSp>
        <p:nvGrpSpPr>
          <p:cNvPr id="26" name="Group 25">
            <a:extLst>
              <a:ext uri="{FF2B5EF4-FFF2-40B4-BE49-F238E27FC236}">
                <a16:creationId xmlns:a16="http://schemas.microsoft.com/office/drawing/2014/main" id="{1347391E-1690-168A-36DE-14B3B281FBCB}"/>
              </a:ext>
            </a:extLst>
          </p:cNvPr>
          <p:cNvGrpSpPr/>
          <p:nvPr/>
        </p:nvGrpSpPr>
        <p:grpSpPr>
          <a:xfrm>
            <a:off x="2256658" y="3118756"/>
            <a:ext cx="365760" cy="365760"/>
            <a:chOff x="1706099" y="3570332"/>
            <a:chExt cx="365760" cy="365760"/>
          </a:xfrm>
        </p:grpSpPr>
        <p:sp>
          <p:nvSpPr>
            <p:cNvPr id="43" name="Oval 42">
              <a:extLst>
                <a:ext uri="{FF2B5EF4-FFF2-40B4-BE49-F238E27FC236}">
                  <a16:creationId xmlns:a16="http://schemas.microsoft.com/office/drawing/2014/main" id="{B3ECFF42-DBA3-5031-AAE6-ED63E5667D31}"/>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6" name="Graphic 44">
              <a:extLst>
                <a:ext uri="{FF2B5EF4-FFF2-40B4-BE49-F238E27FC236}">
                  <a16:creationId xmlns:a16="http://schemas.microsoft.com/office/drawing/2014/main" id="{22C11FC2-CB1B-EC2A-D031-EC1F1EF48109}"/>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28" name="Group 27">
            <a:extLst>
              <a:ext uri="{FF2B5EF4-FFF2-40B4-BE49-F238E27FC236}">
                <a16:creationId xmlns:a16="http://schemas.microsoft.com/office/drawing/2014/main" id="{A507C93A-B240-DF3E-B52A-CA7B2E561797}"/>
              </a:ext>
            </a:extLst>
          </p:cNvPr>
          <p:cNvGrpSpPr/>
          <p:nvPr/>
        </p:nvGrpSpPr>
        <p:grpSpPr>
          <a:xfrm>
            <a:off x="5530438" y="3720867"/>
            <a:ext cx="365760" cy="365760"/>
            <a:chOff x="5530438" y="3720867"/>
            <a:chExt cx="365760" cy="365760"/>
          </a:xfrm>
        </p:grpSpPr>
        <p:sp>
          <p:nvSpPr>
            <p:cNvPr id="77" name="Oval 76">
              <a:extLst>
                <a:ext uri="{FF2B5EF4-FFF2-40B4-BE49-F238E27FC236}">
                  <a16:creationId xmlns:a16="http://schemas.microsoft.com/office/drawing/2014/main" id="{03A49B23-3574-A6BA-700E-8C03BAC39731}"/>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658C061E-FFCC-5F4D-3F92-6E210148D047}"/>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grpSp>
      <p:grpSp>
        <p:nvGrpSpPr>
          <p:cNvPr id="27" name="Group 26">
            <a:extLst>
              <a:ext uri="{FF2B5EF4-FFF2-40B4-BE49-F238E27FC236}">
                <a16:creationId xmlns:a16="http://schemas.microsoft.com/office/drawing/2014/main" id="{084246C0-7001-FC95-7188-207441B52BDF}"/>
              </a:ext>
            </a:extLst>
          </p:cNvPr>
          <p:cNvGrpSpPr/>
          <p:nvPr/>
        </p:nvGrpSpPr>
        <p:grpSpPr>
          <a:xfrm>
            <a:off x="5392804" y="3126789"/>
            <a:ext cx="365760" cy="365760"/>
            <a:chOff x="2742870" y="3118756"/>
            <a:chExt cx="365760" cy="365760"/>
          </a:xfrm>
        </p:grpSpPr>
        <p:sp>
          <p:nvSpPr>
            <p:cNvPr id="80" name="Oval 79">
              <a:extLst>
                <a:ext uri="{FF2B5EF4-FFF2-40B4-BE49-F238E27FC236}">
                  <a16:creationId xmlns:a16="http://schemas.microsoft.com/office/drawing/2014/main" id="{FF449CBE-93AB-9505-16A4-AC83CCE14A93}"/>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1" name="Graphic 80">
              <a:extLst>
                <a:ext uri="{FF2B5EF4-FFF2-40B4-BE49-F238E27FC236}">
                  <a16:creationId xmlns:a16="http://schemas.microsoft.com/office/drawing/2014/main" id="{19B9966A-A315-9366-AEAF-12E74D680E90}"/>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spTree>
    <p:extLst>
      <p:ext uri="{BB962C8B-B14F-4D97-AF65-F5344CB8AC3E}">
        <p14:creationId xmlns:p14="http://schemas.microsoft.com/office/powerpoint/2010/main" val="2635571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E1CB6-C38E-0938-CDE9-7A63E14FEF1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56BB9EC-9026-3AD9-7648-F369BB598791}"/>
              </a:ext>
            </a:extLst>
          </p:cNvPr>
          <p:cNvSpPr/>
          <p:nvPr/>
        </p:nvSpPr>
        <p:spPr>
          <a:xfrm>
            <a:off x="8650657" y="0"/>
            <a:ext cx="1387754" cy="6858000"/>
          </a:xfrm>
          <a:prstGeom prst="rect">
            <a:avLst/>
          </a:prstGeom>
          <a:solidFill>
            <a:srgbClr val="002482"/>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4" name="Title 1">
            <a:extLst>
              <a:ext uri="{FF2B5EF4-FFF2-40B4-BE49-F238E27FC236}">
                <a16:creationId xmlns:a16="http://schemas.microsoft.com/office/drawing/2014/main" id="{D0CDEE3A-12F1-53E5-D03B-2AB563E333E2}"/>
              </a:ext>
            </a:extLst>
          </p:cNvPr>
          <p:cNvSpPr>
            <a:spLocks noGrp="1"/>
          </p:cNvSpPr>
          <p:nvPr/>
        </p:nvSpPr>
        <p:spPr>
          <a:xfrm>
            <a:off x="301073" y="-8449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FF0000"/>
                </a:solidFill>
              </a:rPr>
              <a:t>Cash Reconciliation &amp; Exception Resolution Agent</a:t>
            </a:r>
            <a:endParaRPr lang="en-US" sz="2800">
              <a:solidFill>
                <a:srgbClr val="FF0000"/>
              </a:solidFill>
            </a:endParaRPr>
          </a:p>
        </p:txBody>
      </p:sp>
      <p:sp>
        <p:nvSpPr>
          <p:cNvPr id="5" name="TextBox 2">
            <a:extLst>
              <a:ext uri="{FF2B5EF4-FFF2-40B4-BE49-F238E27FC236}">
                <a16:creationId xmlns:a16="http://schemas.microsoft.com/office/drawing/2014/main" id="{8D4D4469-68C6-8DB5-3F85-395CC11EBCC6}"/>
              </a:ext>
            </a:extLst>
          </p:cNvPr>
          <p:cNvSpPr txBox="1"/>
          <p:nvPr/>
        </p:nvSpPr>
        <p:spPr>
          <a:xfrm>
            <a:off x="311376" y="872128"/>
            <a:ext cx="2253326" cy="369236"/>
          </a:xfrm>
          <a:prstGeom prst="rect">
            <a:avLst/>
          </a:prstGeom>
          <a:noFill/>
        </p:spPr>
        <p:txBody>
          <a:bodyPr wrap="square" lIns="91416" tIns="91416" rIns="91416" bIns="91416"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Business Challenges</a:t>
            </a:r>
          </a:p>
        </p:txBody>
      </p:sp>
      <p:sp>
        <p:nvSpPr>
          <p:cNvPr id="6" name="TextBox 3">
            <a:extLst>
              <a:ext uri="{FF2B5EF4-FFF2-40B4-BE49-F238E27FC236}">
                <a16:creationId xmlns:a16="http://schemas.microsoft.com/office/drawing/2014/main" id="{4A98300D-802B-DFC9-B881-366AEE61CE9E}"/>
              </a:ext>
            </a:extLst>
          </p:cNvPr>
          <p:cNvSpPr txBox="1"/>
          <p:nvPr/>
        </p:nvSpPr>
        <p:spPr>
          <a:xfrm>
            <a:off x="2343411"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Intelligent Exception Triage</a:t>
            </a:r>
          </a:p>
        </p:txBody>
      </p:sp>
      <p:sp>
        <p:nvSpPr>
          <p:cNvPr id="7" name="TextBox 4">
            <a:extLst>
              <a:ext uri="{FF2B5EF4-FFF2-40B4-BE49-F238E27FC236}">
                <a16:creationId xmlns:a16="http://schemas.microsoft.com/office/drawing/2014/main" id="{96BC312E-6E6E-77C8-CC0B-77193723EF75}"/>
              </a:ext>
            </a:extLst>
          </p:cNvPr>
          <p:cNvSpPr txBox="1"/>
          <p:nvPr/>
        </p:nvSpPr>
        <p:spPr>
          <a:xfrm>
            <a:off x="4488393"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Systematic Underpayment Detection</a:t>
            </a:r>
          </a:p>
        </p:txBody>
      </p:sp>
      <p:sp>
        <p:nvSpPr>
          <p:cNvPr id="8" name="TextBox 5">
            <a:extLst>
              <a:ext uri="{FF2B5EF4-FFF2-40B4-BE49-F238E27FC236}">
                <a16:creationId xmlns:a16="http://schemas.microsoft.com/office/drawing/2014/main" id="{487259CA-75D5-A4EC-82E3-3F241AAD4A46}"/>
              </a:ext>
            </a:extLst>
          </p:cNvPr>
          <p:cNvSpPr txBox="1"/>
          <p:nvPr/>
        </p:nvSpPr>
        <p:spPr>
          <a:xfrm>
            <a:off x="2343413"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latin typeface="Roboto" panose="02000000000000000000" pitchFamily="2" charset="0"/>
                <a:ea typeface="Roboto" panose="02000000000000000000" pitchFamily="2" charset="0"/>
              </a:rPr>
              <a:t>Uses AI to automatically classify the root cause of every exception.</a:t>
            </a:r>
          </a:p>
          <a:p>
            <a:pPr defTabSz="457200">
              <a:defRPr/>
            </a:pPr>
            <a:r>
              <a:rPr lang="en-US" sz="1050">
                <a:solidFill>
                  <a:srgbClr val="000000"/>
                </a:solidFill>
                <a:latin typeface="Roboto" panose="02000000000000000000" pitchFamily="2" charset="0"/>
                <a:ea typeface="Roboto" panose="02000000000000000000" pitchFamily="2" charset="0"/>
              </a:rPr>
              <a:t>Prioritizes worklists by financial impact, ensuring staff work on high-value issues first.</a:t>
            </a:r>
          </a:p>
        </p:txBody>
      </p:sp>
      <p:sp>
        <p:nvSpPr>
          <p:cNvPr id="9" name="TextBox 6">
            <a:extLst>
              <a:ext uri="{FF2B5EF4-FFF2-40B4-BE49-F238E27FC236}">
                <a16:creationId xmlns:a16="http://schemas.microsoft.com/office/drawing/2014/main" id="{54C38480-AE0D-A1F8-A0DD-9A9946867F0E}"/>
              </a:ext>
            </a:extLst>
          </p:cNvPr>
          <p:cNvSpPr txBox="1"/>
          <p:nvPr/>
        </p:nvSpPr>
        <p:spPr>
          <a:xfrm>
            <a:off x="196135" y="4415953"/>
            <a:ext cx="1934767"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Automated Three-Way Matching</a:t>
            </a:r>
          </a:p>
        </p:txBody>
      </p:sp>
      <p:sp>
        <p:nvSpPr>
          <p:cNvPr id="10" name="TextBox 7">
            <a:extLst>
              <a:ext uri="{FF2B5EF4-FFF2-40B4-BE49-F238E27FC236}">
                <a16:creationId xmlns:a16="http://schemas.microsoft.com/office/drawing/2014/main" id="{37C08890-811D-4090-2550-11AE63A84134}"/>
              </a:ext>
            </a:extLst>
          </p:cNvPr>
          <p:cNvSpPr txBox="1"/>
          <p:nvPr/>
        </p:nvSpPr>
        <p:spPr>
          <a:xfrm>
            <a:off x="212117" y="4865262"/>
            <a:ext cx="1934767" cy="1779596"/>
          </a:xfrm>
          <a:prstGeom prst="rect">
            <a:avLst/>
          </a:prstGeom>
          <a:noFill/>
        </p:spPr>
        <p:txBody>
          <a:bodyPr wrap="square" lIns="91416" tIns="91416" rIns="91416" bIns="91416"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Wingdings" pitchFamily="2" charset="2"/>
              <a:buChar char="§"/>
              <a:defRPr/>
            </a:pPr>
            <a:r>
              <a:rPr lang="en-US" sz="1050">
                <a:solidFill>
                  <a:srgbClr val="000000"/>
                </a:solidFill>
                <a:latin typeface="Roboto" panose="02000000000000000000" pitchFamily="2" charset="0"/>
                <a:ea typeface="Roboto" panose="02000000000000000000" pitchFamily="2" charset="0"/>
                <a:cs typeface="Arial"/>
              </a:rPr>
              <a:t>Executes an intelligent three-way match between bank deposits, remittances, and billing system data.</a:t>
            </a:r>
          </a:p>
          <a:p>
            <a:pPr marL="171450" indent="-171450" defTabSz="457200">
              <a:spcBef>
                <a:spcPts val="300"/>
              </a:spcBef>
              <a:buFont typeface="Wingdings" pitchFamily="2" charset="2"/>
              <a:buChar char="§"/>
              <a:defRPr/>
            </a:pPr>
            <a:r>
              <a:rPr lang="en-US" sz="1050">
                <a:solidFill>
                  <a:srgbClr val="000000"/>
                </a:solidFill>
                <a:latin typeface="Roboto" panose="02000000000000000000" pitchFamily="2" charset="0"/>
                <a:ea typeface="Roboto" panose="02000000000000000000" pitchFamily="2" charset="0"/>
                <a:cs typeface="Arial"/>
              </a:rPr>
              <a:t>Automatically resolves common issues like timing differences and partial payments.</a:t>
            </a:r>
          </a:p>
        </p:txBody>
      </p:sp>
      <p:sp>
        <p:nvSpPr>
          <p:cNvPr id="11" name="TextBox 8">
            <a:extLst>
              <a:ext uri="{FF2B5EF4-FFF2-40B4-BE49-F238E27FC236}">
                <a16:creationId xmlns:a16="http://schemas.microsoft.com/office/drawing/2014/main" id="{D949D7B0-3A88-4134-F334-94D9E7C55D84}"/>
              </a:ext>
            </a:extLst>
          </p:cNvPr>
          <p:cNvSpPr txBox="1"/>
          <p:nvPr/>
        </p:nvSpPr>
        <p:spPr>
          <a:xfrm>
            <a:off x="4488394"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latin typeface="Roboto" panose="02000000000000000000" pitchFamily="2" charset="0"/>
                <a:ea typeface="Roboto" panose="02000000000000000000" pitchFamily="2" charset="0"/>
              </a:rPr>
              <a:t>Systematically identifies contract underpayments hidden within remittance files.</a:t>
            </a:r>
          </a:p>
          <a:p>
            <a:pPr defTabSz="457200">
              <a:defRPr/>
            </a:pPr>
            <a:r>
              <a:rPr lang="en-US" sz="1050">
                <a:solidFill>
                  <a:srgbClr val="000000"/>
                </a:solidFill>
                <a:latin typeface="Roboto" panose="02000000000000000000" pitchFamily="2" charset="0"/>
                <a:ea typeface="Roboto" panose="02000000000000000000" pitchFamily="2" charset="0"/>
              </a:rPr>
              <a:t>Flags hidden recoupments and payer errors that would otherwise be missed.</a:t>
            </a:r>
          </a:p>
        </p:txBody>
      </p:sp>
      <p:cxnSp>
        <p:nvCxnSpPr>
          <p:cNvPr id="12" name="Straight Connector 11">
            <a:extLst>
              <a:ext uri="{FF2B5EF4-FFF2-40B4-BE49-F238E27FC236}">
                <a16:creationId xmlns:a16="http://schemas.microsoft.com/office/drawing/2014/main" id="{CC679DFB-38C0-4DF5-ECC3-6AC6C1665B42}"/>
              </a:ext>
            </a:extLst>
          </p:cNvPr>
          <p:cNvCxnSpPr>
            <a:cxnSpLocks/>
          </p:cNvCxnSpPr>
          <p:nvPr/>
        </p:nvCxnSpPr>
        <p:spPr>
          <a:xfrm>
            <a:off x="273055" y="4243752"/>
            <a:ext cx="8059741" cy="0"/>
          </a:xfrm>
          <a:prstGeom prst="line">
            <a:avLst/>
          </a:prstGeom>
          <a:noFill/>
          <a:ln w="19050" cap="flat" cmpd="sng" algn="ctr">
            <a:solidFill>
              <a:schemeClr val="accent5"/>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3090CC3F-1859-9C80-0182-DEC2E7607A5D}"/>
              </a:ext>
            </a:extLst>
          </p:cNvPr>
          <p:cNvCxnSpPr>
            <a:cxnSpLocks/>
          </p:cNvCxnSpPr>
          <p:nvPr/>
        </p:nvCxnSpPr>
        <p:spPr>
          <a:xfrm>
            <a:off x="273055" y="2203718"/>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4" name="TextBox 11">
            <a:extLst>
              <a:ext uri="{FF2B5EF4-FFF2-40B4-BE49-F238E27FC236}">
                <a16:creationId xmlns:a16="http://schemas.microsoft.com/office/drawing/2014/main" id="{BA486560-8102-B950-A11C-E96173FAD6EB}"/>
              </a:ext>
            </a:extLst>
          </p:cNvPr>
          <p:cNvSpPr txBox="1"/>
          <p:nvPr/>
        </p:nvSpPr>
        <p:spPr>
          <a:xfrm>
            <a:off x="463996" y="2117451"/>
            <a:ext cx="1387754" cy="184666"/>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1200" b="1">
                <a:solidFill>
                  <a:srgbClr val="1244C6"/>
                </a:solidFill>
                <a:latin typeface="Roboto" panose="02000000000000000000" pitchFamily="2" charset="0"/>
                <a:ea typeface="Roboto" panose="02000000000000000000" pitchFamily="2" charset="0"/>
                <a:cs typeface="Arial"/>
              </a:rPr>
              <a:t>Process Workflow</a:t>
            </a:r>
          </a:p>
        </p:txBody>
      </p:sp>
      <p:cxnSp>
        <p:nvCxnSpPr>
          <p:cNvPr id="15" name="Straight Connector 14">
            <a:extLst>
              <a:ext uri="{FF2B5EF4-FFF2-40B4-BE49-F238E27FC236}">
                <a16:creationId xmlns:a16="http://schemas.microsoft.com/office/drawing/2014/main" id="{D73A0793-C770-A142-CBDA-90914C86A70C}"/>
              </a:ext>
            </a:extLst>
          </p:cNvPr>
          <p:cNvCxnSpPr>
            <a:cxnSpLocks/>
          </p:cNvCxnSpPr>
          <p:nvPr/>
        </p:nvCxnSpPr>
        <p:spPr>
          <a:xfrm>
            <a:off x="273055" y="4243752"/>
            <a:ext cx="8059741" cy="0"/>
          </a:xfrm>
          <a:prstGeom prst="line">
            <a:avLst/>
          </a:prstGeom>
          <a:noFill/>
          <a:ln w="19050" cap="flat" cmpd="sng" algn="ctr">
            <a:solidFill>
              <a:srgbClr val="CAD9FE"/>
            </a:solidFill>
            <a:prstDash val="solid"/>
            <a:round/>
            <a:headEnd type="none" w="med" len="med"/>
            <a:tailEnd type="none" w="med" len="med"/>
          </a:ln>
          <a:effectLst/>
        </p:spPr>
      </p:cxnSp>
      <p:sp>
        <p:nvSpPr>
          <p:cNvPr id="16" name="AutoShape 7">
            <a:extLst>
              <a:ext uri="{FF2B5EF4-FFF2-40B4-BE49-F238E27FC236}">
                <a16:creationId xmlns:a16="http://schemas.microsoft.com/office/drawing/2014/main" id="{376503BB-EB71-C328-0015-342CE608BAF3}"/>
              </a:ext>
            </a:extLst>
          </p:cNvPr>
          <p:cNvSpPr>
            <a:spLocks noChangeArrowheads="1"/>
          </p:cNvSpPr>
          <p:nvPr/>
        </p:nvSpPr>
        <p:spPr bwMode="gray">
          <a:xfrm>
            <a:off x="4648717" y="2592994"/>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800" kern="0">
                <a:solidFill>
                  <a:srgbClr val="FFFFFF"/>
                </a:solidFill>
                <a:latin typeface="Roboto" panose="02000000000000000000" pitchFamily="2" charset="0"/>
                <a:ea typeface="Roboto" panose="02000000000000000000" pitchFamily="2" charset="0"/>
                <a:cs typeface="Arial" charset="0"/>
              </a:rPr>
              <a:t>Balance &amp; Audit daily cash totals.</a:t>
            </a:r>
          </a:p>
        </p:txBody>
      </p:sp>
      <p:sp>
        <p:nvSpPr>
          <p:cNvPr id="17" name="AutoShape 8">
            <a:extLst>
              <a:ext uri="{FF2B5EF4-FFF2-40B4-BE49-F238E27FC236}">
                <a16:creationId xmlns:a16="http://schemas.microsoft.com/office/drawing/2014/main" id="{17F4457C-FFB9-AE52-F338-7E1934F32862}"/>
              </a:ext>
            </a:extLst>
          </p:cNvPr>
          <p:cNvSpPr>
            <a:spLocks noChangeArrowheads="1"/>
          </p:cNvSpPr>
          <p:nvPr/>
        </p:nvSpPr>
        <p:spPr bwMode="gray">
          <a:xfrm>
            <a:off x="3477602" y="2592994"/>
            <a:ext cx="1188720" cy="455518"/>
          </a:xfrm>
          <a:prstGeom prst="chevron">
            <a:avLst>
              <a:gd name="adj" fmla="val 28204"/>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800" kern="0">
                <a:solidFill>
                  <a:srgbClr val="FFFFFF"/>
                </a:solidFill>
                <a:latin typeface="Roboto" panose="02000000000000000000" pitchFamily="2" charset="0"/>
                <a:ea typeface="Roboto" panose="02000000000000000000" pitchFamily="2" charset="0"/>
              </a:rPr>
              <a:t>Triage &amp; Resolve all exceptions by financial impact.</a:t>
            </a:r>
          </a:p>
        </p:txBody>
      </p:sp>
      <p:sp>
        <p:nvSpPr>
          <p:cNvPr id="18" name="AutoShape 9">
            <a:extLst>
              <a:ext uri="{FF2B5EF4-FFF2-40B4-BE49-F238E27FC236}">
                <a16:creationId xmlns:a16="http://schemas.microsoft.com/office/drawing/2014/main" id="{51C94378-3DF8-532C-2256-F47B6203F01F}"/>
              </a:ext>
            </a:extLst>
          </p:cNvPr>
          <p:cNvSpPr>
            <a:spLocks noChangeArrowheads="1"/>
          </p:cNvSpPr>
          <p:nvPr/>
        </p:nvSpPr>
        <p:spPr bwMode="gray">
          <a:xfrm>
            <a:off x="2306487"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defRPr/>
            </a:pPr>
            <a:r>
              <a:rPr lang="en-US" sz="800" kern="0">
                <a:solidFill>
                  <a:srgbClr val="FFFFFF"/>
                </a:solidFill>
                <a:latin typeface="Roboto" panose="02000000000000000000" pitchFamily="2" charset="0"/>
                <a:ea typeface="Roboto" panose="02000000000000000000" pitchFamily="2" charset="0"/>
              </a:rPr>
              <a:t>Match &amp; Auto-Post all clean transactions.</a:t>
            </a:r>
          </a:p>
        </p:txBody>
      </p:sp>
      <p:sp>
        <p:nvSpPr>
          <p:cNvPr id="19" name="AutoShape 9">
            <a:extLst>
              <a:ext uri="{FF2B5EF4-FFF2-40B4-BE49-F238E27FC236}">
                <a16:creationId xmlns:a16="http://schemas.microsoft.com/office/drawing/2014/main" id="{2818EB61-52E6-EE69-71A9-2735AB7659FE}"/>
              </a:ext>
            </a:extLst>
          </p:cNvPr>
          <p:cNvSpPr>
            <a:spLocks noChangeArrowheads="1"/>
          </p:cNvSpPr>
          <p:nvPr/>
        </p:nvSpPr>
        <p:spPr bwMode="gray">
          <a:xfrm>
            <a:off x="1135372" y="2592994"/>
            <a:ext cx="1188720" cy="455518"/>
          </a:xfrm>
          <a:prstGeom prst="chevron">
            <a:avLst>
              <a:gd name="adj" fmla="val 28910"/>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3791">
              <a:spcBef>
                <a:spcPct val="0"/>
              </a:spcBef>
            </a:pPr>
            <a:r>
              <a:rPr lang="en-US" sz="800" kern="0">
                <a:solidFill>
                  <a:srgbClr val="FFFFFF"/>
                </a:solidFill>
                <a:latin typeface="Roboto" panose="02000000000000000000" pitchFamily="2" charset="0"/>
                <a:ea typeface="Roboto" panose="02000000000000000000" pitchFamily="2" charset="0"/>
              </a:rPr>
              <a:t>Ingest &amp; Normalize all payment and remittance data</a:t>
            </a:r>
          </a:p>
        </p:txBody>
      </p:sp>
      <p:sp>
        <p:nvSpPr>
          <p:cNvPr id="20" name="TextBox 17">
            <a:extLst>
              <a:ext uri="{FF2B5EF4-FFF2-40B4-BE49-F238E27FC236}">
                <a16:creationId xmlns:a16="http://schemas.microsoft.com/office/drawing/2014/main" id="{C041F479-0EF1-ED26-E10D-D6163E051AA1}"/>
              </a:ext>
            </a:extLst>
          </p:cNvPr>
          <p:cNvSpPr txBox="1"/>
          <p:nvPr/>
        </p:nvSpPr>
        <p:spPr>
          <a:xfrm>
            <a:off x="5466490" y="3453501"/>
            <a:ext cx="3096146" cy="24622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00" b="1">
                <a:solidFill>
                  <a:srgbClr val="000000"/>
                </a:solidFill>
                <a:latin typeface="Roboto" panose="02000000000000000000" pitchFamily="2" charset="0"/>
                <a:ea typeface="Roboto" panose="02000000000000000000" pitchFamily="2" charset="0"/>
              </a:rPr>
              <a:t>Technology Platforms: </a:t>
            </a:r>
            <a:r>
              <a:rPr lang="en-US" sz="1000">
                <a:solidFill>
                  <a:srgbClr val="000000"/>
                </a:solidFill>
                <a:latin typeface="Roboto" panose="02000000000000000000" pitchFamily="2" charset="0"/>
                <a:ea typeface="Roboto" panose="02000000000000000000" pitchFamily="2" charset="0"/>
              </a:rPr>
              <a:t>Any EHR Platform</a:t>
            </a:r>
          </a:p>
        </p:txBody>
      </p:sp>
      <p:sp>
        <p:nvSpPr>
          <p:cNvPr id="22" name="TextBox 19">
            <a:extLst>
              <a:ext uri="{FF2B5EF4-FFF2-40B4-BE49-F238E27FC236}">
                <a16:creationId xmlns:a16="http://schemas.microsoft.com/office/drawing/2014/main" id="{FED27C27-74EF-0CCC-347F-0F7B7393DA08}"/>
              </a:ext>
            </a:extLst>
          </p:cNvPr>
          <p:cNvSpPr txBox="1"/>
          <p:nvPr/>
        </p:nvSpPr>
        <p:spPr>
          <a:xfrm>
            <a:off x="396259" y="4152875"/>
            <a:ext cx="2420673" cy="184618"/>
          </a:xfrm>
          <a:prstGeom prst="rect">
            <a:avLst/>
          </a:prstGeom>
          <a:solidFill>
            <a:schemeClr val="bg1"/>
          </a:solidFill>
        </p:spPr>
        <p:txBody>
          <a:bodyPr wrap="square" lIns="45708" tIns="0" rIns="45708"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r>
              <a:rPr lang="en-US" sz="1200" b="1">
                <a:solidFill>
                  <a:srgbClr val="1244C6"/>
                </a:solidFill>
                <a:latin typeface="Roboto" panose="02000000000000000000" pitchFamily="2" charset="0"/>
                <a:ea typeface="Roboto" panose="02000000000000000000" pitchFamily="2" charset="0"/>
                <a:cs typeface="Arial"/>
              </a:rPr>
              <a:t>Key Automation Opportunities</a:t>
            </a:r>
          </a:p>
        </p:txBody>
      </p:sp>
      <p:sp>
        <p:nvSpPr>
          <p:cNvPr id="23" name="Rectangle 22">
            <a:extLst>
              <a:ext uri="{FF2B5EF4-FFF2-40B4-BE49-F238E27FC236}">
                <a16:creationId xmlns:a16="http://schemas.microsoft.com/office/drawing/2014/main" id="{170AFB22-7A7F-4830-D336-C9B728A04106}"/>
              </a:ext>
            </a:extLst>
          </p:cNvPr>
          <p:cNvSpPr/>
          <p:nvPr/>
        </p:nvSpPr>
        <p:spPr>
          <a:xfrm>
            <a:off x="8741294" y="917664"/>
            <a:ext cx="1206481"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Up to 80%</a:t>
            </a:r>
          </a:p>
          <a:p>
            <a:pPr algn="ctr" defTabSz="457200">
              <a:defRPr/>
            </a:pPr>
            <a:r>
              <a:rPr lang="en-US" sz="1200">
                <a:solidFill>
                  <a:srgbClr val="FFFFFF"/>
                </a:solidFill>
                <a:latin typeface="Roboto" panose="02000000000000000000" pitchFamily="2" charset="0"/>
                <a:ea typeface="Roboto" panose="02000000000000000000" pitchFamily="2" charset="0"/>
                <a:cs typeface="Arial"/>
              </a:rPr>
              <a:t>Reduction in manual reconciliation effort</a:t>
            </a:r>
          </a:p>
        </p:txBody>
      </p:sp>
      <p:sp>
        <p:nvSpPr>
          <p:cNvPr id="24" name="Rectangle 23">
            <a:extLst>
              <a:ext uri="{FF2B5EF4-FFF2-40B4-BE49-F238E27FC236}">
                <a16:creationId xmlns:a16="http://schemas.microsoft.com/office/drawing/2014/main" id="{D268451A-EB52-135B-2A5C-F2A9C2F672A9}"/>
              </a:ext>
            </a:extLst>
          </p:cNvPr>
          <p:cNvSpPr/>
          <p:nvPr/>
        </p:nvSpPr>
        <p:spPr>
          <a:xfrm>
            <a:off x="8665432" y="4682665"/>
            <a:ext cx="1339950"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Proactive</a:t>
            </a:r>
          </a:p>
          <a:p>
            <a:pPr algn="ctr" defTabSz="457200">
              <a:defRPr/>
            </a:pPr>
            <a:r>
              <a:rPr lang="en-US" sz="1200">
                <a:solidFill>
                  <a:srgbClr val="FFFFFF"/>
                </a:solidFill>
                <a:latin typeface="Roboto" panose="02000000000000000000" pitchFamily="2" charset="0"/>
                <a:ea typeface="Roboto" panose="02000000000000000000" pitchFamily="2" charset="0"/>
                <a:cs typeface="Arial"/>
              </a:rPr>
              <a:t>Exception prevention</a:t>
            </a:r>
          </a:p>
        </p:txBody>
      </p:sp>
      <p:sp>
        <p:nvSpPr>
          <p:cNvPr id="32" name="TextBox 33">
            <a:extLst>
              <a:ext uri="{FF2B5EF4-FFF2-40B4-BE49-F238E27FC236}">
                <a16:creationId xmlns:a16="http://schemas.microsoft.com/office/drawing/2014/main" id="{47C839DE-B1EA-B0A1-A3B6-BE1A583955EC}"/>
              </a:ext>
            </a:extLst>
          </p:cNvPr>
          <p:cNvSpPr txBox="1"/>
          <p:nvPr/>
        </p:nvSpPr>
        <p:spPr>
          <a:xfrm>
            <a:off x="331733" y="1199212"/>
            <a:ext cx="8357518" cy="946389"/>
          </a:xfrm>
          <a:prstGeom prst="rect">
            <a:avLst/>
          </a:prstGeom>
          <a:noFill/>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457200">
              <a:spcBef>
                <a:spcPts val="300"/>
              </a:spcBef>
              <a:buFont typeface="Arial" panose="020B0604020202020204" pitchFamily="34" charset="0"/>
              <a:buChar char="•"/>
              <a:defRPr/>
            </a:pPr>
            <a:r>
              <a:rPr lang="en-US" sz="1200" b="1" kern="0">
                <a:solidFill>
                  <a:srgbClr val="000000"/>
                </a:solidFill>
                <a:latin typeface="Roboto" panose="02000000000000000000" pitchFamily="2" charset="0"/>
                <a:ea typeface="Roboto" panose="02000000000000000000" pitchFamily="2" charset="0"/>
              </a:rPr>
              <a:t>Excessive Manual Effort: </a:t>
            </a:r>
            <a:r>
              <a:rPr lang="en-US" sz="1200" kern="0">
                <a:solidFill>
                  <a:srgbClr val="000000"/>
                </a:solidFill>
                <a:latin typeface="Roboto" panose="02000000000000000000" pitchFamily="2" charset="0"/>
                <a:ea typeface="Roboto" panose="02000000000000000000" pitchFamily="2" charset="0"/>
              </a:rPr>
              <a:t>Staff are buried in low-value, manual work reconciling fragmented payment and remittance data.</a:t>
            </a:r>
          </a:p>
          <a:p>
            <a:pPr marL="171450" indent="-171450" defTabSz="457200">
              <a:spcBef>
                <a:spcPts val="300"/>
              </a:spcBef>
              <a:buFont typeface="Arial" panose="020B0604020202020204" pitchFamily="34" charset="0"/>
              <a:buChar char="•"/>
              <a:defRPr/>
            </a:pPr>
            <a:r>
              <a:rPr lang="en-US" sz="1200" b="1" kern="0">
                <a:solidFill>
                  <a:srgbClr val="000000"/>
                </a:solidFill>
                <a:latin typeface="Roboto" panose="02000000000000000000" pitchFamily="2" charset="0"/>
                <a:ea typeface="Roboto" panose="02000000000000000000" pitchFamily="2" charset="0"/>
              </a:rPr>
              <a:t>Unmanageable Backlogs: </a:t>
            </a:r>
            <a:r>
              <a:rPr lang="en-US" sz="1200" kern="0">
                <a:solidFill>
                  <a:srgbClr val="000000"/>
                </a:solidFill>
                <a:latin typeface="Roboto" panose="02000000000000000000" pitchFamily="2" charset="0"/>
                <a:ea typeface="Roboto" panose="02000000000000000000" pitchFamily="2" charset="0"/>
              </a:rPr>
              <a:t>A high volume of exceptions (partials, timing differences) overwhelms staff and creates resolution delays.</a:t>
            </a:r>
          </a:p>
          <a:p>
            <a:pPr defTabSz="457200">
              <a:spcBef>
                <a:spcPts val="300"/>
              </a:spcBef>
              <a:defRPr/>
            </a:pPr>
            <a:endParaRPr lang="en-US" sz="1200" kern="0">
              <a:solidFill>
                <a:srgbClr val="000000"/>
              </a:solidFill>
              <a:latin typeface="Roboto" panose="02000000000000000000" pitchFamily="2" charset="0"/>
              <a:ea typeface="Roboto" panose="02000000000000000000" pitchFamily="2" charset="0"/>
            </a:endParaRPr>
          </a:p>
        </p:txBody>
      </p:sp>
      <p:sp>
        <p:nvSpPr>
          <p:cNvPr id="33" name="Rectangle 32">
            <a:extLst>
              <a:ext uri="{FF2B5EF4-FFF2-40B4-BE49-F238E27FC236}">
                <a16:creationId xmlns:a16="http://schemas.microsoft.com/office/drawing/2014/main" id="{1F99AAAE-3BA6-EAD1-7720-822BF38CB8ED}"/>
              </a:ext>
            </a:extLst>
          </p:cNvPr>
          <p:cNvSpPr/>
          <p:nvPr/>
        </p:nvSpPr>
        <p:spPr>
          <a:xfrm>
            <a:off x="8729073" y="2673631"/>
            <a:ext cx="1230923" cy="1206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91416"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r>
              <a:rPr lang="en-US" sz="2000" b="1">
                <a:solidFill>
                  <a:srgbClr val="FFFFFF"/>
                </a:solidFill>
                <a:latin typeface="Roboto" panose="02000000000000000000" pitchFamily="2" charset="0"/>
                <a:ea typeface="Roboto" panose="02000000000000000000" pitchFamily="2" charset="0"/>
                <a:cs typeface="Arial"/>
              </a:rPr>
              <a:t>9-Day</a:t>
            </a:r>
            <a:br>
              <a:rPr lang="en-US" sz="2000" b="1">
                <a:solidFill>
                  <a:srgbClr val="FFFFFF"/>
                </a:solidFill>
                <a:latin typeface="Roboto" panose="02000000000000000000" pitchFamily="2" charset="0"/>
                <a:ea typeface="Roboto" panose="02000000000000000000" pitchFamily="2" charset="0"/>
                <a:cs typeface="Arial"/>
              </a:rPr>
            </a:br>
            <a:r>
              <a:rPr lang="en-US" sz="1400" b="1">
                <a:solidFill>
                  <a:srgbClr val="FFFFFF"/>
                </a:solidFill>
                <a:latin typeface="Roboto" panose="02000000000000000000" pitchFamily="2" charset="0"/>
                <a:ea typeface="Roboto" panose="02000000000000000000" pitchFamily="2" charset="0"/>
                <a:cs typeface="Arial"/>
              </a:rPr>
              <a:t> </a:t>
            </a:r>
            <a:r>
              <a:rPr lang="en-US" sz="1200">
                <a:solidFill>
                  <a:srgbClr val="FFFFFF"/>
                </a:solidFill>
                <a:latin typeface="Roboto" panose="02000000000000000000" pitchFamily="2" charset="0"/>
                <a:ea typeface="Roboto" panose="02000000000000000000" pitchFamily="2" charset="0"/>
                <a:cs typeface="Arial"/>
              </a:rPr>
              <a:t>Reduction in reconciliation cycle time</a:t>
            </a:r>
            <a:endParaRPr lang="en-US" sz="1000">
              <a:solidFill>
                <a:srgbClr val="FFFFFF"/>
              </a:solidFill>
              <a:latin typeface="Roboto" panose="02000000000000000000" pitchFamily="2" charset="0"/>
              <a:ea typeface="Roboto" panose="02000000000000000000" pitchFamily="2" charset="0"/>
              <a:cs typeface="Arial"/>
            </a:endParaRPr>
          </a:p>
        </p:txBody>
      </p:sp>
      <p:sp>
        <p:nvSpPr>
          <p:cNvPr id="34" name="TextBox 37">
            <a:extLst>
              <a:ext uri="{FF2B5EF4-FFF2-40B4-BE49-F238E27FC236}">
                <a16:creationId xmlns:a16="http://schemas.microsoft.com/office/drawing/2014/main" id="{738B1A91-AA2B-C2DA-E95A-DB6231CA1792}"/>
              </a:ext>
            </a:extLst>
          </p:cNvPr>
          <p:cNvSpPr txBox="1"/>
          <p:nvPr/>
        </p:nvSpPr>
        <p:spPr>
          <a:xfrm>
            <a:off x="5971425" y="3778748"/>
            <a:ext cx="604653" cy="32316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Robotic Process Automation</a:t>
            </a:r>
          </a:p>
        </p:txBody>
      </p:sp>
      <p:sp>
        <p:nvSpPr>
          <p:cNvPr id="35" name="TextBox 38">
            <a:extLst>
              <a:ext uri="{FF2B5EF4-FFF2-40B4-BE49-F238E27FC236}">
                <a16:creationId xmlns:a16="http://schemas.microsoft.com/office/drawing/2014/main" id="{9A123352-4868-719A-CCA3-F9EE0CCDD0D8}"/>
              </a:ext>
            </a:extLst>
          </p:cNvPr>
          <p:cNvSpPr txBox="1"/>
          <p:nvPr/>
        </p:nvSpPr>
        <p:spPr>
          <a:xfrm>
            <a:off x="7795786" y="3778748"/>
            <a:ext cx="492914"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Agent </a:t>
            </a:r>
          </a:p>
          <a:p>
            <a:pPr defTabSz="457063">
              <a:defRPr/>
            </a:pPr>
            <a:r>
              <a:rPr lang="en-US" sz="700">
                <a:solidFill>
                  <a:srgbClr val="000000"/>
                </a:solidFill>
                <a:latin typeface="Roboto" panose="02000000000000000000" pitchFamily="2" charset="0"/>
                <a:ea typeface="Roboto" panose="02000000000000000000" pitchFamily="2" charset="0"/>
                <a:cs typeface="Arial"/>
              </a:rPr>
              <a:t>Candidate</a:t>
            </a:r>
          </a:p>
        </p:txBody>
      </p:sp>
      <p:sp>
        <p:nvSpPr>
          <p:cNvPr id="36" name="TextBox 39">
            <a:extLst>
              <a:ext uri="{FF2B5EF4-FFF2-40B4-BE49-F238E27FC236}">
                <a16:creationId xmlns:a16="http://schemas.microsoft.com/office/drawing/2014/main" id="{05EDB390-EED1-6AB1-7DA4-7F6A9139A21C}"/>
              </a:ext>
            </a:extLst>
          </p:cNvPr>
          <p:cNvSpPr txBox="1"/>
          <p:nvPr/>
        </p:nvSpPr>
        <p:spPr>
          <a:xfrm>
            <a:off x="6897199" y="3778748"/>
            <a:ext cx="571628"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Employee Supervision</a:t>
            </a:r>
          </a:p>
        </p:txBody>
      </p:sp>
      <p:grpSp>
        <p:nvGrpSpPr>
          <p:cNvPr id="30" name="Group 29">
            <a:extLst>
              <a:ext uri="{FF2B5EF4-FFF2-40B4-BE49-F238E27FC236}">
                <a16:creationId xmlns:a16="http://schemas.microsoft.com/office/drawing/2014/main" id="{0D00D1B0-BA51-2A69-1C90-BB4A4CDC8C0D}"/>
              </a:ext>
            </a:extLst>
          </p:cNvPr>
          <p:cNvGrpSpPr/>
          <p:nvPr/>
        </p:nvGrpSpPr>
        <p:grpSpPr>
          <a:xfrm>
            <a:off x="6467482" y="3711433"/>
            <a:ext cx="365760" cy="365760"/>
            <a:chOff x="6467482" y="3711433"/>
            <a:chExt cx="365760" cy="365760"/>
          </a:xfrm>
        </p:grpSpPr>
        <p:sp>
          <p:nvSpPr>
            <p:cNvPr id="37" name="Oval 36">
              <a:extLst>
                <a:ext uri="{FF2B5EF4-FFF2-40B4-BE49-F238E27FC236}">
                  <a16:creationId xmlns:a16="http://schemas.microsoft.com/office/drawing/2014/main" id="{7F986AED-8F7A-1D6E-E54C-474C58134056}"/>
                </a:ext>
              </a:extLst>
            </p:cNvPr>
            <p:cNvSpPr>
              <a:spLocks noChangeAspect="1"/>
            </p:cNvSpPr>
            <p:nvPr/>
          </p:nvSpPr>
          <p:spPr>
            <a:xfrm>
              <a:off x="6467482" y="3711433"/>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38" name="Graphic 37">
              <a:extLst>
                <a:ext uri="{FF2B5EF4-FFF2-40B4-BE49-F238E27FC236}">
                  <a16:creationId xmlns:a16="http://schemas.microsoft.com/office/drawing/2014/main" id="{F651682A-7F58-E121-A03C-0BCEFE0C482C}"/>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6513202" y="3757153"/>
              <a:ext cx="274320" cy="274320"/>
            </a:xfrm>
            <a:prstGeom prst="rect">
              <a:avLst/>
            </a:prstGeom>
          </p:spPr>
        </p:pic>
      </p:grpSp>
      <p:grpSp>
        <p:nvGrpSpPr>
          <p:cNvPr id="29" name="Group 28">
            <a:extLst>
              <a:ext uri="{FF2B5EF4-FFF2-40B4-BE49-F238E27FC236}">
                <a16:creationId xmlns:a16="http://schemas.microsoft.com/office/drawing/2014/main" id="{35C7D07B-9761-870F-711A-5CC57978D8E6}"/>
              </a:ext>
            </a:extLst>
          </p:cNvPr>
          <p:cNvGrpSpPr/>
          <p:nvPr/>
        </p:nvGrpSpPr>
        <p:grpSpPr>
          <a:xfrm>
            <a:off x="7376596" y="3713632"/>
            <a:ext cx="365760" cy="365760"/>
            <a:chOff x="7376596" y="3713632"/>
            <a:chExt cx="365760" cy="365760"/>
          </a:xfrm>
        </p:grpSpPr>
        <p:sp>
          <p:nvSpPr>
            <p:cNvPr id="39" name="Oval 38">
              <a:extLst>
                <a:ext uri="{FF2B5EF4-FFF2-40B4-BE49-F238E27FC236}">
                  <a16:creationId xmlns:a16="http://schemas.microsoft.com/office/drawing/2014/main" id="{A507F56B-535D-14B0-0801-86B4594413D1}"/>
                </a:ext>
              </a:extLst>
            </p:cNvPr>
            <p:cNvSpPr>
              <a:spLocks noChangeAspect="1"/>
            </p:cNvSpPr>
            <p:nvPr/>
          </p:nvSpPr>
          <p:spPr>
            <a:xfrm>
              <a:off x="7376596" y="37136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40" name="Graphic 39">
              <a:extLst>
                <a:ext uri="{FF2B5EF4-FFF2-40B4-BE49-F238E27FC236}">
                  <a16:creationId xmlns:a16="http://schemas.microsoft.com/office/drawing/2014/main" id="{5C09EB9A-AABA-423B-4BA0-383FA6C67CC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422316" y="3747111"/>
              <a:ext cx="274320" cy="274320"/>
            </a:xfrm>
            <a:prstGeom prst="rect">
              <a:avLst/>
            </a:prstGeom>
          </p:spPr>
        </p:pic>
      </p:grpSp>
      <p:grpSp>
        <p:nvGrpSpPr>
          <p:cNvPr id="21" name="Group 20">
            <a:extLst>
              <a:ext uri="{FF2B5EF4-FFF2-40B4-BE49-F238E27FC236}">
                <a16:creationId xmlns:a16="http://schemas.microsoft.com/office/drawing/2014/main" id="{C5E4395E-9120-DD80-8FA9-07F14E50BFFA}"/>
              </a:ext>
            </a:extLst>
          </p:cNvPr>
          <p:cNvGrpSpPr/>
          <p:nvPr/>
        </p:nvGrpSpPr>
        <p:grpSpPr>
          <a:xfrm>
            <a:off x="2276377" y="3108334"/>
            <a:ext cx="365760" cy="365760"/>
            <a:chOff x="2303163" y="3115192"/>
            <a:chExt cx="365760" cy="365760"/>
          </a:xfrm>
        </p:grpSpPr>
        <p:sp>
          <p:nvSpPr>
            <p:cNvPr id="47" name="Oval 46">
              <a:extLst>
                <a:ext uri="{FF2B5EF4-FFF2-40B4-BE49-F238E27FC236}">
                  <a16:creationId xmlns:a16="http://schemas.microsoft.com/office/drawing/2014/main" id="{09D3FDF7-9350-DEAC-89F0-5808F1174AEC}"/>
                </a:ext>
              </a:extLst>
            </p:cNvPr>
            <p:cNvSpPr>
              <a:spLocks noChangeAspect="1"/>
            </p:cNvSpPr>
            <p:nvPr/>
          </p:nvSpPr>
          <p:spPr>
            <a:xfrm>
              <a:off x="2303163" y="311519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8" name="Graphic 47">
              <a:extLst>
                <a:ext uri="{FF2B5EF4-FFF2-40B4-BE49-F238E27FC236}">
                  <a16:creationId xmlns:a16="http://schemas.microsoft.com/office/drawing/2014/main" id="{4FDB8315-D7B5-476C-327D-9B2A9C72DF5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48883" y="3160912"/>
              <a:ext cx="274320" cy="274320"/>
            </a:xfrm>
            <a:prstGeom prst="rect">
              <a:avLst/>
            </a:prstGeom>
          </p:spPr>
        </p:pic>
      </p:grpSp>
      <p:sp>
        <p:nvSpPr>
          <p:cNvPr id="49" name="Oval 48">
            <a:extLst>
              <a:ext uri="{FF2B5EF4-FFF2-40B4-BE49-F238E27FC236}">
                <a16:creationId xmlns:a16="http://schemas.microsoft.com/office/drawing/2014/main" id="{0C5BFCDD-2DC9-C256-D94E-3DB54059DF13}"/>
              </a:ext>
            </a:extLst>
          </p:cNvPr>
          <p:cNvSpPr>
            <a:spLocks noChangeAspect="1"/>
          </p:cNvSpPr>
          <p:nvPr/>
        </p:nvSpPr>
        <p:spPr>
          <a:xfrm>
            <a:off x="3496546" y="3109300"/>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52" name="Graphic 51">
            <a:extLst>
              <a:ext uri="{FF2B5EF4-FFF2-40B4-BE49-F238E27FC236}">
                <a16:creationId xmlns:a16="http://schemas.microsoft.com/office/drawing/2014/main" id="{7DD2AAB5-0C5B-0FBB-66D6-C42719CC7F6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31504" y="3155020"/>
            <a:ext cx="274320" cy="274320"/>
          </a:xfrm>
          <a:prstGeom prst="rect">
            <a:avLst/>
          </a:prstGeom>
        </p:spPr>
      </p:pic>
      <p:sp>
        <p:nvSpPr>
          <p:cNvPr id="55" name="AutoShape 7">
            <a:extLst>
              <a:ext uri="{FF2B5EF4-FFF2-40B4-BE49-F238E27FC236}">
                <a16:creationId xmlns:a16="http://schemas.microsoft.com/office/drawing/2014/main" id="{528F295C-B07C-D336-CD4B-A046A870ABD4}"/>
              </a:ext>
            </a:extLst>
          </p:cNvPr>
          <p:cNvSpPr>
            <a:spLocks noChangeArrowheads="1"/>
          </p:cNvSpPr>
          <p:nvPr/>
        </p:nvSpPr>
        <p:spPr bwMode="gray">
          <a:xfrm>
            <a:off x="7435745" y="2335414"/>
            <a:ext cx="231123" cy="82741"/>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6" name="TextBox 68">
            <a:extLst>
              <a:ext uri="{FF2B5EF4-FFF2-40B4-BE49-F238E27FC236}">
                <a16:creationId xmlns:a16="http://schemas.microsoft.com/office/drawing/2014/main" id="{22BDD99F-CECF-0927-8766-DC62C26C83DA}"/>
              </a:ext>
            </a:extLst>
          </p:cNvPr>
          <p:cNvSpPr txBox="1"/>
          <p:nvPr/>
        </p:nvSpPr>
        <p:spPr>
          <a:xfrm>
            <a:off x="7719302" y="2322921"/>
            <a:ext cx="571628"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Quick Wins</a:t>
            </a:r>
          </a:p>
        </p:txBody>
      </p:sp>
      <p:sp>
        <p:nvSpPr>
          <p:cNvPr id="57" name="AutoShape 7">
            <a:extLst>
              <a:ext uri="{FF2B5EF4-FFF2-40B4-BE49-F238E27FC236}">
                <a16:creationId xmlns:a16="http://schemas.microsoft.com/office/drawing/2014/main" id="{D3BAAAFC-6705-9028-405F-B2AA1249E271}"/>
              </a:ext>
            </a:extLst>
          </p:cNvPr>
          <p:cNvSpPr>
            <a:spLocks noChangeArrowheads="1"/>
          </p:cNvSpPr>
          <p:nvPr/>
        </p:nvSpPr>
        <p:spPr bwMode="gray">
          <a:xfrm>
            <a:off x="6143365" y="2335414"/>
            <a:ext cx="231123" cy="82741"/>
          </a:xfrm>
          <a:prstGeom prst="chevron">
            <a:avLst>
              <a:gd name="adj" fmla="val 28172"/>
            </a:avLst>
          </a:prstGeom>
          <a:solidFill>
            <a:schemeClr val="bg1">
              <a:lumMod val="85000"/>
            </a:schemeClr>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63">
              <a:defRPr/>
            </a:pPr>
            <a:endParaRPr lang="en-US" sz="100" kern="0">
              <a:solidFill>
                <a:srgbClr val="000000"/>
              </a:solidFill>
              <a:latin typeface="Roboto" panose="02000000000000000000" pitchFamily="2" charset="0"/>
              <a:ea typeface="Roboto" panose="02000000000000000000" pitchFamily="2" charset="0"/>
              <a:cs typeface="Arial" charset="0"/>
            </a:endParaRPr>
          </a:p>
        </p:txBody>
      </p:sp>
      <p:sp>
        <p:nvSpPr>
          <p:cNvPr id="58" name="TextBox 70">
            <a:extLst>
              <a:ext uri="{FF2B5EF4-FFF2-40B4-BE49-F238E27FC236}">
                <a16:creationId xmlns:a16="http://schemas.microsoft.com/office/drawing/2014/main" id="{555B530E-C539-72EF-BE02-0A69B0195486}"/>
              </a:ext>
            </a:extLst>
          </p:cNvPr>
          <p:cNvSpPr txBox="1"/>
          <p:nvPr/>
        </p:nvSpPr>
        <p:spPr>
          <a:xfrm>
            <a:off x="6426921" y="2322921"/>
            <a:ext cx="954290"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63">
              <a:defRPr/>
            </a:pPr>
            <a:r>
              <a:rPr lang="en-US" sz="700">
                <a:solidFill>
                  <a:srgbClr val="000000"/>
                </a:solidFill>
                <a:latin typeface="Roboto" panose="02000000000000000000" pitchFamily="2" charset="0"/>
                <a:ea typeface="Roboto" panose="02000000000000000000" pitchFamily="2" charset="0"/>
                <a:cs typeface="Arial"/>
              </a:rPr>
              <a:t>Unattended Automation </a:t>
            </a:r>
          </a:p>
        </p:txBody>
      </p:sp>
      <p:sp>
        <p:nvSpPr>
          <p:cNvPr id="59" name="TextBox 43">
            <a:extLst>
              <a:ext uri="{FF2B5EF4-FFF2-40B4-BE49-F238E27FC236}">
                <a16:creationId xmlns:a16="http://schemas.microsoft.com/office/drawing/2014/main" id="{B70CC366-45E6-4DEE-A35A-B07AB0780E6C}"/>
              </a:ext>
            </a:extLst>
          </p:cNvPr>
          <p:cNvSpPr txBox="1"/>
          <p:nvPr/>
        </p:nvSpPr>
        <p:spPr>
          <a:xfrm>
            <a:off x="10170340" y="933587"/>
            <a:ext cx="1868197"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Financial Impact</a:t>
            </a:r>
          </a:p>
        </p:txBody>
      </p:sp>
      <p:sp>
        <p:nvSpPr>
          <p:cNvPr id="60" name="TextBox 46">
            <a:extLst>
              <a:ext uri="{FF2B5EF4-FFF2-40B4-BE49-F238E27FC236}">
                <a16:creationId xmlns:a16="http://schemas.microsoft.com/office/drawing/2014/main" id="{FB8FA7D3-5D7F-C956-9B41-035FB8D18735}"/>
              </a:ext>
            </a:extLst>
          </p:cNvPr>
          <p:cNvSpPr txBox="1"/>
          <p:nvPr/>
        </p:nvSpPr>
        <p:spPr>
          <a:xfrm>
            <a:off x="10170340" y="1162812"/>
            <a:ext cx="1920240" cy="76944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panose="02000000000000000000" pitchFamily="2" charset="0"/>
                <a:ea typeface="Roboto" panose="02000000000000000000" pitchFamily="2" charset="0"/>
              </a:rPr>
              <a:t>Increases cash flow by recovering hidden revenue and accelerating the entire reconciliation cycle.</a:t>
            </a:r>
            <a:endParaRPr lang="en-US" sz="1100">
              <a:solidFill>
                <a:srgbClr val="0C0C0C"/>
              </a:solidFill>
              <a:latin typeface="Roboto" panose="02000000000000000000" pitchFamily="2" charset="0"/>
              <a:ea typeface="Roboto" panose="02000000000000000000" pitchFamily="2" charset="0"/>
            </a:endParaRPr>
          </a:p>
        </p:txBody>
      </p:sp>
      <p:sp>
        <p:nvSpPr>
          <p:cNvPr id="61" name="TextBox 49">
            <a:extLst>
              <a:ext uri="{FF2B5EF4-FFF2-40B4-BE49-F238E27FC236}">
                <a16:creationId xmlns:a16="http://schemas.microsoft.com/office/drawing/2014/main" id="{B6CFAA88-0A7E-D148-0861-4E57CC15C24C}"/>
              </a:ext>
            </a:extLst>
          </p:cNvPr>
          <p:cNvSpPr txBox="1"/>
          <p:nvPr/>
        </p:nvSpPr>
        <p:spPr>
          <a:xfrm>
            <a:off x="10179927" y="4747302"/>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Efficiency Gain </a:t>
            </a:r>
          </a:p>
        </p:txBody>
      </p:sp>
      <p:sp>
        <p:nvSpPr>
          <p:cNvPr id="62" name="TextBox 52">
            <a:extLst>
              <a:ext uri="{FF2B5EF4-FFF2-40B4-BE49-F238E27FC236}">
                <a16:creationId xmlns:a16="http://schemas.microsoft.com/office/drawing/2014/main" id="{83127A6B-F539-9276-4055-7A30128792A5}"/>
              </a:ext>
            </a:extLst>
          </p:cNvPr>
          <p:cNvSpPr txBox="1"/>
          <p:nvPr/>
        </p:nvSpPr>
        <p:spPr>
          <a:xfrm>
            <a:off x="10179927" y="4985694"/>
            <a:ext cx="1920240" cy="938719"/>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solidFill>
                  <a:srgbClr val="0C0C0C"/>
                </a:solidFill>
                <a:latin typeface="Roboto" panose="02000000000000000000" pitchFamily="2" charset="0"/>
                <a:ea typeface="Roboto" panose="02000000000000000000" pitchFamily="2" charset="0"/>
              </a:rPr>
              <a:t>Saves thousands of staff hours by automating manual reconciliation and focusing teams on high-value recovery.</a:t>
            </a:r>
          </a:p>
        </p:txBody>
      </p:sp>
      <p:sp>
        <p:nvSpPr>
          <p:cNvPr id="63" name="TextBox 55">
            <a:extLst>
              <a:ext uri="{FF2B5EF4-FFF2-40B4-BE49-F238E27FC236}">
                <a16:creationId xmlns:a16="http://schemas.microsoft.com/office/drawing/2014/main" id="{CB2CF9EF-0DB7-7EC8-3F93-81486EC4DE12}"/>
              </a:ext>
            </a:extLst>
          </p:cNvPr>
          <p:cNvSpPr txBox="1"/>
          <p:nvPr/>
        </p:nvSpPr>
        <p:spPr>
          <a:xfrm>
            <a:off x="10154873" y="2740815"/>
            <a:ext cx="1868197" cy="3076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400" b="1">
                <a:solidFill>
                  <a:schemeClr val="tx2"/>
                </a:solidFill>
                <a:latin typeface="Roboto" panose="02000000000000000000" pitchFamily="2" charset="0"/>
                <a:ea typeface="Roboto" panose="02000000000000000000" pitchFamily="2" charset="0"/>
              </a:rPr>
              <a:t>Downstream</a:t>
            </a:r>
            <a:r>
              <a:rPr lang="en-US" sz="1400">
                <a:solidFill>
                  <a:schemeClr val="tx2"/>
                </a:solidFill>
                <a:latin typeface="Roboto" panose="02000000000000000000" pitchFamily="2" charset="0"/>
                <a:ea typeface="Roboto" panose="02000000000000000000" pitchFamily="2" charset="0"/>
              </a:rPr>
              <a:t> </a:t>
            </a:r>
            <a:r>
              <a:rPr lang="en-US" sz="1400" b="1">
                <a:solidFill>
                  <a:schemeClr val="tx2"/>
                </a:solidFill>
                <a:latin typeface="Roboto" panose="02000000000000000000" pitchFamily="2" charset="0"/>
                <a:ea typeface="Roboto" panose="02000000000000000000" pitchFamily="2" charset="0"/>
              </a:rPr>
              <a:t>Impact </a:t>
            </a:r>
          </a:p>
        </p:txBody>
      </p:sp>
      <p:sp>
        <p:nvSpPr>
          <p:cNvPr id="64" name="TextBox 58">
            <a:extLst>
              <a:ext uri="{FF2B5EF4-FFF2-40B4-BE49-F238E27FC236}">
                <a16:creationId xmlns:a16="http://schemas.microsoft.com/office/drawing/2014/main" id="{250D47FB-1689-10D5-EE1E-0EBAC637E3B1}"/>
              </a:ext>
            </a:extLst>
          </p:cNvPr>
          <p:cNvSpPr txBox="1"/>
          <p:nvPr/>
        </p:nvSpPr>
        <p:spPr>
          <a:xfrm>
            <a:off x="10154873" y="2979207"/>
            <a:ext cx="1920240" cy="1107996"/>
          </a:xfrm>
          <a:prstGeom prst="rect">
            <a:avLst/>
          </a:prstGeom>
          <a:noFill/>
        </p:spPr>
        <p:txBody>
          <a:bodyPr wrap="square">
            <a:spAutoFit/>
          </a:bodyPr>
          <a:lstStyle>
            <a:defPPr>
              <a:defRPr lang="en-US"/>
            </a:defPPr>
            <a:lvl1pPr marL="0" algn="l" defTabSz="914400" rtl="0" eaLnBrk="1" latinLnBrk="0" hangingPunct="1">
              <a:defRPr sz="12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a:latin typeface="Roboto" panose="02000000000000000000" pitchFamily="2" charset="0"/>
                <a:ea typeface="Roboto" panose="02000000000000000000" pitchFamily="2" charset="0"/>
              </a:rPr>
              <a:t>Empowers downstream teams with clean, prioritized data to accelerate workflows and strengthen payer negotiations..</a:t>
            </a:r>
            <a:endParaRPr lang="en-US" sz="1100">
              <a:solidFill>
                <a:srgbClr val="0C0C0C"/>
              </a:solidFill>
              <a:latin typeface="Roboto" panose="02000000000000000000" pitchFamily="2" charset="0"/>
              <a:ea typeface="Roboto" panose="02000000000000000000" pitchFamily="2" charset="0"/>
            </a:endParaRPr>
          </a:p>
        </p:txBody>
      </p:sp>
      <p:sp>
        <p:nvSpPr>
          <p:cNvPr id="65" name="Rectangle 64">
            <a:extLst>
              <a:ext uri="{FF2B5EF4-FFF2-40B4-BE49-F238E27FC236}">
                <a16:creationId xmlns:a16="http://schemas.microsoft.com/office/drawing/2014/main" id="{C4BBD80F-E6ED-15D7-79F5-AB415174F875}"/>
              </a:ext>
            </a:extLst>
          </p:cNvPr>
          <p:cNvSpPr/>
          <p:nvPr/>
        </p:nvSpPr>
        <p:spPr>
          <a:xfrm>
            <a:off x="10046348"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sp>
        <p:nvSpPr>
          <p:cNvPr id="66" name="Rectangle 65">
            <a:extLst>
              <a:ext uri="{FF2B5EF4-FFF2-40B4-BE49-F238E27FC236}">
                <a16:creationId xmlns:a16="http://schemas.microsoft.com/office/drawing/2014/main" id="{4B5FBCFB-B619-20A0-22FF-FBAD76C6CEC3}"/>
              </a:ext>
            </a:extLst>
          </p:cNvPr>
          <p:cNvSpPr/>
          <p:nvPr/>
        </p:nvSpPr>
        <p:spPr>
          <a:xfrm>
            <a:off x="8650657" y="0"/>
            <a:ext cx="18288" cy="6858000"/>
          </a:xfrm>
          <a:prstGeom prst="rect">
            <a:avLst/>
          </a:prstGeom>
          <a:solidFill>
            <a:schemeClr val="bg1">
              <a:lumMod val="75000"/>
            </a:schemeClr>
          </a:solid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Arial"/>
            </a:endParaRPr>
          </a:p>
        </p:txBody>
      </p:sp>
      <p:pic>
        <p:nvPicPr>
          <p:cNvPr id="67" name="Picture 66">
            <a:extLst>
              <a:ext uri="{FF2B5EF4-FFF2-40B4-BE49-F238E27FC236}">
                <a16:creationId xmlns:a16="http://schemas.microsoft.com/office/drawing/2014/main" id="{F8293FFD-761E-EE61-67A8-DE135359F25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4" t="-5604" r="-2014" b="-59241"/>
          <a:stretch>
            <a:fillRect/>
          </a:stretch>
        </p:blipFill>
        <p:spPr bwMode="auto">
          <a:xfrm>
            <a:off x="10167735" y="347108"/>
            <a:ext cx="1712370" cy="396904"/>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7C9E53E1-07C1-B877-0C54-5A6B619E1233}"/>
              </a:ext>
            </a:extLst>
          </p:cNvPr>
          <p:cNvCxnSpPr>
            <a:cxnSpLocks/>
          </p:cNvCxnSpPr>
          <p:nvPr/>
        </p:nvCxnSpPr>
        <p:spPr>
          <a:xfrm flipV="1">
            <a:off x="10166863" y="4280514"/>
            <a:ext cx="1854013" cy="6096"/>
          </a:xfrm>
          <a:prstGeom prst="line">
            <a:avLst/>
          </a:prstGeom>
          <a:noFill/>
          <a:ln w="19050" cap="flat" cmpd="sng" algn="ctr">
            <a:solidFill>
              <a:srgbClr val="CAD9FE"/>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D8853802-AA4A-2861-B122-F47F6932ABBC}"/>
              </a:ext>
            </a:extLst>
          </p:cNvPr>
          <p:cNvCxnSpPr>
            <a:cxnSpLocks/>
          </p:cNvCxnSpPr>
          <p:nvPr/>
        </p:nvCxnSpPr>
        <p:spPr>
          <a:xfrm flipV="1">
            <a:off x="10154671" y="2488290"/>
            <a:ext cx="1854013" cy="6096"/>
          </a:xfrm>
          <a:prstGeom prst="line">
            <a:avLst/>
          </a:prstGeom>
          <a:noFill/>
          <a:ln w="19050" cap="flat" cmpd="sng" algn="ctr">
            <a:solidFill>
              <a:srgbClr val="CAD9FE"/>
            </a:solidFill>
            <a:prstDash val="solid"/>
            <a:round/>
            <a:headEnd type="none" w="med" len="med"/>
            <a:tailEnd type="none" w="med" len="med"/>
          </a:ln>
          <a:effectLst/>
        </p:spPr>
      </p:cxnSp>
      <p:sp>
        <p:nvSpPr>
          <p:cNvPr id="72" name="TextBox 4">
            <a:extLst>
              <a:ext uri="{FF2B5EF4-FFF2-40B4-BE49-F238E27FC236}">
                <a16:creationId xmlns:a16="http://schemas.microsoft.com/office/drawing/2014/main" id="{E6543458-3455-5A00-0341-A5F207E3E680}"/>
              </a:ext>
            </a:extLst>
          </p:cNvPr>
          <p:cNvSpPr txBox="1"/>
          <p:nvPr/>
        </p:nvSpPr>
        <p:spPr>
          <a:xfrm>
            <a:off x="6621200" y="4415953"/>
            <a:ext cx="1938528" cy="457081"/>
          </a:xfrm>
          <a:prstGeom prst="rect">
            <a:avLst/>
          </a:prstGeom>
          <a:noFill/>
        </p:spPr>
        <p:txBody>
          <a:bodyPr wrap="square" lIns="91416" rIns="91416"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100" b="1" kern="0">
                <a:solidFill>
                  <a:srgbClr val="000000"/>
                </a:solidFill>
                <a:latin typeface="Roboto" panose="02000000000000000000" pitchFamily="2" charset="0"/>
                <a:ea typeface="Roboto" panose="02000000000000000000" pitchFamily="2" charset="0"/>
              </a:rPr>
              <a:t>Automated Resolution Preparation</a:t>
            </a:r>
          </a:p>
        </p:txBody>
      </p:sp>
      <p:sp>
        <p:nvSpPr>
          <p:cNvPr id="73" name="TextBox 8">
            <a:extLst>
              <a:ext uri="{FF2B5EF4-FFF2-40B4-BE49-F238E27FC236}">
                <a16:creationId xmlns:a16="http://schemas.microsoft.com/office/drawing/2014/main" id="{57A455E6-AFD6-0AD8-E7BB-DB1918C9A76D}"/>
              </a:ext>
            </a:extLst>
          </p:cNvPr>
          <p:cNvSpPr txBox="1"/>
          <p:nvPr/>
        </p:nvSpPr>
        <p:spPr>
          <a:xfrm>
            <a:off x="6621201" y="4865262"/>
            <a:ext cx="1938528" cy="1783080"/>
          </a:xfrm>
          <a:prstGeom prst="rect">
            <a:avLst/>
          </a:prstGeom>
          <a:noFill/>
        </p:spPr>
        <p:txBody>
          <a:bodyPr wrap="square" lIns="91416" tIns="91416" rIns="91416" bIns="91416" rtlCol="0">
            <a:noAutofit/>
          </a:bodyPr>
          <a:lstStyle>
            <a:defPPr>
              <a:defRPr lang="en-US"/>
            </a:defPPr>
            <a:lvl1pPr marL="114300" indent="-114300" algn="l" defTabSz="914400" rtl="0" eaLnBrk="1" latinLnBrk="0" hangingPunct="1">
              <a:spcBef>
                <a:spcPts val="300"/>
              </a:spcBef>
              <a:buFont typeface="Wingdings" pitchFamily="2" charset="2"/>
              <a:buChar char="§"/>
              <a:defRPr sz="90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1050">
                <a:solidFill>
                  <a:srgbClr val="000000"/>
                </a:solidFill>
                <a:latin typeface="Roboto" panose="02000000000000000000" pitchFamily="2" charset="0"/>
                <a:ea typeface="Roboto" panose="02000000000000000000" pitchFamily="2" charset="0"/>
              </a:rPr>
              <a:t>Auto-generates a task for every exception, eliminating manual setup.</a:t>
            </a:r>
          </a:p>
          <a:p>
            <a:pPr defTabSz="457200">
              <a:defRPr/>
            </a:pPr>
            <a:r>
              <a:rPr lang="en-US" sz="1050">
                <a:solidFill>
                  <a:srgbClr val="000000"/>
                </a:solidFill>
                <a:latin typeface="Roboto" panose="02000000000000000000" pitchFamily="2" charset="0"/>
                <a:ea typeface="Roboto" panose="02000000000000000000" pitchFamily="2" charset="0"/>
              </a:rPr>
              <a:t>Pre-populates recovery and appeal packets with all necessary data for follow-up.</a:t>
            </a:r>
          </a:p>
        </p:txBody>
      </p:sp>
      <p:grpSp>
        <p:nvGrpSpPr>
          <p:cNvPr id="26" name="Group 25">
            <a:extLst>
              <a:ext uri="{FF2B5EF4-FFF2-40B4-BE49-F238E27FC236}">
                <a16:creationId xmlns:a16="http://schemas.microsoft.com/office/drawing/2014/main" id="{1752596F-25B0-93B9-F612-1D91EE270527}"/>
              </a:ext>
            </a:extLst>
          </p:cNvPr>
          <p:cNvGrpSpPr/>
          <p:nvPr/>
        </p:nvGrpSpPr>
        <p:grpSpPr>
          <a:xfrm>
            <a:off x="1103505" y="3109300"/>
            <a:ext cx="365760" cy="365760"/>
            <a:chOff x="1706099" y="3570332"/>
            <a:chExt cx="365760" cy="365760"/>
          </a:xfrm>
        </p:grpSpPr>
        <p:sp>
          <p:nvSpPr>
            <p:cNvPr id="43" name="Oval 42">
              <a:extLst>
                <a:ext uri="{FF2B5EF4-FFF2-40B4-BE49-F238E27FC236}">
                  <a16:creationId xmlns:a16="http://schemas.microsoft.com/office/drawing/2014/main" id="{A8914141-E7E8-F1A7-0D7F-22D2DDF79C95}"/>
                </a:ext>
              </a:extLst>
            </p:cNvPr>
            <p:cNvSpPr>
              <a:spLocks noChangeAspect="1"/>
            </p:cNvSpPr>
            <p:nvPr/>
          </p:nvSpPr>
          <p:spPr>
            <a:xfrm>
              <a:off x="1706099" y="357033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6" name="Graphic 44">
              <a:extLst>
                <a:ext uri="{FF2B5EF4-FFF2-40B4-BE49-F238E27FC236}">
                  <a16:creationId xmlns:a16="http://schemas.microsoft.com/office/drawing/2014/main" id="{1727BBBC-EDCA-4B23-408B-C8105645E7E2}"/>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1774429" y="3627038"/>
              <a:ext cx="219456" cy="220585"/>
            </a:xfrm>
            <a:prstGeom prst="rect">
              <a:avLst/>
            </a:prstGeom>
          </p:spPr>
        </p:pic>
      </p:grpSp>
      <p:grpSp>
        <p:nvGrpSpPr>
          <p:cNvPr id="28" name="Group 27">
            <a:extLst>
              <a:ext uri="{FF2B5EF4-FFF2-40B4-BE49-F238E27FC236}">
                <a16:creationId xmlns:a16="http://schemas.microsoft.com/office/drawing/2014/main" id="{C495814B-4C81-0C19-5ED6-FBDC5BACF169}"/>
              </a:ext>
            </a:extLst>
          </p:cNvPr>
          <p:cNvGrpSpPr/>
          <p:nvPr/>
        </p:nvGrpSpPr>
        <p:grpSpPr>
          <a:xfrm>
            <a:off x="5530438" y="3720867"/>
            <a:ext cx="365760" cy="365760"/>
            <a:chOff x="5530438" y="3720867"/>
            <a:chExt cx="365760" cy="365760"/>
          </a:xfrm>
        </p:grpSpPr>
        <p:sp>
          <p:nvSpPr>
            <p:cNvPr id="77" name="Oval 76">
              <a:extLst>
                <a:ext uri="{FF2B5EF4-FFF2-40B4-BE49-F238E27FC236}">
                  <a16:creationId xmlns:a16="http://schemas.microsoft.com/office/drawing/2014/main" id="{41465831-F3AC-3EE3-535F-605749F1031D}"/>
                </a:ext>
              </a:extLst>
            </p:cNvPr>
            <p:cNvSpPr>
              <a:spLocks noChangeAspect="1"/>
            </p:cNvSpPr>
            <p:nvPr/>
          </p:nvSpPr>
          <p:spPr>
            <a:xfrm>
              <a:off x="5530438" y="3720867"/>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78" name="Graphic 44">
              <a:extLst>
                <a:ext uri="{FF2B5EF4-FFF2-40B4-BE49-F238E27FC236}">
                  <a16:creationId xmlns:a16="http://schemas.microsoft.com/office/drawing/2014/main" id="{FF1B5ED6-FF67-9AAF-0789-ED022021188C}"/>
                </a:ext>
              </a:extLst>
            </p:cNvPr>
            <p:cNvPicPr>
              <a:picLocks noChangeAspect="1"/>
            </p:cNvPicPr>
            <p:nvPr/>
          </p:nvPicPr>
          <p:blipFill>
            <a:blip r:embed="rId8">
              <a:grayscl/>
              <a:extLst>
                <a:ext uri="{96DAC541-7B7A-43D3-8B79-37D633B846F1}">
                  <asvg:svgBlip xmlns:asvg="http://schemas.microsoft.com/office/drawing/2016/SVG/main" r:embed="rId9"/>
                </a:ext>
              </a:extLst>
            </a:blip>
            <a:stretch>
              <a:fillRect/>
            </a:stretch>
          </p:blipFill>
          <p:spPr>
            <a:xfrm>
              <a:off x="5598768" y="3777573"/>
              <a:ext cx="219456" cy="220585"/>
            </a:xfrm>
            <a:prstGeom prst="rect">
              <a:avLst/>
            </a:prstGeom>
          </p:spPr>
        </p:pic>
      </p:grpSp>
      <p:grpSp>
        <p:nvGrpSpPr>
          <p:cNvPr id="27" name="Group 26">
            <a:extLst>
              <a:ext uri="{FF2B5EF4-FFF2-40B4-BE49-F238E27FC236}">
                <a16:creationId xmlns:a16="http://schemas.microsoft.com/office/drawing/2014/main" id="{6B05348D-DD5A-16CC-30EF-CD88AC8348ED}"/>
              </a:ext>
            </a:extLst>
          </p:cNvPr>
          <p:cNvGrpSpPr/>
          <p:nvPr/>
        </p:nvGrpSpPr>
        <p:grpSpPr>
          <a:xfrm>
            <a:off x="5768549" y="3114407"/>
            <a:ext cx="365760" cy="365760"/>
            <a:chOff x="2742870" y="3118756"/>
            <a:chExt cx="365760" cy="365760"/>
          </a:xfrm>
        </p:grpSpPr>
        <p:sp>
          <p:nvSpPr>
            <p:cNvPr id="80" name="Oval 79">
              <a:extLst>
                <a:ext uri="{FF2B5EF4-FFF2-40B4-BE49-F238E27FC236}">
                  <a16:creationId xmlns:a16="http://schemas.microsoft.com/office/drawing/2014/main" id="{B4714480-7ABA-1E9C-C033-A02914F8E8E4}"/>
                </a:ext>
              </a:extLst>
            </p:cNvPr>
            <p:cNvSpPr>
              <a:spLocks noChangeAspect="1"/>
            </p:cNvSpPr>
            <p:nvPr/>
          </p:nvSpPr>
          <p:spPr>
            <a:xfrm>
              <a:off x="2742870" y="3118756"/>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err="1">
                <a:solidFill>
                  <a:srgbClr val="000000"/>
                </a:solidFill>
                <a:latin typeface="Roboto" panose="02000000000000000000" pitchFamily="2" charset="0"/>
                <a:ea typeface="Roboto" panose="02000000000000000000" pitchFamily="2" charset="0"/>
                <a:cs typeface="Arial"/>
              </a:endParaRPr>
            </a:p>
          </p:txBody>
        </p:sp>
        <p:pic>
          <p:nvPicPr>
            <p:cNvPr id="81" name="Graphic 80">
              <a:extLst>
                <a:ext uri="{FF2B5EF4-FFF2-40B4-BE49-F238E27FC236}">
                  <a16:creationId xmlns:a16="http://schemas.microsoft.com/office/drawing/2014/main" id="{07722AFB-C7A4-0CEA-3D2D-D3D9B5A15634}"/>
                </a:ext>
              </a:extLst>
            </p:cNvPr>
            <p:cNvPicPr>
              <a:picLocks noChangeAspect="1"/>
            </p:cNvPicPr>
            <p:nvPr/>
          </p:nvPicPr>
          <p:blipFill>
            <a:blip r:embed="rId3">
              <a:grayscl/>
              <a:extLst>
                <a:ext uri="{96DAC541-7B7A-43D3-8B79-37D633B846F1}">
                  <asvg:svgBlip xmlns:asvg="http://schemas.microsoft.com/office/drawing/2016/SVG/main" r:embed="rId4"/>
                </a:ext>
              </a:extLst>
            </a:blip>
            <a:srcRect/>
            <a:stretch/>
          </p:blipFill>
          <p:spPr>
            <a:xfrm>
              <a:off x="2788170" y="3140125"/>
              <a:ext cx="274320" cy="274320"/>
            </a:xfrm>
            <a:prstGeom prst="rect">
              <a:avLst/>
            </a:prstGeom>
          </p:spPr>
        </p:pic>
      </p:grpSp>
      <p:sp>
        <p:nvSpPr>
          <p:cNvPr id="2" name="AutoShape 7">
            <a:extLst>
              <a:ext uri="{FF2B5EF4-FFF2-40B4-BE49-F238E27FC236}">
                <a16:creationId xmlns:a16="http://schemas.microsoft.com/office/drawing/2014/main" id="{76AEF545-9885-ED25-2FD4-C92B53E4BAB0}"/>
              </a:ext>
            </a:extLst>
          </p:cNvPr>
          <p:cNvSpPr>
            <a:spLocks noChangeArrowheads="1"/>
          </p:cNvSpPr>
          <p:nvPr/>
        </p:nvSpPr>
        <p:spPr bwMode="gray">
          <a:xfrm>
            <a:off x="5818224" y="2592994"/>
            <a:ext cx="1183992" cy="455518"/>
          </a:xfrm>
          <a:prstGeom prst="chevron">
            <a:avLst>
              <a:gd name="adj" fmla="val 28172"/>
            </a:avLst>
          </a:prstGeom>
          <a:solidFill>
            <a:srgbClr val="0751DF"/>
          </a:solidFill>
          <a:ln w="1270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r>
              <a:rPr lang="en-US" sz="800" kern="0">
                <a:solidFill>
                  <a:srgbClr val="FFFFFF"/>
                </a:solidFill>
                <a:latin typeface="Roboto" panose="02000000000000000000" pitchFamily="2" charset="0"/>
                <a:ea typeface="Roboto" panose="02000000000000000000" pitchFamily="2" charset="0"/>
                <a:cs typeface="Arial" charset="0"/>
              </a:rPr>
              <a:t>Implement Updates</a:t>
            </a:r>
          </a:p>
        </p:txBody>
      </p:sp>
      <p:grpSp>
        <p:nvGrpSpPr>
          <p:cNvPr id="25" name="Group 24">
            <a:extLst>
              <a:ext uri="{FF2B5EF4-FFF2-40B4-BE49-F238E27FC236}">
                <a16:creationId xmlns:a16="http://schemas.microsoft.com/office/drawing/2014/main" id="{BC0CC602-7BF5-57A4-B18C-1363256AB437}"/>
              </a:ext>
            </a:extLst>
          </p:cNvPr>
          <p:cNvGrpSpPr/>
          <p:nvPr/>
        </p:nvGrpSpPr>
        <p:grpSpPr>
          <a:xfrm>
            <a:off x="4632547" y="3109300"/>
            <a:ext cx="365760" cy="365760"/>
            <a:chOff x="2303163" y="3115192"/>
            <a:chExt cx="365760" cy="365760"/>
          </a:xfrm>
        </p:grpSpPr>
        <p:sp>
          <p:nvSpPr>
            <p:cNvPr id="31" name="Oval 30">
              <a:extLst>
                <a:ext uri="{FF2B5EF4-FFF2-40B4-BE49-F238E27FC236}">
                  <a16:creationId xmlns:a16="http://schemas.microsoft.com/office/drawing/2014/main" id="{ADD0499D-B729-42AC-71AE-6D138E3B80BB}"/>
                </a:ext>
              </a:extLst>
            </p:cNvPr>
            <p:cNvSpPr>
              <a:spLocks noChangeAspect="1"/>
            </p:cNvSpPr>
            <p:nvPr/>
          </p:nvSpPr>
          <p:spPr>
            <a:xfrm>
              <a:off x="2303163" y="3115192"/>
              <a:ext cx="365760" cy="365760"/>
            </a:xfrm>
            <a:prstGeom prst="ellipse">
              <a:avLst/>
            </a:prstGeom>
            <a:solidFill>
              <a:schemeClr val="bg1">
                <a:lumMod val="9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a:defRPr/>
              </a:pPr>
              <a:endParaRPr lang="en-US" sz="1400">
                <a:solidFill>
                  <a:srgbClr val="000000"/>
                </a:solidFill>
                <a:latin typeface="Roboto" panose="02000000000000000000" pitchFamily="2" charset="0"/>
                <a:ea typeface="Roboto" panose="02000000000000000000" pitchFamily="2" charset="0"/>
                <a:cs typeface="Arial"/>
              </a:endParaRPr>
            </a:p>
          </p:txBody>
        </p:sp>
        <p:pic>
          <p:nvPicPr>
            <p:cNvPr id="41" name="Graphic 40">
              <a:extLst>
                <a:ext uri="{FF2B5EF4-FFF2-40B4-BE49-F238E27FC236}">
                  <a16:creationId xmlns:a16="http://schemas.microsoft.com/office/drawing/2014/main" id="{A51A19F3-20C1-B5F9-DCF6-7C77532891F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348883" y="3160912"/>
              <a:ext cx="274320" cy="274320"/>
            </a:xfrm>
            <a:prstGeom prst="rect">
              <a:avLst/>
            </a:prstGeom>
          </p:spPr>
        </p:pic>
      </p:grpSp>
    </p:spTree>
    <p:extLst>
      <p:ext uri="{BB962C8B-B14F-4D97-AF65-F5344CB8AC3E}">
        <p14:creationId xmlns:p14="http://schemas.microsoft.com/office/powerpoint/2010/main" val="29347790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AD8ED-7C8F-8A6E-0506-DDA775A079BD}"/>
            </a:ext>
          </a:extLst>
        </p:cNvPr>
        <p:cNvGrpSpPr/>
        <p:nvPr/>
      </p:nvGrpSpPr>
      <p:grpSpPr>
        <a:xfrm>
          <a:off x="0" y="0"/>
          <a:ext cx="0" cy="0"/>
          <a:chOff x="0" y="0"/>
          <a:chExt cx="0" cy="0"/>
        </a:xfrm>
      </p:grpSpPr>
      <p:pic>
        <p:nvPicPr>
          <p:cNvPr id="6" name="Picture 5" descr="A blue square with a white circle and a red symbol&#10;&#10;AI-generated content may be incorrect.">
            <a:extLst>
              <a:ext uri="{FF2B5EF4-FFF2-40B4-BE49-F238E27FC236}">
                <a16:creationId xmlns:a16="http://schemas.microsoft.com/office/drawing/2014/main" id="{4B60E231-53D4-012B-A1E2-29CB59F060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1192" y="1832544"/>
            <a:ext cx="4007807" cy="4500881"/>
          </a:xfrm>
          <a:prstGeom prst="rect">
            <a:avLst/>
          </a:prstGeom>
        </p:spPr>
      </p:pic>
      <p:sp>
        <p:nvSpPr>
          <p:cNvPr id="14" name="Rectangle 13">
            <a:extLst>
              <a:ext uri="{FF2B5EF4-FFF2-40B4-BE49-F238E27FC236}">
                <a16:creationId xmlns:a16="http://schemas.microsoft.com/office/drawing/2014/main" id="{E5AC37F8-6C13-E19D-2F0B-EA3C5B171050}"/>
              </a:ext>
            </a:extLst>
          </p:cNvPr>
          <p:cNvSpPr/>
          <p:nvPr/>
        </p:nvSpPr>
        <p:spPr>
          <a:xfrm>
            <a:off x="534186" y="528320"/>
            <a:ext cx="9879814" cy="523220"/>
          </a:xfrm>
          <a:prstGeom prst="rect">
            <a:avLst/>
          </a:prstGeom>
          <a:noFill/>
        </p:spPr>
        <p:txBody>
          <a:bodyPr wrap="square" lIns="91440" tIns="45720" rIns="91440" bIns="45720" anchor="t">
            <a:spAutoFit/>
          </a:bodyPr>
          <a:lstStyle/>
          <a:p>
            <a:r>
              <a:rPr lang="en-US" sz="2800">
                <a:solidFill>
                  <a:srgbClr val="FF0000"/>
                </a:solidFill>
                <a:latin typeface="Roboto Medium"/>
                <a:ea typeface="Roboto Medium"/>
                <a:cs typeface="Roboto Medium"/>
              </a:rPr>
              <a:t>Impact of </a:t>
            </a:r>
            <a:r>
              <a:rPr lang="en-US" sz="2800">
                <a:solidFill>
                  <a:srgbClr val="FF0000"/>
                </a:solidFill>
                <a:effectLst/>
                <a:latin typeface="Roboto Medium"/>
                <a:ea typeface="Roboto Medium"/>
                <a:cs typeface="Roboto Medium"/>
              </a:rPr>
              <a:t>AI-Powered Solutions</a:t>
            </a:r>
            <a:endParaRPr lang="en-US" sz="2800" cap="none" spc="0">
              <a:ln w="0"/>
              <a:solidFill>
                <a:srgbClr val="FF0000"/>
              </a:solidFill>
              <a:effectLst/>
              <a:latin typeface="Roboto Medium"/>
              <a:ea typeface="Roboto Medium"/>
              <a:cs typeface="Roboto Medium"/>
            </a:endParaRPr>
          </a:p>
        </p:txBody>
      </p:sp>
      <p:sp>
        <p:nvSpPr>
          <p:cNvPr id="15" name="Rectangle 14">
            <a:extLst>
              <a:ext uri="{FF2B5EF4-FFF2-40B4-BE49-F238E27FC236}">
                <a16:creationId xmlns:a16="http://schemas.microsoft.com/office/drawing/2014/main" id="{578FACC0-41AF-5644-C1E9-A8FA3BA448D7}"/>
              </a:ext>
            </a:extLst>
          </p:cNvPr>
          <p:cNvSpPr/>
          <p:nvPr/>
        </p:nvSpPr>
        <p:spPr>
          <a:xfrm>
            <a:off x="603458" y="1054998"/>
            <a:ext cx="8427364" cy="646331"/>
          </a:xfrm>
          <a:prstGeom prst="rect">
            <a:avLst/>
          </a:prstGeom>
          <a:noFill/>
        </p:spPr>
        <p:txBody>
          <a:bodyPr wrap="square" lIns="91440" tIns="45720" rIns="91440" bIns="45720" anchor="t">
            <a:spAutoFit/>
          </a:bodyPr>
          <a:lstStyle/>
          <a:p>
            <a:r>
              <a:rPr lang="en-US">
                <a:solidFill>
                  <a:srgbClr val="595959"/>
                </a:solidFill>
                <a:ea typeface="+mn-lt"/>
                <a:cs typeface="+mn-lt"/>
              </a:rPr>
              <a:t>Agentic AI autonomously navigates EMRs, payer systems, and queues to retrieve, verify, and submit authorizations - without human handoffs.</a:t>
            </a:r>
            <a:endParaRPr lang="en-US"/>
          </a:p>
        </p:txBody>
      </p:sp>
      <p:sp>
        <p:nvSpPr>
          <p:cNvPr id="22" name="Rectangle 21">
            <a:extLst>
              <a:ext uri="{FF2B5EF4-FFF2-40B4-BE49-F238E27FC236}">
                <a16:creationId xmlns:a16="http://schemas.microsoft.com/office/drawing/2014/main" id="{5511EC44-05D8-005D-9846-0DA933094256}"/>
              </a:ext>
            </a:extLst>
          </p:cNvPr>
          <p:cNvSpPr/>
          <p:nvPr/>
        </p:nvSpPr>
        <p:spPr>
          <a:xfrm>
            <a:off x="9182330" y="2505189"/>
            <a:ext cx="2029535" cy="323165"/>
          </a:xfrm>
          <a:prstGeom prst="rect">
            <a:avLst/>
          </a:prstGeom>
          <a:noFill/>
        </p:spPr>
        <p:txBody>
          <a:bodyPr wrap="square" lIns="91440" tIns="45720" rIns="91440" bIns="45720">
            <a:spAutoFit/>
          </a:bodyPr>
          <a:lstStyle/>
          <a:p>
            <a:r>
              <a:rPr lang="en-US" sz="1500">
                <a:solidFill>
                  <a:schemeClr val="bg1"/>
                </a:solidFill>
                <a:effectLst/>
                <a:latin typeface="Roboto" pitchFamily="2" charset="0"/>
                <a:ea typeface="Roboto" pitchFamily="2" charset="0"/>
              </a:rPr>
              <a:t>What Our Clients Say</a:t>
            </a:r>
            <a:endParaRPr lang="en-US" sz="1500" cap="none" spc="0">
              <a:ln w="0"/>
              <a:solidFill>
                <a:schemeClr val="bg1"/>
              </a:solidFill>
              <a:effectLst/>
              <a:latin typeface="Roboto" pitchFamily="2" charset="0"/>
              <a:ea typeface="Roboto" pitchFamily="2" charset="0"/>
            </a:endParaRPr>
          </a:p>
        </p:txBody>
      </p:sp>
      <p:sp>
        <p:nvSpPr>
          <p:cNvPr id="23" name="Rectangle 22">
            <a:extLst>
              <a:ext uri="{FF2B5EF4-FFF2-40B4-BE49-F238E27FC236}">
                <a16:creationId xmlns:a16="http://schemas.microsoft.com/office/drawing/2014/main" id="{6E953859-1706-4008-E43C-CFB748276CC5}"/>
              </a:ext>
            </a:extLst>
          </p:cNvPr>
          <p:cNvSpPr/>
          <p:nvPr/>
        </p:nvSpPr>
        <p:spPr>
          <a:xfrm>
            <a:off x="8580503" y="3095389"/>
            <a:ext cx="2910056" cy="1938992"/>
          </a:xfrm>
          <a:prstGeom prst="rect">
            <a:avLst/>
          </a:prstGeom>
          <a:noFill/>
        </p:spPr>
        <p:txBody>
          <a:bodyPr wrap="square" lIns="91440" tIns="45720" rIns="91440" bIns="45720" anchor="t">
            <a:spAutoFit/>
          </a:bodyPr>
          <a:lstStyle/>
          <a:p>
            <a:r>
              <a:rPr lang="en-US" sz="1000">
                <a:solidFill>
                  <a:schemeClr val="bg1"/>
                </a:solidFill>
                <a:latin typeface="Roboto"/>
                <a:ea typeface="Roboto"/>
                <a:cs typeface="Roboto"/>
              </a:rPr>
              <a:t>"The automation work delivered for our team has exceeded expectations. A previously manual, multi-step process involving several systems was transformed into a streamlined, user-friendly experience. What once felt nearly impossible is now fully achievable thanks to this automation solution. The impact on our quality metrics and daily operations has been substantial. We’re eager to expand this capability across our broader network and are truly grateful for the collaboration and results delivered."</a:t>
            </a:r>
            <a:endParaRPr lang="en-US" sz="1000">
              <a:solidFill>
                <a:schemeClr val="bg1"/>
              </a:solidFill>
            </a:endParaRPr>
          </a:p>
        </p:txBody>
      </p:sp>
      <p:sp>
        <p:nvSpPr>
          <p:cNvPr id="26" name="Rectangle 25">
            <a:extLst>
              <a:ext uri="{FF2B5EF4-FFF2-40B4-BE49-F238E27FC236}">
                <a16:creationId xmlns:a16="http://schemas.microsoft.com/office/drawing/2014/main" id="{1F2CA2F5-CD41-C1F5-15AB-0533B21B5F05}"/>
              </a:ext>
            </a:extLst>
          </p:cNvPr>
          <p:cNvSpPr/>
          <p:nvPr/>
        </p:nvSpPr>
        <p:spPr>
          <a:xfrm>
            <a:off x="8580504" y="5075887"/>
            <a:ext cx="2873538" cy="523220"/>
          </a:xfrm>
          <a:prstGeom prst="rect">
            <a:avLst/>
          </a:prstGeom>
          <a:noFill/>
        </p:spPr>
        <p:txBody>
          <a:bodyPr wrap="square" lIns="91440" tIns="45720" rIns="91440" bIns="45720">
            <a:spAutoFit/>
          </a:bodyPr>
          <a:lstStyle/>
          <a:p>
            <a:r>
              <a:rPr lang="en-US" sz="1400">
                <a:solidFill>
                  <a:schemeClr val="bg1"/>
                </a:solidFill>
                <a:effectLst/>
                <a:latin typeface="Roboto" pitchFamily="2" charset="0"/>
                <a:ea typeface="Roboto" pitchFamily="2" charset="0"/>
              </a:rPr>
              <a:t>​Ready to achieve results like these? </a:t>
            </a:r>
            <a:endParaRPr lang="en-US" sz="1400" cap="none" spc="0">
              <a:ln w="0"/>
              <a:solidFill>
                <a:schemeClr val="bg1"/>
              </a:solidFill>
              <a:effectLst/>
              <a:latin typeface="Roboto" pitchFamily="2" charset="0"/>
              <a:ea typeface="Roboto" pitchFamily="2" charset="0"/>
            </a:endParaRPr>
          </a:p>
        </p:txBody>
      </p:sp>
      <p:sp>
        <p:nvSpPr>
          <p:cNvPr id="27" name="Rectangle 26">
            <a:extLst>
              <a:ext uri="{FF2B5EF4-FFF2-40B4-BE49-F238E27FC236}">
                <a16:creationId xmlns:a16="http://schemas.microsoft.com/office/drawing/2014/main" id="{611944AB-E908-14ED-1D4E-5D862C28C694}"/>
              </a:ext>
            </a:extLst>
          </p:cNvPr>
          <p:cNvSpPr/>
          <p:nvPr/>
        </p:nvSpPr>
        <p:spPr>
          <a:xfrm>
            <a:off x="8580504" y="5679774"/>
            <a:ext cx="2873538" cy="307777"/>
          </a:xfrm>
          <a:prstGeom prst="rect">
            <a:avLst/>
          </a:prstGeom>
          <a:noFill/>
        </p:spPr>
        <p:txBody>
          <a:bodyPr wrap="square" lIns="91440" tIns="45720" rIns="91440" bIns="45720">
            <a:spAutoFit/>
          </a:bodyPr>
          <a:lstStyle/>
          <a:p>
            <a:r>
              <a:rPr lang="en-US" sz="1400">
                <a:solidFill>
                  <a:srgbClr val="40B4FD"/>
                </a:solidFill>
                <a:effectLst/>
                <a:latin typeface="Roboto" pitchFamily="2" charset="0"/>
                <a:ea typeface="Roboto" pitchFamily="2" charset="0"/>
              </a:rPr>
              <a:t>Let’s talk!</a:t>
            </a:r>
            <a:endParaRPr lang="en-US" sz="1400" cap="none" spc="0">
              <a:ln w="0"/>
              <a:solidFill>
                <a:srgbClr val="40B4FD"/>
              </a:solidFill>
              <a:effectLst/>
              <a:latin typeface="Roboto" pitchFamily="2" charset="0"/>
              <a:ea typeface="Roboto" pitchFamily="2" charset="0"/>
            </a:endParaRPr>
          </a:p>
        </p:txBody>
      </p:sp>
      <p:pic>
        <p:nvPicPr>
          <p:cNvPr id="39" name="Picture 38">
            <a:extLst>
              <a:ext uri="{FF2B5EF4-FFF2-40B4-BE49-F238E27FC236}">
                <a16:creationId xmlns:a16="http://schemas.microsoft.com/office/drawing/2014/main" id="{5B93102F-F83F-214C-5D1B-82AAED56E2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9637" y="5749274"/>
            <a:ext cx="85598" cy="140625"/>
          </a:xfrm>
          <a:prstGeom prst="rect">
            <a:avLst/>
          </a:prstGeom>
        </p:spPr>
      </p:pic>
      <p:sp>
        <p:nvSpPr>
          <p:cNvPr id="2" name="TextBox 1">
            <a:extLst>
              <a:ext uri="{FF2B5EF4-FFF2-40B4-BE49-F238E27FC236}">
                <a16:creationId xmlns:a16="http://schemas.microsoft.com/office/drawing/2014/main" id="{C23D743B-5AA2-FE49-EEA4-6BD89A4A0AB9}"/>
              </a:ext>
            </a:extLst>
          </p:cNvPr>
          <p:cNvSpPr txBox="1"/>
          <p:nvPr/>
        </p:nvSpPr>
        <p:spPr>
          <a:xfrm>
            <a:off x="1093167" y="3156952"/>
            <a:ext cx="43480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60% </a:t>
            </a:r>
            <a:r>
              <a:rPr lang="en-US">
                <a:solidFill>
                  <a:srgbClr val="000000"/>
                </a:solidFill>
              </a:rPr>
              <a:t>fewer</a:t>
            </a:r>
            <a:r>
              <a:rPr lang="en-US"/>
              <a:t> denials</a:t>
            </a:r>
          </a:p>
        </p:txBody>
      </p:sp>
      <p:sp>
        <p:nvSpPr>
          <p:cNvPr id="3" name="TextBox 2">
            <a:extLst>
              <a:ext uri="{FF2B5EF4-FFF2-40B4-BE49-F238E27FC236}">
                <a16:creationId xmlns:a16="http://schemas.microsoft.com/office/drawing/2014/main" id="{C852E069-0521-1E69-B378-1C998924065F}"/>
              </a:ext>
            </a:extLst>
          </p:cNvPr>
          <p:cNvSpPr txBox="1"/>
          <p:nvPr/>
        </p:nvSpPr>
        <p:spPr>
          <a:xfrm>
            <a:off x="1093168" y="4154810"/>
            <a:ext cx="3618624"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85% </a:t>
            </a:r>
            <a:r>
              <a:rPr lang="en-US">
                <a:solidFill>
                  <a:srgbClr val="000000"/>
                </a:solidFill>
              </a:rPr>
              <a:t>faster processing</a:t>
            </a:r>
            <a:endParaRPr lang="en-US" err="1"/>
          </a:p>
        </p:txBody>
      </p:sp>
      <p:sp>
        <p:nvSpPr>
          <p:cNvPr id="4" name="TextBox 3">
            <a:extLst>
              <a:ext uri="{FF2B5EF4-FFF2-40B4-BE49-F238E27FC236}">
                <a16:creationId xmlns:a16="http://schemas.microsoft.com/office/drawing/2014/main" id="{3F405600-B5BF-2CA6-5F6A-82E489FE1544}"/>
              </a:ext>
            </a:extLst>
          </p:cNvPr>
          <p:cNvSpPr txBox="1"/>
          <p:nvPr/>
        </p:nvSpPr>
        <p:spPr>
          <a:xfrm>
            <a:off x="1101723" y="5152667"/>
            <a:ext cx="3491991"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6-figure impact</a:t>
            </a:r>
            <a:r>
              <a:rPr lang="en-US" sz="2000">
                <a:solidFill>
                  <a:srgbClr val="0058FF"/>
                </a:solidFill>
              </a:rPr>
              <a:t> </a:t>
            </a:r>
            <a:r>
              <a:rPr lang="en-US"/>
              <a:t>per high-volume use case</a:t>
            </a:r>
          </a:p>
        </p:txBody>
      </p:sp>
      <p:sp>
        <p:nvSpPr>
          <p:cNvPr id="5" name="TextBox 4">
            <a:extLst>
              <a:ext uri="{FF2B5EF4-FFF2-40B4-BE49-F238E27FC236}">
                <a16:creationId xmlns:a16="http://schemas.microsoft.com/office/drawing/2014/main" id="{906F5AC8-D056-5BA3-D7C2-20E05E7C9555}"/>
              </a:ext>
            </a:extLst>
          </p:cNvPr>
          <p:cNvSpPr txBox="1"/>
          <p:nvPr/>
        </p:nvSpPr>
        <p:spPr>
          <a:xfrm>
            <a:off x="1093168" y="2128316"/>
            <a:ext cx="369345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8FF"/>
                </a:solidFill>
              </a:rPr>
              <a:t>24/7</a:t>
            </a:r>
            <a:r>
              <a:rPr lang="en-US" sz="2000">
                <a:solidFill>
                  <a:srgbClr val="0058FF"/>
                </a:solidFill>
              </a:rPr>
              <a:t> </a:t>
            </a:r>
            <a:r>
              <a:rPr lang="en-US"/>
              <a:t>AI assistance</a:t>
            </a:r>
          </a:p>
        </p:txBody>
      </p:sp>
      <p:sp>
        <p:nvSpPr>
          <p:cNvPr id="7" name="Oval 6">
            <a:extLst>
              <a:ext uri="{FF2B5EF4-FFF2-40B4-BE49-F238E27FC236}">
                <a16:creationId xmlns:a16="http://schemas.microsoft.com/office/drawing/2014/main" id="{D91382DA-AD6C-8DB0-8A9A-BC62AE0D3A39}"/>
              </a:ext>
            </a:extLst>
          </p:cNvPr>
          <p:cNvSpPr>
            <a:spLocks noChangeAspect="1"/>
          </p:cNvSpPr>
          <p:nvPr/>
        </p:nvSpPr>
        <p:spPr>
          <a:xfrm>
            <a:off x="701520" y="2209391"/>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303D4BEF-6C1A-62E0-4EBA-D1DEA93F9C0F}"/>
              </a:ext>
            </a:extLst>
          </p:cNvPr>
          <p:cNvCxnSpPr>
            <a:cxnSpLocks/>
          </p:cNvCxnSpPr>
          <p:nvPr/>
        </p:nvCxnSpPr>
        <p:spPr>
          <a:xfrm>
            <a:off x="792960" y="2542164"/>
            <a:ext cx="0" cy="54864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D50BC99A-841F-11E8-1995-B776A1FF1939}"/>
              </a:ext>
            </a:extLst>
          </p:cNvPr>
          <p:cNvSpPr>
            <a:spLocks noChangeAspect="1"/>
          </p:cNvSpPr>
          <p:nvPr/>
        </p:nvSpPr>
        <p:spPr>
          <a:xfrm>
            <a:off x="701520" y="3240697"/>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37B81A22-BD1D-F34F-B68C-4B4D59F20704}"/>
              </a:ext>
            </a:extLst>
          </p:cNvPr>
          <p:cNvCxnSpPr>
            <a:cxnSpLocks/>
          </p:cNvCxnSpPr>
          <p:nvPr/>
        </p:nvCxnSpPr>
        <p:spPr>
          <a:xfrm>
            <a:off x="792960" y="3573470"/>
            <a:ext cx="0" cy="54864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Oval 23">
            <a:extLst>
              <a:ext uri="{FF2B5EF4-FFF2-40B4-BE49-F238E27FC236}">
                <a16:creationId xmlns:a16="http://schemas.microsoft.com/office/drawing/2014/main" id="{DF6573F6-88CC-62BB-509F-4046C0E91948}"/>
              </a:ext>
            </a:extLst>
          </p:cNvPr>
          <p:cNvSpPr>
            <a:spLocks noChangeAspect="1"/>
          </p:cNvSpPr>
          <p:nvPr/>
        </p:nvSpPr>
        <p:spPr>
          <a:xfrm>
            <a:off x="701520" y="4272003"/>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E00125BF-EC60-B078-9341-4CD9FC838F9A}"/>
              </a:ext>
            </a:extLst>
          </p:cNvPr>
          <p:cNvCxnSpPr>
            <a:cxnSpLocks/>
          </p:cNvCxnSpPr>
          <p:nvPr/>
        </p:nvCxnSpPr>
        <p:spPr>
          <a:xfrm>
            <a:off x="792960" y="4604776"/>
            <a:ext cx="0" cy="54864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8" name="Oval 27">
            <a:extLst>
              <a:ext uri="{FF2B5EF4-FFF2-40B4-BE49-F238E27FC236}">
                <a16:creationId xmlns:a16="http://schemas.microsoft.com/office/drawing/2014/main" id="{5AF69DE2-5CFD-19D5-036A-AFEA5383CD84}"/>
              </a:ext>
            </a:extLst>
          </p:cNvPr>
          <p:cNvSpPr>
            <a:spLocks noChangeAspect="1"/>
          </p:cNvSpPr>
          <p:nvPr/>
        </p:nvSpPr>
        <p:spPr>
          <a:xfrm>
            <a:off x="701520" y="5303309"/>
            <a:ext cx="182880" cy="182880"/>
          </a:xfrm>
          <a:prstGeom prst="ellipse">
            <a:avLst/>
          </a:prstGeom>
          <a:solidFill>
            <a:schemeClr val="bg1">
              <a:lumMod val="7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logo in a circle&#10;&#10;AI-generated content may be incorrect.">
            <a:extLst>
              <a:ext uri="{FF2B5EF4-FFF2-40B4-BE49-F238E27FC236}">
                <a16:creationId xmlns:a16="http://schemas.microsoft.com/office/drawing/2014/main" id="{2148B1E4-E0FA-4406-55E9-AC9D4076B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01400" y="0"/>
            <a:ext cx="1190600" cy="1125806"/>
          </a:xfrm>
          <a:prstGeom prst="rect">
            <a:avLst/>
          </a:prstGeom>
        </p:spPr>
      </p:pic>
    </p:spTree>
    <p:extLst>
      <p:ext uri="{BB962C8B-B14F-4D97-AF65-F5344CB8AC3E}">
        <p14:creationId xmlns:p14="http://schemas.microsoft.com/office/powerpoint/2010/main" val="30665832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2ED34-73D6-DF30-C913-88308A77B0C3}"/>
            </a:ext>
          </a:extLst>
        </p:cNvPr>
        <p:cNvGrpSpPr/>
        <p:nvPr/>
      </p:nvGrpSpPr>
      <p:grpSpPr>
        <a:xfrm>
          <a:off x="0" y="0"/>
          <a:ext cx="0" cy="0"/>
          <a:chOff x="0" y="0"/>
          <a:chExt cx="0" cy="0"/>
        </a:xfrm>
      </p:grpSpPr>
      <p:cxnSp>
        <p:nvCxnSpPr>
          <p:cNvPr id="1477" name="Straight Connector 1476">
            <a:extLst>
              <a:ext uri="{FF2B5EF4-FFF2-40B4-BE49-F238E27FC236}">
                <a16:creationId xmlns:a16="http://schemas.microsoft.com/office/drawing/2014/main" id="{AAC7B55A-5593-B16E-65B5-0979CA9B32CB}"/>
              </a:ext>
            </a:extLst>
          </p:cNvPr>
          <p:cNvCxnSpPr/>
          <p:nvPr/>
        </p:nvCxnSpPr>
        <p:spPr>
          <a:xfrm flipV="1">
            <a:off x="5797633" y="1776739"/>
            <a:ext cx="209479" cy="438125"/>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78" name="Straight Connector 1477">
            <a:extLst>
              <a:ext uri="{FF2B5EF4-FFF2-40B4-BE49-F238E27FC236}">
                <a16:creationId xmlns:a16="http://schemas.microsoft.com/office/drawing/2014/main" id="{7DD37162-5826-D267-27BA-5AC6A2D6F8E5}"/>
              </a:ext>
            </a:extLst>
          </p:cNvPr>
          <p:cNvCxnSpPr>
            <a:cxnSpLocks/>
          </p:cNvCxnSpPr>
          <p:nvPr/>
        </p:nvCxnSpPr>
        <p:spPr>
          <a:xfrm flipV="1">
            <a:off x="6147257" y="1970107"/>
            <a:ext cx="540837" cy="439740"/>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0" name="Straight Connector 1479">
            <a:extLst>
              <a:ext uri="{FF2B5EF4-FFF2-40B4-BE49-F238E27FC236}">
                <a16:creationId xmlns:a16="http://schemas.microsoft.com/office/drawing/2014/main" id="{E6FA669A-7FEA-B2AA-6E2B-2059DA62EAC1}"/>
              </a:ext>
            </a:extLst>
          </p:cNvPr>
          <p:cNvCxnSpPr>
            <a:cxnSpLocks/>
          </p:cNvCxnSpPr>
          <p:nvPr/>
        </p:nvCxnSpPr>
        <p:spPr>
          <a:xfrm flipV="1">
            <a:off x="6456540" y="2511592"/>
            <a:ext cx="823379" cy="214260"/>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3" name="Straight Connector 1482">
            <a:extLst>
              <a:ext uri="{FF2B5EF4-FFF2-40B4-BE49-F238E27FC236}">
                <a16:creationId xmlns:a16="http://schemas.microsoft.com/office/drawing/2014/main" id="{8D33152D-D255-4396-5585-9D2BE55CEEB6}"/>
              </a:ext>
            </a:extLst>
          </p:cNvPr>
          <p:cNvCxnSpPr>
            <a:cxnSpLocks/>
          </p:cNvCxnSpPr>
          <p:nvPr/>
        </p:nvCxnSpPr>
        <p:spPr>
          <a:xfrm>
            <a:off x="6596240" y="3103677"/>
            <a:ext cx="973287" cy="70765"/>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5" name="Straight Connector 1484">
            <a:extLst>
              <a:ext uri="{FF2B5EF4-FFF2-40B4-BE49-F238E27FC236}">
                <a16:creationId xmlns:a16="http://schemas.microsoft.com/office/drawing/2014/main" id="{7FBB865C-9CA4-FC13-3102-2CB3DA095A0A}"/>
              </a:ext>
            </a:extLst>
          </p:cNvPr>
          <p:cNvCxnSpPr>
            <a:cxnSpLocks/>
          </p:cNvCxnSpPr>
          <p:nvPr/>
        </p:nvCxnSpPr>
        <p:spPr>
          <a:xfrm>
            <a:off x="6602590" y="3503727"/>
            <a:ext cx="839534" cy="341271"/>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7" name="Straight Connector 1486">
            <a:extLst>
              <a:ext uri="{FF2B5EF4-FFF2-40B4-BE49-F238E27FC236}">
                <a16:creationId xmlns:a16="http://schemas.microsoft.com/office/drawing/2014/main" id="{A4EC0222-1D1D-05EE-4AF1-F96BCEBC1066}"/>
              </a:ext>
            </a:extLst>
          </p:cNvPr>
          <p:cNvCxnSpPr>
            <a:cxnSpLocks/>
          </p:cNvCxnSpPr>
          <p:nvPr/>
        </p:nvCxnSpPr>
        <p:spPr>
          <a:xfrm>
            <a:off x="6494640" y="3932352"/>
            <a:ext cx="495169" cy="501663"/>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489" name="Straight Connector 1488">
            <a:extLst>
              <a:ext uri="{FF2B5EF4-FFF2-40B4-BE49-F238E27FC236}">
                <a16:creationId xmlns:a16="http://schemas.microsoft.com/office/drawing/2014/main" id="{3F74165B-81A6-F55A-D1EF-453CB3C95AFB}"/>
              </a:ext>
            </a:extLst>
          </p:cNvPr>
          <p:cNvCxnSpPr>
            <a:cxnSpLocks/>
            <a:endCxn id="1459" idx="0"/>
          </p:cNvCxnSpPr>
          <p:nvPr/>
        </p:nvCxnSpPr>
        <p:spPr>
          <a:xfrm>
            <a:off x="6183490" y="4113327"/>
            <a:ext cx="175800" cy="485729"/>
          </a:xfrm>
          <a:prstGeom prst="line">
            <a:avLst/>
          </a:prstGeom>
          <a:ln w="9525">
            <a:solidFill>
              <a:schemeClr val="tx2">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65579419-53B4-FF9E-F259-B5BED44C10EE}"/>
              </a:ext>
            </a:extLst>
          </p:cNvPr>
          <p:cNvSpPr/>
          <p:nvPr/>
        </p:nvSpPr>
        <p:spPr>
          <a:xfrm>
            <a:off x="1063353" y="226695"/>
            <a:ext cx="9879814" cy="523220"/>
          </a:xfrm>
          <a:prstGeom prst="rect">
            <a:avLst/>
          </a:prstGeom>
          <a:noFill/>
        </p:spPr>
        <p:txBody>
          <a:bodyPr wrap="square" lIns="91440" tIns="45720" rIns="91440" bIns="45720" anchor="t">
            <a:spAutoFit/>
          </a:bodyPr>
          <a:lstStyle/>
          <a:p>
            <a:r>
              <a:rPr lang="en-US" sz="2800" err="1">
                <a:solidFill>
                  <a:srgbClr val="FF0000"/>
                </a:solidFill>
                <a:effectLst/>
                <a:latin typeface="Roboto Medium"/>
                <a:ea typeface="Roboto Medium"/>
                <a:cs typeface="Roboto Medium"/>
              </a:rPr>
              <a:t>Accelirate’s</a:t>
            </a:r>
            <a:r>
              <a:rPr lang="en-US" sz="2800">
                <a:solidFill>
                  <a:srgbClr val="FF0000"/>
                </a:solidFill>
                <a:effectLst/>
                <a:latin typeface="Roboto Medium"/>
                <a:ea typeface="Roboto Medium"/>
                <a:cs typeface="Roboto Medium"/>
              </a:rPr>
              <a:t> </a:t>
            </a:r>
            <a:r>
              <a:rPr lang="en-US" sz="2800">
                <a:solidFill>
                  <a:srgbClr val="FF0000"/>
                </a:solidFill>
                <a:latin typeface="Roboto Medium"/>
                <a:ea typeface="Roboto Medium"/>
                <a:cs typeface="Roboto Medium"/>
              </a:rPr>
              <a:t>Healthcare</a:t>
            </a:r>
            <a:r>
              <a:rPr lang="en-US" sz="2800">
                <a:solidFill>
                  <a:srgbClr val="FF0000"/>
                </a:solidFill>
                <a:effectLst/>
                <a:latin typeface="Roboto Medium"/>
                <a:ea typeface="Roboto Medium"/>
                <a:cs typeface="Roboto Medium"/>
              </a:rPr>
              <a:t> </a:t>
            </a:r>
            <a:r>
              <a:rPr lang="en-US" sz="2800">
                <a:solidFill>
                  <a:srgbClr val="FF0000"/>
                </a:solidFill>
                <a:latin typeface="Roboto Medium"/>
                <a:ea typeface="Roboto Medium"/>
                <a:cs typeface="Roboto Medium"/>
              </a:rPr>
              <a:t>Transformation Solutions Roadmap</a:t>
            </a:r>
            <a:endParaRPr lang="en-US" sz="2800" cap="none" spc="0">
              <a:ln w="0"/>
              <a:solidFill>
                <a:srgbClr val="FF0000"/>
              </a:solidFill>
              <a:effectLst/>
              <a:latin typeface="Roboto Medium"/>
              <a:ea typeface="Roboto Medium"/>
              <a:cs typeface="Roboto Medium"/>
            </a:endParaRPr>
          </a:p>
        </p:txBody>
      </p:sp>
      <p:sp>
        <p:nvSpPr>
          <p:cNvPr id="37" name="TextBox 36">
            <a:extLst>
              <a:ext uri="{FF2B5EF4-FFF2-40B4-BE49-F238E27FC236}">
                <a16:creationId xmlns:a16="http://schemas.microsoft.com/office/drawing/2014/main" id="{39360A85-D0C4-B741-DB46-61E21A978801}"/>
              </a:ext>
            </a:extLst>
          </p:cNvPr>
          <p:cNvSpPr txBox="1"/>
          <p:nvPr/>
        </p:nvSpPr>
        <p:spPr>
          <a:xfrm>
            <a:off x="4632261" y="4051679"/>
            <a:ext cx="1471039" cy="400110"/>
          </a:xfrm>
          <a:prstGeom prst="rect">
            <a:avLst/>
          </a:prstGeom>
          <a:noFill/>
        </p:spPr>
        <p:txBody>
          <a:bodyPr wrap="square" rtlCol="0">
            <a:spAutoFit/>
          </a:bodyPr>
          <a:lstStyle/>
          <a:p>
            <a:r>
              <a:rPr lang="en-US" sz="1000" b="1">
                <a:solidFill>
                  <a:schemeClr val="bg1"/>
                </a:solidFill>
              </a:rPr>
              <a:t>Information &amp; Technology</a:t>
            </a:r>
          </a:p>
        </p:txBody>
      </p:sp>
      <p:sp>
        <p:nvSpPr>
          <p:cNvPr id="11" name="Freeform 10">
            <a:extLst>
              <a:ext uri="{FF2B5EF4-FFF2-40B4-BE49-F238E27FC236}">
                <a16:creationId xmlns:a16="http://schemas.microsoft.com/office/drawing/2014/main" id="{2D21B9F8-C430-DEAB-7C30-36261ED9EF4F}"/>
              </a:ext>
            </a:extLst>
          </p:cNvPr>
          <p:cNvSpPr/>
          <p:nvPr/>
        </p:nvSpPr>
        <p:spPr>
          <a:xfrm rot="341262">
            <a:off x="4143845" y="4126534"/>
            <a:ext cx="1706855" cy="1625571"/>
          </a:xfrm>
          <a:custGeom>
            <a:avLst/>
            <a:gdLst>
              <a:gd name="connsiteX0" fmla="*/ 359583 w 1706855"/>
              <a:gd name="connsiteY0" fmla="*/ 88135 h 1625571"/>
              <a:gd name="connsiteX1" fmla="*/ 35125 w 1706855"/>
              <a:gd name="connsiteY1" fmla="*/ 649562 h 1625571"/>
              <a:gd name="connsiteX2" fmla="*/ 34090 w 1706855"/>
              <a:gd name="connsiteY2" fmla="*/ 816126 h 1625571"/>
              <a:gd name="connsiteX3" fmla="*/ 809190 w 1706855"/>
              <a:gd name="connsiteY3" fmla="*/ 1591226 h 1625571"/>
              <a:gd name="connsiteX4" fmla="*/ 974719 w 1706855"/>
              <a:gd name="connsiteY4" fmla="*/ 1591485 h 1625571"/>
              <a:gd name="connsiteX5" fmla="*/ 1705686 w 1706855"/>
              <a:gd name="connsiteY5" fmla="*/ 133044 h 1625571"/>
              <a:gd name="connsiteX6" fmla="*/ 1589596 w 1706855"/>
              <a:gd name="connsiteY6" fmla="*/ 0 h 1625571"/>
              <a:gd name="connsiteX7" fmla="*/ 473085 w 1706855"/>
              <a:gd name="connsiteY7" fmla="*/ 0 h 1625571"/>
              <a:gd name="connsiteX8" fmla="*/ 359712 w 1706855"/>
              <a:gd name="connsiteY8" fmla="*/ 88135 h 162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55" h="1625571">
                <a:moveTo>
                  <a:pt x="359583" y="88135"/>
                </a:moveTo>
                <a:cubicBezTo>
                  <a:pt x="302508" y="304009"/>
                  <a:pt x="188748" y="496716"/>
                  <a:pt x="35125" y="649562"/>
                </a:cubicBezTo>
                <a:cubicBezTo>
                  <a:pt x="-11078" y="695506"/>
                  <a:pt x="-11984" y="769923"/>
                  <a:pt x="34090" y="816126"/>
                </a:cubicBezTo>
                <a:lnTo>
                  <a:pt x="809190" y="1591226"/>
                </a:lnTo>
                <a:cubicBezTo>
                  <a:pt x="854875" y="1636911"/>
                  <a:pt x="928904" y="1637041"/>
                  <a:pt x="974719" y="1591485"/>
                </a:cubicBezTo>
                <a:cubicBezTo>
                  <a:pt x="1361039" y="1206588"/>
                  <a:pt x="1625575" y="699518"/>
                  <a:pt x="1705686" y="133044"/>
                </a:cubicBezTo>
                <a:cubicBezTo>
                  <a:pt x="1715652" y="62769"/>
                  <a:pt x="1660648" y="0"/>
                  <a:pt x="1589596" y="0"/>
                </a:cubicBezTo>
                <a:lnTo>
                  <a:pt x="473085" y="0"/>
                </a:lnTo>
                <a:cubicBezTo>
                  <a:pt x="419504" y="0"/>
                  <a:pt x="373431" y="36497"/>
                  <a:pt x="359712" y="88135"/>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3" name="Freeform 12">
            <a:extLst>
              <a:ext uri="{FF2B5EF4-FFF2-40B4-BE49-F238E27FC236}">
                <a16:creationId xmlns:a16="http://schemas.microsoft.com/office/drawing/2014/main" id="{761BA444-0794-48EF-88FB-BC94E735A3AB}"/>
              </a:ext>
            </a:extLst>
          </p:cNvPr>
          <p:cNvSpPr/>
          <p:nvPr/>
        </p:nvSpPr>
        <p:spPr>
          <a:xfrm rot="341262">
            <a:off x="4503393" y="2277675"/>
            <a:ext cx="1546741" cy="1819919"/>
          </a:xfrm>
          <a:custGeom>
            <a:avLst/>
            <a:gdLst>
              <a:gd name="connsiteX0" fmla="*/ 34074 w 1546741"/>
              <a:gd name="connsiteY0" fmla="*/ 819239 h 1819919"/>
              <a:gd name="connsiteX1" fmla="*/ 19191 w 1546741"/>
              <a:gd name="connsiteY1" fmla="*/ 966520 h 1819919"/>
              <a:gd name="connsiteX2" fmla="*/ 216298 w 1546741"/>
              <a:gd name="connsiteY2" fmla="*/ 1637825 h 1819919"/>
              <a:gd name="connsiteX3" fmla="*/ 214875 w 1546741"/>
              <a:gd name="connsiteY3" fmla="*/ 1698523 h 1819919"/>
              <a:gd name="connsiteX4" fmla="*/ 331871 w 1546741"/>
              <a:gd name="connsiteY4" fmla="*/ 1819919 h 1819919"/>
              <a:gd name="connsiteX5" fmla="*/ 1428711 w 1546741"/>
              <a:gd name="connsiteY5" fmla="*/ 1819919 h 1819919"/>
              <a:gd name="connsiteX6" fmla="*/ 1545836 w 1546741"/>
              <a:gd name="connsiteY6" fmla="*/ 1706029 h 1819919"/>
              <a:gd name="connsiteX7" fmla="*/ 1546742 w 1546741"/>
              <a:gd name="connsiteY7" fmla="*/ 1637695 h 1819919"/>
              <a:gd name="connsiteX8" fmla="*/ 993469 w 1546741"/>
              <a:gd name="connsiteY8" fmla="*/ 44269 h 1819919"/>
              <a:gd name="connsiteX9" fmla="*/ 818880 w 1546741"/>
              <a:gd name="connsiteY9" fmla="*/ 34433 h 1819919"/>
              <a:gd name="connsiteX10" fmla="*/ 34074 w 1546741"/>
              <a:gd name="connsiteY10" fmla="*/ 819239 h 181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6741" h="1819919">
                <a:moveTo>
                  <a:pt x="34074" y="819239"/>
                </a:moveTo>
                <a:cubicBezTo>
                  <a:pt x="-5270" y="858583"/>
                  <a:pt x="-10964" y="919799"/>
                  <a:pt x="19191" y="966520"/>
                </a:cubicBezTo>
                <a:cubicBezTo>
                  <a:pt x="143952" y="1160004"/>
                  <a:pt x="216298" y="1390502"/>
                  <a:pt x="216298" y="1637825"/>
                </a:cubicBezTo>
                <a:cubicBezTo>
                  <a:pt x="216298" y="1658144"/>
                  <a:pt x="215781" y="1678463"/>
                  <a:pt x="214875" y="1698523"/>
                </a:cubicBezTo>
                <a:cubicBezTo>
                  <a:pt x="211639" y="1764786"/>
                  <a:pt x="265478" y="1819919"/>
                  <a:pt x="331871" y="1819919"/>
                </a:cubicBezTo>
                <a:lnTo>
                  <a:pt x="1428711" y="1819919"/>
                </a:lnTo>
                <a:cubicBezTo>
                  <a:pt x="1492127" y="1819919"/>
                  <a:pt x="1544153" y="1769445"/>
                  <a:pt x="1545836" y="1706029"/>
                </a:cubicBezTo>
                <a:cubicBezTo>
                  <a:pt x="1546483" y="1683381"/>
                  <a:pt x="1546742" y="1660603"/>
                  <a:pt x="1546742" y="1637695"/>
                </a:cubicBezTo>
                <a:cubicBezTo>
                  <a:pt x="1546742" y="1035890"/>
                  <a:pt x="1339928" y="482358"/>
                  <a:pt x="993469" y="44269"/>
                </a:cubicBezTo>
                <a:cubicBezTo>
                  <a:pt x="950113" y="-10605"/>
                  <a:pt x="868319" y="-15135"/>
                  <a:pt x="818880" y="34433"/>
                </a:cubicBezTo>
                <a:lnTo>
                  <a:pt x="34074" y="819239"/>
                </a:lnTo>
                <a:close/>
              </a:path>
            </a:pathLst>
          </a:custGeom>
          <a:solidFill>
            <a:srgbClr val="1B1D85"/>
          </a:solidFill>
          <a:ln w="1293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8712FE95-E852-29FC-50A3-3B25A3ACC03C}"/>
              </a:ext>
            </a:extLst>
          </p:cNvPr>
          <p:cNvSpPr/>
          <p:nvPr/>
        </p:nvSpPr>
        <p:spPr>
          <a:xfrm rot="341262">
            <a:off x="1604128" y="4667099"/>
            <a:ext cx="1613700" cy="1542448"/>
          </a:xfrm>
          <a:custGeom>
            <a:avLst/>
            <a:gdLst>
              <a:gd name="connsiteX0" fmla="*/ 1509776 w 1613700"/>
              <a:gd name="connsiteY0" fmla="*/ 209749 h 1542448"/>
              <a:gd name="connsiteX1" fmla="*/ 966598 w 1613700"/>
              <a:gd name="connsiteY1" fmla="*/ 19241 h 1542448"/>
              <a:gd name="connsiteX2" fmla="*/ 819188 w 1613700"/>
              <a:gd name="connsiteY2" fmla="*/ 33995 h 1542448"/>
              <a:gd name="connsiteX3" fmla="*/ 34381 w 1613700"/>
              <a:gd name="connsiteY3" fmla="*/ 818802 h 1542448"/>
              <a:gd name="connsiteX4" fmla="*/ 44217 w 1613700"/>
              <a:gd name="connsiteY4" fmla="*/ 993261 h 1542448"/>
              <a:gd name="connsiteX5" fmla="*/ 1490233 w 1613700"/>
              <a:gd name="connsiteY5" fmla="*/ 1542263 h 1542448"/>
              <a:gd name="connsiteX6" fmla="*/ 1613701 w 1613700"/>
              <a:gd name="connsiteY6" fmla="*/ 1425267 h 1542448"/>
              <a:gd name="connsiteX7" fmla="*/ 1613701 w 1613700"/>
              <a:gd name="connsiteY7" fmla="*/ 325968 h 1542448"/>
              <a:gd name="connsiteX8" fmla="*/ 1509776 w 1613700"/>
              <a:gd name="connsiteY8" fmla="*/ 209619 h 154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3700" h="1542448">
                <a:moveTo>
                  <a:pt x="1509776" y="209749"/>
                </a:moveTo>
                <a:cubicBezTo>
                  <a:pt x="1311115" y="189429"/>
                  <a:pt x="1126303" y="122131"/>
                  <a:pt x="966598" y="19241"/>
                </a:cubicBezTo>
                <a:cubicBezTo>
                  <a:pt x="919748" y="-10914"/>
                  <a:pt x="858532" y="-5349"/>
                  <a:pt x="819188" y="33995"/>
                </a:cubicBezTo>
                <a:lnTo>
                  <a:pt x="34381" y="818802"/>
                </a:lnTo>
                <a:cubicBezTo>
                  <a:pt x="-15057" y="868240"/>
                  <a:pt x="-10657" y="949905"/>
                  <a:pt x="44217" y="993261"/>
                </a:cubicBezTo>
                <a:cubicBezTo>
                  <a:pt x="446327" y="1311117"/>
                  <a:pt x="945502" y="1511461"/>
                  <a:pt x="1490233" y="1542263"/>
                </a:cubicBezTo>
                <a:cubicBezTo>
                  <a:pt x="1557273" y="1546016"/>
                  <a:pt x="1613701" y="1492436"/>
                  <a:pt x="1613701" y="1425267"/>
                </a:cubicBezTo>
                <a:lnTo>
                  <a:pt x="1613701" y="325968"/>
                </a:lnTo>
                <a:cubicBezTo>
                  <a:pt x="1613701" y="266434"/>
                  <a:pt x="1569051" y="215702"/>
                  <a:pt x="1509776" y="209619"/>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7" name="Freeform 16">
            <a:extLst>
              <a:ext uri="{FF2B5EF4-FFF2-40B4-BE49-F238E27FC236}">
                <a16:creationId xmlns:a16="http://schemas.microsoft.com/office/drawing/2014/main" id="{FA93B326-DBEC-4DF8-9625-298BABB4B1E3}"/>
              </a:ext>
            </a:extLst>
          </p:cNvPr>
          <p:cNvSpPr/>
          <p:nvPr/>
        </p:nvSpPr>
        <p:spPr>
          <a:xfrm rot="341262">
            <a:off x="773759" y="3790885"/>
            <a:ext cx="1706855" cy="1625571"/>
          </a:xfrm>
          <a:custGeom>
            <a:avLst/>
            <a:gdLst>
              <a:gd name="connsiteX0" fmla="*/ 1233901 w 1706855"/>
              <a:gd name="connsiteY0" fmla="*/ 0 h 1625571"/>
              <a:gd name="connsiteX1" fmla="*/ 117260 w 1706855"/>
              <a:gd name="connsiteY1" fmla="*/ 0 h 1625571"/>
              <a:gd name="connsiteX2" fmla="*/ 1169 w 1706855"/>
              <a:gd name="connsiteY2" fmla="*/ 133044 h 1625571"/>
              <a:gd name="connsiteX3" fmla="*/ 732137 w 1706855"/>
              <a:gd name="connsiteY3" fmla="*/ 1591485 h 1625571"/>
              <a:gd name="connsiteX4" fmla="*/ 897666 w 1706855"/>
              <a:gd name="connsiteY4" fmla="*/ 1591226 h 1625571"/>
              <a:gd name="connsiteX5" fmla="*/ 1672766 w 1706855"/>
              <a:gd name="connsiteY5" fmla="*/ 816126 h 1625571"/>
              <a:gd name="connsiteX6" fmla="*/ 1671730 w 1706855"/>
              <a:gd name="connsiteY6" fmla="*/ 649562 h 1625571"/>
              <a:gd name="connsiteX7" fmla="*/ 1347273 w 1706855"/>
              <a:gd name="connsiteY7" fmla="*/ 88135 h 1625571"/>
              <a:gd name="connsiteX8" fmla="*/ 1233901 w 1706855"/>
              <a:gd name="connsiteY8" fmla="*/ 0 h 162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55" h="1625571">
                <a:moveTo>
                  <a:pt x="1233901" y="0"/>
                </a:moveTo>
                <a:lnTo>
                  <a:pt x="117260" y="0"/>
                </a:lnTo>
                <a:cubicBezTo>
                  <a:pt x="46208" y="0"/>
                  <a:pt x="-8796" y="62769"/>
                  <a:pt x="1169" y="133044"/>
                </a:cubicBezTo>
                <a:cubicBezTo>
                  <a:pt x="81281" y="699389"/>
                  <a:pt x="345687" y="1206459"/>
                  <a:pt x="732137" y="1591485"/>
                </a:cubicBezTo>
                <a:cubicBezTo>
                  <a:pt x="777822" y="1637041"/>
                  <a:pt x="851980" y="1636911"/>
                  <a:pt x="897666" y="1591226"/>
                </a:cubicBezTo>
                <a:lnTo>
                  <a:pt x="1672766" y="816126"/>
                </a:lnTo>
                <a:cubicBezTo>
                  <a:pt x="1718839" y="770053"/>
                  <a:pt x="1717934" y="695636"/>
                  <a:pt x="1671730" y="649562"/>
                </a:cubicBezTo>
                <a:cubicBezTo>
                  <a:pt x="1518108" y="496716"/>
                  <a:pt x="1404348" y="304009"/>
                  <a:pt x="1347273" y="88135"/>
                </a:cubicBezTo>
                <a:cubicBezTo>
                  <a:pt x="1333554" y="36367"/>
                  <a:pt x="1287351" y="0"/>
                  <a:pt x="1233901" y="0"/>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8" name="Freeform 17">
            <a:extLst>
              <a:ext uri="{FF2B5EF4-FFF2-40B4-BE49-F238E27FC236}">
                <a16:creationId xmlns:a16="http://schemas.microsoft.com/office/drawing/2014/main" id="{384D066A-079A-C2D4-ADDD-E3C717051B18}"/>
              </a:ext>
            </a:extLst>
          </p:cNvPr>
          <p:cNvSpPr/>
          <p:nvPr/>
        </p:nvSpPr>
        <p:spPr>
          <a:xfrm rot="341262">
            <a:off x="1733268" y="1081728"/>
            <a:ext cx="1831771" cy="1727385"/>
          </a:xfrm>
          <a:custGeom>
            <a:avLst/>
            <a:gdLst>
              <a:gd name="connsiteX0" fmla="*/ 975525 w 1831771"/>
              <a:gd name="connsiteY0" fmla="*/ 1692619 h 1727385"/>
              <a:gd name="connsiteX1" fmla="*/ 1726941 w 1831771"/>
              <a:gd name="connsiteY1" fmla="*/ 1332959 h 1727385"/>
              <a:gd name="connsiteX2" fmla="*/ 1831771 w 1831771"/>
              <a:gd name="connsiteY2" fmla="*/ 1215186 h 1727385"/>
              <a:gd name="connsiteX3" fmla="*/ 1831771 w 1831771"/>
              <a:gd name="connsiteY3" fmla="*/ 117182 h 1727385"/>
              <a:gd name="connsiteX4" fmla="*/ 1708433 w 1831771"/>
              <a:gd name="connsiteY4" fmla="*/ 186 h 1727385"/>
              <a:gd name="connsiteX5" fmla="*/ 33861 w 1831771"/>
              <a:gd name="connsiteY5" fmla="*/ 752767 h 1727385"/>
              <a:gd name="connsiteX6" fmla="*/ 34378 w 1831771"/>
              <a:gd name="connsiteY6" fmla="*/ 917907 h 1727385"/>
              <a:gd name="connsiteX7" fmla="*/ 809607 w 1831771"/>
              <a:gd name="connsiteY7" fmla="*/ 1693137 h 1727385"/>
              <a:gd name="connsiteX8" fmla="*/ 975525 w 1831771"/>
              <a:gd name="connsiteY8" fmla="*/ 1692619 h 172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771" h="1727385">
                <a:moveTo>
                  <a:pt x="975525" y="1692619"/>
                </a:moveTo>
                <a:cubicBezTo>
                  <a:pt x="1171856" y="1494994"/>
                  <a:pt x="1434321" y="1363114"/>
                  <a:pt x="1726941" y="1332959"/>
                </a:cubicBezTo>
                <a:cubicBezTo>
                  <a:pt x="1786862" y="1326747"/>
                  <a:pt x="1831771" y="1275367"/>
                  <a:pt x="1831771" y="1215186"/>
                </a:cubicBezTo>
                <a:lnTo>
                  <a:pt x="1831771" y="117182"/>
                </a:lnTo>
                <a:cubicBezTo>
                  <a:pt x="1831771" y="50013"/>
                  <a:pt x="1775473" y="-3567"/>
                  <a:pt x="1708433" y="186"/>
                </a:cubicBezTo>
                <a:cubicBezTo>
                  <a:pt x="1055248" y="37071"/>
                  <a:pt x="467161" y="317655"/>
                  <a:pt x="33861" y="752767"/>
                </a:cubicBezTo>
                <a:cubicBezTo>
                  <a:pt x="-11566" y="798452"/>
                  <a:pt x="-11178" y="872351"/>
                  <a:pt x="34378" y="917907"/>
                </a:cubicBezTo>
                <a:lnTo>
                  <a:pt x="809607" y="1693137"/>
                </a:lnTo>
                <a:cubicBezTo>
                  <a:pt x="855552" y="1739081"/>
                  <a:pt x="929839" y="1738692"/>
                  <a:pt x="975525" y="1692619"/>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9" name="Freeform 18">
            <a:extLst>
              <a:ext uri="{FF2B5EF4-FFF2-40B4-BE49-F238E27FC236}">
                <a16:creationId xmlns:a16="http://schemas.microsoft.com/office/drawing/2014/main" id="{0F6C8CD6-41AC-4539-EDBF-70555426FB9C}"/>
              </a:ext>
            </a:extLst>
          </p:cNvPr>
          <p:cNvSpPr/>
          <p:nvPr/>
        </p:nvSpPr>
        <p:spPr>
          <a:xfrm rot="341262">
            <a:off x="925307" y="1921407"/>
            <a:ext cx="1546741" cy="1819822"/>
          </a:xfrm>
          <a:custGeom>
            <a:avLst/>
            <a:gdLst>
              <a:gd name="connsiteX0" fmla="*/ 1214871 w 1546741"/>
              <a:gd name="connsiteY0" fmla="*/ 1819823 h 1819822"/>
              <a:gd name="connsiteX1" fmla="*/ 1331867 w 1546741"/>
              <a:gd name="connsiteY1" fmla="*/ 1698426 h 1819822"/>
              <a:gd name="connsiteX2" fmla="*/ 1330444 w 1546741"/>
              <a:gd name="connsiteY2" fmla="*/ 1637728 h 1819822"/>
              <a:gd name="connsiteX3" fmla="*/ 1527551 w 1546741"/>
              <a:gd name="connsiteY3" fmla="*/ 966424 h 1819822"/>
              <a:gd name="connsiteX4" fmla="*/ 1512668 w 1546741"/>
              <a:gd name="connsiteY4" fmla="*/ 819143 h 1819822"/>
              <a:gd name="connsiteX5" fmla="*/ 727861 w 1546741"/>
              <a:gd name="connsiteY5" fmla="*/ 34336 h 1819822"/>
              <a:gd name="connsiteX6" fmla="*/ 553273 w 1546741"/>
              <a:gd name="connsiteY6" fmla="*/ 44172 h 1819822"/>
              <a:gd name="connsiteX7" fmla="*/ 0 w 1546741"/>
              <a:gd name="connsiteY7" fmla="*/ 1637599 h 1819822"/>
              <a:gd name="connsiteX8" fmla="*/ 906 w 1546741"/>
              <a:gd name="connsiteY8" fmla="*/ 1705933 h 1819822"/>
              <a:gd name="connsiteX9" fmla="*/ 118032 w 1546741"/>
              <a:gd name="connsiteY9" fmla="*/ 1819823 h 1819822"/>
              <a:gd name="connsiteX10" fmla="*/ 1214871 w 1546741"/>
              <a:gd name="connsiteY10" fmla="*/ 1819823 h 1819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6741" h="1819822">
                <a:moveTo>
                  <a:pt x="1214871" y="1819823"/>
                </a:moveTo>
                <a:cubicBezTo>
                  <a:pt x="1281264" y="1819823"/>
                  <a:pt x="1335103" y="1764690"/>
                  <a:pt x="1331867" y="1698426"/>
                </a:cubicBezTo>
                <a:cubicBezTo>
                  <a:pt x="1330832" y="1678237"/>
                  <a:pt x="1330444" y="1658047"/>
                  <a:pt x="1330444" y="1637728"/>
                </a:cubicBezTo>
                <a:cubicBezTo>
                  <a:pt x="1330444" y="1390405"/>
                  <a:pt x="1402919" y="1159907"/>
                  <a:pt x="1527551" y="966424"/>
                </a:cubicBezTo>
                <a:cubicBezTo>
                  <a:pt x="1557706" y="919703"/>
                  <a:pt x="1552012" y="858487"/>
                  <a:pt x="1512668" y="819143"/>
                </a:cubicBezTo>
                <a:lnTo>
                  <a:pt x="727861" y="34336"/>
                </a:lnTo>
                <a:cubicBezTo>
                  <a:pt x="678423" y="-15102"/>
                  <a:pt x="596758" y="-10573"/>
                  <a:pt x="553273" y="44172"/>
                </a:cubicBezTo>
                <a:cubicBezTo>
                  <a:pt x="206814" y="482261"/>
                  <a:pt x="0" y="1035793"/>
                  <a:pt x="0" y="1637599"/>
                </a:cubicBezTo>
                <a:cubicBezTo>
                  <a:pt x="0" y="1660506"/>
                  <a:pt x="259" y="1683155"/>
                  <a:pt x="906" y="1705933"/>
                </a:cubicBezTo>
                <a:cubicBezTo>
                  <a:pt x="2588" y="1769349"/>
                  <a:pt x="54615" y="1819823"/>
                  <a:pt x="118032" y="1819823"/>
                </a:cubicBezTo>
                <a:lnTo>
                  <a:pt x="1214871" y="1819823"/>
                </a:ln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0" name="Freeform 19">
            <a:extLst>
              <a:ext uri="{FF2B5EF4-FFF2-40B4-BE49-F238E27FC236}">
                <a16:creationId xmlns:a16="http://schemas.microsoft.com/office/drawing/2014/main" id="{D89BC2A0-08CD-0D80-A729-32C4D389CB02}"/>
              </a:ext>
            </a:extLst>
          </p:cNvPr>
          <p:cNvSpPr/>
          <p:nvPr/>
        </p:nvSpPr>
        <p:spPr>
          <a:xfrm rot="341262">
            <a:off x="3603800" y="1268027"/>
            <a:ext cx="1831771" cy="1727385"/>
          </a:xfrm>
          <a:custGeom>
            <a:avLst/>
            <a:gdLst>
              <a:gd name="connsiteX0" fmla="*/ 104831 w 1831771"/>
              <a:gd name="connsiteY0" fmla="*/ 1332959 h 1727385"/>
              <a:gd name="connsiteX1" fmla="*/ 856247 w 1831771"/>
              <a:gd name="connsiteY1" fmla="*/ 1692619 h 1727385"/>
              <a:gd name="connsiteX2" fmla="*/ 1022164 w 1831771"/>
              <a:gd name="connsiteY2" fmla="*/ 1693137 h 1727385"/>
              <a:gd name="connsiteX3" fmla="*/ 1797393 w 1831771"/>
              <a:gd name="connsiteY3" fmla="*/ 917907 h 1727385"/>
              <a:gd name="connsiteX4" fmla="*/ 1797911 w 1831771"/>
              <a:gd name="connsiteY4" fmla="*/ 752767 h 1727385"/>
              <a:gd name="connsiteX5" fmla="*/ 123338 w 1831771"/>
              <a:gd name="connsiteY5" fmla="*/ 186 h 1727385"/>
              <a:gd name="connsiteX6" fmla="*/ 0 w 1831771"/>
              <a:gd name="connsiteY6" fmla="*/ 117182 h 1727385"/>
              <a:gd name="connsiteX7" fmla="*/ 0 w 1831771"/>
              <a:gd name="connsiteY7" fmla="*/ 1215057 h 1727385"/>
              <a:gd name="connsiteX8" fmla="*/ 104831 w 1831771"/>
              <a:gd name="connsiteY8" fmla="*/ 1332830 h 172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771" h="1727385">
                <a:moveTo>
                  <a:pt x="104831" y="1332959"/>
                </a:moveTo>
                <a:cubicBezTo>
                  <a:pt x="397451" y="1363114"/>
                  <a:pt x="659916" y="1494994"/>
                  <a:pt x="856247" y="1692619"/>
                </a:cubicBezTo>
                <a:cubicBezTo>
                  <a:pt x="901932" y="1738692"/>
                  <a:pt x="976349" y="1739081"/>
                  <a:pt x="1022164" y="1693137"/>
                </a:cubicBezTo>
                <a:lnTo>
                  <a:pt x="1797393" y="917907"/>
                </a:lnTo>
                <a:cubicBezTo>
                  <a:pt x="1842949" y="872351"/>
                  <a:pt x="1843337" y="798323"/>
                  <a:pt x="1797911" y="752767"/>
                </a:cubicBezTo>
                <a:cubicBezTo>
                  <a:pt x="1364611" y="317784"/>
                  <a:pt x="776653" y="37200"/>
                  <a:pt x="123338" y="186"/>
                </a:cubicBezTo>
                <a:cubicBezTo>
                  <a:pt x="56298" y="-3567"/>
                  <a:pt x="0" y="50013"/>
                  <a:pt x="0" y="117182"/>
                </a:cubicBezTo>
                <a:lnTo>
                  <a:pt x="0" y="1215057"/>
                </a:lnTo>
                <a:cubicBezTo>
                  <a:pt x="0" y="1275237"/>
                  <a:pt x="44909" y="1326747"/>
                  <a:pt x="104831" y="1332830"/>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1" name="Freeform 20">
            <a:extLst>
              <a:ext uri="{FF2B5EF4-FFF2-40B4-BE49-F238E27FC236}">
                <a16:creationId xmlns:a16="http://schemas.microsoft.com/office/drawing/2014/main" id="{BB4E8194-A417-B582-0435-8CE0E71D0F1E}"/>
              </a:ext>
            </a:extLst>
          </p:cNvPr>
          <p:cNvSpPr/>
          <p:nvPr/>
        </p:nvSpPr>
        <p:spPr>
          <a:xfrm rot="341262">
            <a:off x="3257521" y="4831900"/>
            <a:ext cx="1613700" cy="1542448"/>
          </a:xfrm>
          <a:custGeom>
            <a:avLst/>
            <a:gdLst>
              <a:gd name="connsiteX0" fmla="*/ 647103 w 1613700"/>
              <a:gd name="connsiteY0" fmla="*/ 19112 h 1542448"/>
              <a:gd name="connsiteX1" fmla="*/ 103925 w 1613700"/>
              <a:gd name="connsiteY1" fmla="*/ 209619 h 1542448"/>
              <a:gd name="connsiteX2" fmla="*/ 0 w 1613700"/>
              <a:gd name="connsiteY2" fmla="*/ 325968 h 1542448"/>
              <a:gd name="connsiteX3" fmla="*/ 0 w 1613700"/>
              <a:gd name="connsiteY3" fmla="*/ 1425267 h 1542448"/>
              <a:gd name="connsiteX4" fmla="*/ 123467 w 1613700"/>
              <a:gd name="connsiteY4" fmla="*/ 1542263 h 1542448"/>
              <a:gd name="connsiteX5" fmla="*/ 1569483 w 1613700"/>
              <a:gd name="connsiteY5" fmla="*/ 993261 h 1542448"/>
              <a:gd name="connsiteX6" fmla="*/ 1579319 w 1613700"/>
              <a:gd name="connsiteY6" fmla="*/ 818802 h 1542448"/>
              <a:gd name="connsiteX7" fmla="*/ 794513 w 1613700"/>
              <a:gd name="connsiteY7" fmla="*/ 33995 h 1542448"/>
              <a:gd name="connsiteX8" fmla="*/ 647103 w 1613700"/>
              <a:gd name="connsiteY8" fmla="*/ 19241 h 154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3700" h="1542448">
                <a:moveTo>
                  <a:pt x="647103" y="19112"/>
                </a:moveTo>
                <a:cubicBezTo>
                  <a:pt x="487398" y="122001"/>
                  <a:pt x="302585" y="189170"/>
                  <a:pt x="103925" y="209619"/>
                </a:cubicBezTo>
                <a:cubicBezTo>
                  <a:pt x="44650" y="215702"/>
                  <a:pt x="0" y="266305"/>
                  <a:pt x="0" y="325968"/>
                </a:cubicBezTo>
                <a:lnTo>
                  <a:pt x="0" y="1425267"/>
                </a:lnTo>
                <a:cubicBezTo>
                  <a:pt x="0" y="1492436"/>
                  <a:pt x="56427" y="1546016"/>
                  <a:pt x="123467" y="1542263"/>
                </a:cubicBezTo>
                <a:cubicBezTo>
                  <a:pt x="668069" y="1511461"/>
                  <a:pt x="1167374" y="1311247"/>
                  <a:pt x="1569483" y="993261"/>
                </a:cubicBezTo>
                <a:cubicBezTo>
                  <a:pt x="1624358" y="949905"/>
                  <a:pt x="1628758" y="868240"/>
                  <a:pt x="1579319" y="818802"/>
                </a:cubicBezTo>
                <a:lnTo>
                  <a:pt x="794513" y="33995"/>
                </a:lnTo>
                <a:cubicBezTo>
                  <a:pt x="755169" y="-5349"/>
                  <a:pt x="693824" y="-10914"/>
                  <a:pt x="647103" y="19241"/>
                </a:cubicBezTo>
                <a:close/>
              </a:path>
            </a:pathLst>
          </a:custGeom>
          <a:solidFill>
            <a:srgbClr val="CFE4FF"/>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2" name="Freeform 21">
            <a:extLst>
              <a:ext uri="{FF2B5EF4-FFF2-40B4-BE49-F238E27FC236}">
                <a16:creationId xmlns:a16="http://schemas.microsoft.com/office/drawing/2014/main" id="{92D77C69-DC2A-1906-1A7F-1CD09FE529F3}"/>
              </a:ext>
            </a:extLst>
          </p:cNvPr>
          <p:cNvSpPr/>
          <p:nvPr/>
        </p:nvSpPr>
        <p:spPr>
          <a:xfrm rot="341262">
            <a:off x="2512050" y="2829997"/>
            <a:ext cx="1807228" cy="1807228"/>
          </a:xfrm>
          <a:custGeom>
            <a:avLst/>
            <a:gdLst>
              <a:gd name="connsiteX0" fmla="*/ 1807229 w 1807228"/>
              <a:gd name="connsiteY0" fmla="*/ 903615 h 1807228"/>
              <a:gd name="connsiteX1" fmla="*/ 903614 w 1807228"/>
              <a:gd name="connsiteY1" fmla="*/ 1807229 h 1807228"/>
              <a:gd name="connsiteX2" fmla="*/ 0 w 1807228"/>
              <a:gd name="connsiteY2" fmla="*/ 903615 h 1807228"/>
              <a:gd name="connsiteX3" fmla="*/ 903614 w 1807228"/>
              <a:gd name="connsiteY3" fmla="*/ 0 h 1807228"/>
              <a:gd name="connsiteX4" fmla="*/ 1807229 w 1807228"/>
              <a:gd name="connsiteY4" fmla="*/ 903615 h 180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7228" h="1807228">
                <a:moveTo>
                  <a:pt x="1807229" y="903615"/>
                </a:moveTo>
                <a:cubicBezTo>
                  <a:pt x="1807229" y="1402667"/>
                  <a:pt x="1402667" y="1807229"/>
                  <a:pt x="903614" y="1807229"/>
                </a:cubicBezTo>
                <a:cubicBezTo>
                  <a:pt x="404562" y="1807229"/>
                  <a:pt x="0" y="1402667"/>
                  <a:pt x="0" y="903615"/>
                </a:cubicBezTo>
                <a:cubicBezTo>
                  <a:pt x="0" y="404562"/>
                  <a:pt x="404562" y="0"/>
                  <a:pt x="903614" y="0"/>
                </a:cubicBezTo>
                <a:cubicBezTo>
                  <a:pt x="1402667" y="0"/>
                  <a:pt x="1807229" y="404562"/>
                  <a:pt x="1807229" y="903615"/>
                </a:cubicBezTo>
                <a:close/>
              </a:path>
            </a:pathLst>
          </a:custGeom>
          <a:solidFill>
            <a:srgbClr val="0751DF"/>
          </a:solidFill>
          <a:ln w="1293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9FB1378B-F2AA-144F-1DBD-80ED6028556F}"/>
              </a:ext>
            </a:extLst>
          </p:cNvPr>
          <p:cNvSpPr/>
          <p:nvPr/>
        </p:nvSpPr>
        <p:spPr>
          <a:xfrm rot="341262">
            <a:off x="3001731" y="2621056"/>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899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9120"/>
                </a:moveTo>
                <a:cubicBezTo>
                  <a:pt x="47239" y="29120"/>
                  <a:pt x="28990" y="47239"/>
                  <a:pt x="28990" y="69628"/>
                </a:cubicBezTo>
                <a:cubicBezTo>
                  <a:pt x="28990" y="92018"/>
                  <a:pt x="47109" y="110137"/>
                  <a:pt x="69499" y="110137"/>
                </a:cubicBezTo>
                <a:cubicBezTo>
                  <a:pt x="91889" y="110137"/>
                  <a:pt x="110007" y="92018"/>
                  <a:pt x="110007" y="69628"/>
                </a:cubicBezTo>
                <a:cubicBezTo>
                  <a:pt x="110007" y="47239"/>
                  <a:pt x="91889" y="29120"/>
                  <a:pt x="69499" y="29120"/>
                </a:cubicBezTo>
                <a:close/>
              </a:path>
            </a:pathLst>
          </a:custGeom>
          <a:solidFill>
            <a:srgbClr val="1B29DC"/>
          </a:solidFill>
          <a:ln w="1293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687DF85-2760-CB0A-68EA-A1A8ABC00B38}"/>
              </a:ext>
            </a:extLst>
          </p:cNvPr>
          <p:cNvSpPr/>
          <p:nvPr/>
        </p:nvSpPr>
        <p:spPr>
          <a:xfrm rot="341262">
            <a:off x="3889435" y="2709468"/>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912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9120"/>
                </a:moveTo>
                <a:cubicBezTo>
                  <a:pt x="47238" y="29120"/>
                  <a:pt x="29120" y="47239"/>
                  <a:pt x="29120" y="69628"/>
                </a:cubicBezTo>
                <a:cubicBezTo>
                  <a:pt x="29120" y="92018"/>
                  <a:pt x="47238" y="110137"/>
                  <a:pt x="69499" y="110137"/>
                </a:cubicBezTo>
                <a:cubicBezTo>
                  <a:pt x="91759" y="110137"/>
                  <a:pt x="110007" y="92018"/>
                  <a:pt x="110007" y="69628"/>
                </a:cubicBezTo>
                <a:cubicBezTo>
                  <a:pt x="110007" y="47239"/>
                  <a:pt x="91888" y="29120"/>
                  <a:pt x="69499" y="29120"/>
                </a:cubicBezTo>
                <a:close/>
              </a:path>
            </a:pathLst>
          </a:custGeom>
          <a:solidFill>
            <a:srgbClr val="0B6EE7"/>
          </a:solidFill>
          <a:ln w="1293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0CAB039A-094C-EBE8-730F-C5F6969CA695}"/>
              </a:ext>
            </a:extLst>
          </p:cNvPr>
          <p:cNvSpPr/>
          <p:nvPr/>
        </p:nvSpPr>
        <p:spPr>
          <a:xfrm rot="341262">
            <a:off x="4443173" y="3493609"/>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8990 h 138997"/>
              <a:gd name="connsiteX6" fmla="*/ 29120 w 138997"/>
              <a:gd name="connsiteY6" fmla="*/ 69499 h 138997"/>
              <a:gd name="connsiteX7" fmla="*/ 69499 w 138997"/>
              <a:gd name="connsiteY7" fmla="*/ 110007 h 138997"/>
              <a:gd name="connsiteX8" fmla="*/ 110007 w 138997"/>
              <a:gd name="connsiteY8" fmla="*/ 69499 h 138997"/>
              <a:gd name="connsiteX9" fmla="*/ 69499 w 138997"/>
              <a:gd name="connsiteY9" fmla="*/ 2899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8990"/>
                </a:moveTo>
                <a:cubicBezTo>
                  <a:pt x="47238" y="28990"/>
                  <a:pt x="29120" y="47109"/>
                  <a:pt x="29120" y="69499"/>
                </a:cubicBezTo>
                <a:cubicBezTo>
                  <a:pt x="29120" y="91889"/>
                  <a:pt x="47238" y="110007"/>
                  <a:pt x="69499" y="110007"/>
                </a:cubicBezTo>
                <a:cubicBezTo>
                  <a:pt x="91759" y="110007"/>
                  <a:pt x="110007" y="91889"/>
                  <a:pt x="110007" y="69499"/>
                </a:cubicBezTo>
                <a:cubicBezTo>
                  <a:pt x="110007" y="47109"/>
                  <a:pt x="91889" y="28990"/>
                  <a:pt x="69499" y="28990"/>
                </a:cubicBezTo>
                <a:close/>
              </a:path>
            </a:pathLst>
          </a:custGeom>
          <a:solidFill>
            <a:srgbClr val="1B29DC"/>
          </a:solidFill>
          <a:ln w="1293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4B7F40B-656C-506A-73B1-38D77BD28694}"/>
              </a:ext>
            </a:extLst>
          </p:cNvPr>
          <p:cNvSpPr/>
          <p:nvPr/>
        </p:nvSpPr>
        <p:spPr>
          <a:xfrm rot="341262">
            <a:off x="4256973" y="4298870"/>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912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7"/>
                  <a:pt x="0" y="69499"/>
                </a:cubicBezTo>
                <a:cubicBezTo>
                  <a:pt x="0" y="31190"/>
                  <a:pt x="31190" y="0"/>
                  <a:pt x="69499" y="0"/>
                </a:cubicBezTo>
                <a:cubicBezTo>
                  <a:pt x="107807" y="0"/>
                  <a:pt x="138998" y="31190"/>
                  <a:pt x="138998" y="69499"/>
                </a:cubicBezTo>
                <a:cubicBezTo>
                  <a:pt x="138998" y="107807"/>
                  <a:pt x="107807" y="138998"/>
                  <a:pt x="69499" y="138998"/>
                </a:cubicBezTo>
                <a:close/>
                <a:moveTo>
                  <a:pt x="69499" y="29120"/>
                </a:moveTo>
                <a:cubicBezTo>
                  <a:pt x="47238" y="29120"/>
                  <a:pt x="29120" y="47239"/>
                  <a:pt x="29120" y="69628"/>
                </a:cubicBezTo>
                <a:cubicBezTo>
                  <a:pt x="29120" y="92018"/>
                  <a:pt x="47238" y="110137"/>
                  <a:pt x="69499" y="110137"/>
                </a:cubicBezTo>
                <a:cubicBezTo>
                  <a:pt x="91759" y="110137"/>
                  <a:pt x="110007" y="92018"/>
                  <a:pt x="110007" y="69628"/>
                </a:cubicBezTo>
                <a:cubicBezTo>
                  <a:pt x="110007" y="47239"/>
                  <a:pt x="91888" y="29120"/>
                  <a:pt x="69499" y="29120"/>
                </a:cubicBezTo>
                <a:close/>
              </a:path>
            </a:pathLst>
          </a:custGeom>
          <a:solidFill>
            <a:srgbClr val="0B6EE7"/>
          </a:solidFill>
          <a:ln w="1293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15F5E323-5AB8-84F7-33A6-C560A50CAF22}"/>
              </a:ext>
            </a:extLst>
          </p:cNvPr>
          <p:cNvSpPr/>
          <p:nvPr/>
        </p:nvSpPr>
        <p:spPr>
          <a:xfrm rot="341262">
            <a:off x="3617466" y="4735001"/>
            <a:ext cx="138997" cy="138997"/>
          </a:xfrm>
          <a:custGeom>
            <a:avLst/>
            <a:gdLst>
              <a:gd name="connsiteX0" fmla="*/ 69499 w 138997"/>
              <a:gd name="connsiteY0" fmla="*/ 138998 h 138997"/>
              <a:gd name="connsiteX1" fmla="*/ 0 w 138997"/>
              <a:gd name="connsiteY1" fmla="*/ 69499 h 138997"/>
              <a:gd name="connsiteX2" fmla="*/ 69499 w 138997"/>
              <a:gd name="connsiteY2" fmla="*/ 0 h 138997"/>
              <a:gd name="connsiteX3" fmla="*/ 138998 w 138997"/>
              <a:gd name="connsiteY3" fmla="*/ 69499 h 138997"/>
              <a:gd name="connsiteX4" fmla="*/ 69499 w 138997"/>
              <a:gd name="connsiteY4" fmla="*/ 138998 h 138997"/>
              <a:gd name="connsiteX5" fmla="*/ 69499 w 138997"/>
              <a:gd name="connsiteY5" fmla="*/ 29120 h 138997"/>
              <a:gd name="connsiteX6" fmla="*/ 29120 w 138997"/>
              <a:gd name="connsiteY6" fmla="*/ 69628 h 138997"/>
              <a:gd name="connsiteX7" fmla="*/ 69499 w 138997"/>
              <a:gd name="connsiteY7" fmla="*/ 110137 h 138997"/>
              <a:gd name="connsiteX8" fmla="*/ 110007 w 138997"/>
              <a:gd name="connsiteY8" fmla="*/ 69628 h 138997"/>
              <a:gd name="connsiteX9" fmla="*/ 69499 w 138997"/>
              <a:gd name="connsiteY9" fmla="*/ 29120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69499" y="138998"/>
                </a:moveTo>
                <a:cubicBezTo>
                  <a:pt x="31190" y="138998"/>
                  <a:pt x="0" y="107808"/>
                  <a:pt x="0" y="69499"/>
                </a:cubicBezTo>
                <a:cubicBezTo>
                  <a:pt x="0" y="31190"/>
                  <a:pt x="31190" y="0"/>
                  <a:pt x="69499" y="0"/>
                </a:cubicBezTo>
                <a:cubicBezTo>
                  <a:pt x="107807" y="0"/>
                  <a:pt x="138998" y="31190"/>
                  <a:pt x="138998" y="69499"/>
                </a:cubicBezTo>
                <a:cubicBezTo>
                  <a:pt x="138998" y="107808"/>
                  <a:pt x="107807" y="138998"/>
                  <a:pt x="69499" y="138998"/>
                </a:cubicBezTo>
                <a:close/>
                <a:moveTo>
                  <a:pt x="69499" y="29120"/>
                </a:moveTo>
                <a:cubicBezTo>
                  <a:pt x="47239" y="29120"/>
                  <a:pt x="29120" y="47239"/>
                  <a:pt x="29120" y="69628"/>
                </a:cubicBezTo>
                <a:cubicBezTo>
                  <a:pt x="29120" y="92018"/>
                  <a:pt x="47239" y="110137"/>
                  <a:pt x="69499" y="110137"/>
                </a:cubicBezTo>
                <a:cubicBezTo>
                  <a:pt x="91759" y="110137"/>
                  <a:pt x="110007" y="92018"/>
                  <a:pt x="110007" y="69628"/>
                </a:cubicBezTo>
                <a:cubicBezTo>
                  <a:pt x="110007" y="47239"/>
                  <a:pt x="91889" y="29120"/>
                  <a:pt x="69499" y="29120"/>
                </a:cubicBezTo>
                <a:close/>
              </a:path>
            </a:pathLst>
          </a:custGeom>
          <a:solidFill>
            <a:srgbClr val="1B29DC"/>
          </a:solidFill>
          <a:ln w="1293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351E15-16C8-5B3B-0FF5-3C64C6941B42}"/>
              </a:ext>
            </a:extLst>
          </p:cNvPr>
          <p:cNvSpPr/>
          <p:nvPr/>
        </p:nvSpPr>
        <p:spPr>
          <a:xfrm rot="341262">
            <a:off x="2303694" y="3280525"/>
            <a:ext cx="138997" cy="138997"/>
          </a:xfrm>
          <a:custGeom>
            <a:avLst/>
            <a:gdLst>
              <a:gd name="connsiteX0" fmla="*/ 0 w 138997"/>
              <a:gd name="connsiteY0" fmla="*/ 69499 h 138997"/>
              <a:gd name="connsiteX1" fmla="*/ 69499 w 138997"/>
              <a:gd name="connsiteY1" fmla="*/ 0 h 138997"/>
              <a:gd name="connsiteX2" fmla="*/ 138998 w 138997"/>
              <a:gd name="connsiteY2" fmla="*/ 69499 h 138997"/>
              <a:gd name="connsiteX3" fmla="*/ 69499 w 138997"/>
              <a:gd name="connsiteY3" fmla="*/ 138998 h 138997"/>
              <a:gd name="connsiteX4" fmla="*/ 0 w 138997"/>
              <a:gd name="connsiteY4" fmla="*/ 69499 h 138997"/>
              <a:gd name="connsiteX5" fmla="*/ 28990 w 138997"/>
              <a:gd name="connsiteY5" fmla="*/ 69499 h 138997"/>
              <a:gd name="connsiteX6" fmla="*/ 69499 w 138997"/>
              <a:gd name="connsiteY6" fmla="*/ 110007 h 138997"/>
              <a:gd name="connsiteX7" fmla="*/ 109878 w 138997"/>
              <a:gd name="connsiteY7" fmla="*/ 69499 h 138997"/>
              <a:gd name="connsiteX8" fmla="*/ 69499 w 138997"/>
              <a:gd name="connsiteY8" fmla="*/ 28990 h 138997"/>
              <a:gd name="connsiteX9" fmla="*/ 28990 w 138997"/>
              <a:gd name="connsiteY9" fmla="*/ 69499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0" y="69499"/>
                </a:moveTo>
                <a:cubicBezTo>
                  <a:pt x="0" y="31190"/>
                  <a:pt x="31190" y="0"/>
                  <a:pt x="69499" y="0"/>
                </a:cubicBezTo>
                <a:cubicBezTo>
                  <a:pt x="107807" y="0"/>
                  <a:pt x="138998" y="31190"/>
                  <a:pt x="138998" y="69499"/>
                </a:cubicBezTo>
                <a:cubicBezTo>
                  <a:pt x="138998" y="107807"/>
                  <a:pt x="107807" y="138998"/>
                  <a:pt x="69499" y="138998"/>
                </a:cubicBezTo>
                <a:cubicBezTo>
                  <a:pt x="31190" y="138998"/>
                  <a:pt x="0" y="107807"/>
                  <a:pt x="0" y="69499"/>
                </a:cubicBezTo>
                <a:close/>
                <a:moveTo>
                  <a:pt x="28990" y="69499"/>
                </a:moveTo>
                <a:cubicBezTo>
                  <a:pt x="28990" y="91759"/>
                  <a:pt x="47109" y="110007"/>
                  <a:pt x="69499" y="110007"/>
                </a:cubicBezTo>
                <a:cubicBezTo>
                  <a:pt x="91889" y="110007"/>
                  <a:pt x="109878" y="91889"/>
                  <a:pt x="109878" y="69499"/>
                </a:cubicBezTo>
                <a:cubicBezTo>
                  <a:pt x="109878" y="47109"/>
                  <a:pt x="91759" y="28990"/>
                  <a:pt x="69499" y="28990"/>
                </a:cubicBezTo>
                <a:cubicBezTo>
                  <a:pt x="47239" y="28990"/>
                  <a:pt x="28990" y="47109"/>
                  <a:pt x="28990" y="69499"/>
                </a:cubicBezTo>
                <a:close/>
              </a:path>
            </a:pathLst>
          </a:custGeom>
          <a:solidFill>
            <a:srgbClr val="0B6EE7"/>
          </a:solidFill>
          <a:ln w="1293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FBD572AE-41C6-CE48-4294-3CEA56AE0E2C}"/>
              </a:ext>
            </a:extLst>
          </p:cNvPr>
          <p:cNvSpPr/>
          <p:nvPr/>
        </p:nvSpPr>
        <p:spPr>
          <a:xfrm rot="341262">
            <a:off x="2327397" y="4106822"/>
            <a:ext cx="138997" cy="138997"/>
          </a:xfrm>
          <a:custGeom>
            <a:avLst/>
            <a:gdLst>
              <a:gd name="connsiteX0" fmla="*/ 0 w 138997"/>
              <a:gd name="connsiteY0" fmla="*/ 69499 h 138997"/>
              <a:gd name="connsiteX1" fmla="*/ 69499 w 138997"/>
              <a:gd name="connsiteY1" fmla="*/ 0 h 138997"/>
              <a:gd name="connsiteX2" fmla="*/ 138998 w 138997"/>
              <a:gd name="connsiteY2" fmla="*/ 69499 h 138997"/>
              <a:gd name="connsiteX3" fmla="*/ 69499 w 138997"/>
              <a:gd name="connsiteY3" fmla="*/ 138998 h 138997"/>
              <a:gd name="connsiteX4" fmla="*/ 0 w 138997"/>
              <a:gd name="connsiteY4" fmla="*/ 69499 h 138997"/>
              <a:gd name="connsiteX5" fmla="*/ 28990 w 138997"/>
              <a:gd name="connsiteY5" fmla="*/ 69499 h 138997"/>
              <a:gd name="connsiteX6" fmla="*/ 69499 w 138997"/>
              <a:gd name="connsiteY6" fmla="*/ 110007 h 138997"/>
              <a:gd name="connsiteX7" fmla="*/ 109878 w 138997"/>
              <a:gd name="connsiteY7" fmla="*/ 69499 h 138997"/>
              <a:gd name="connsiteX8" fmla="*/ 69499 w 138997"/>
              <a:gd name="connsiteY8" fmla="*/ 28990 h 138997"/>
              <a:gd name="connsiteX9" fmla="*/ 28990 w 138997"/>
              <a:gd name="connsiteY9" fmla="*/ 69499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0" y="69499"/>
                </a:moveTo>
                <a:cubicBezTo>
                  <a:pt x="0" y="31190"/>
                  <a:pt x="31190" y="0"/>
                  <a:pt x="69499" y="0"/>
                </a:cubicBezTo>
                <a:cubicBezTo>
                  <a:pt x="107807" y="0"/>
                  <a:pt x="138998" y="31190"/>
                  <a:pt x="138998" y="69499"/>
                </a:cubicBezTo>
                <a:cubicBezTo>
                  <a:pt x="138998" y="107807"/>
                  <a:pt x="107807" y="138998"/>
                  <a:pt x="69499" y="138998"/>
                </a:cubicBezTo>
                <a:cubicBezTo>
                  <a:pt x="31190" y="138998"/>
                  <a:pt x="0" y="107807"/>
                  <a:pt x="0" y="69499"/>
                </a:cubicBezTo>
                <a:close/>
                <a:moveTo>
                  <a:pt x="28990" y="69499"/>
                </a:moveTo>
                <a:cubicBezTo>
                  <a:pt x="28990" y="91759"/>
                  <a:pt x="47109" y="110007"/>
                  <a:pt x="69499" y="110007"/>
                </a:cubicBezTo>
                <a:cubicBezTo>
                  <a:pt x="91889" y="110007"/>
                  <a:pt x="109878" y="91888"/>
                  <a:pt x="109878" y="69499"/>
                </a:cubicBezTo>
                <a:cubicBezTo>
                  <a:pt x="109878" y="47109"/>
                  <a:pt x="91759" y="28990"/>
                  <a:pt x="69499" y="28990"/>
                </a:cubicBezTo>
                <a:cubicBezTo>
                  <a:pt x="47238" y="28990"/>
                  <a:pt x="28990" y="47109"/>
                  <a:pt x="28990" y="69499"/>
                </a:cubicBezTo>
                <a:close/>
              </a:path>
            </a:pathLst>
          </a:custGeom>
          <a:solidFill>
            <a:srgbClr val="1B29DC"/>
          </a:solidFill>
          <a:ln w="1293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AC325849-FB13-4C51-46A9-EFE391499B78}"/>
              </a:ext>
            </a:extLst>
          </p:cNvPr>
          <p:cNvSpPr/>
          <p:nvPr/>
        </p:nvSpPr>
        <p:spPr>
          <a:xfrm rot="341262">
            <a:off x="2868320" y="4660520"/>
            <a:ext cx="138997" cy="138997"/>
          </a:xfrm>
          <a:custGeom>
            <a:avLst/>
            <a:gdLst>
              <a:gd name="connsiteX0" fmla="*/ 0 w 138997"/>
              <a:gd name="connsiteY0" fmla="*/ 69499 h 138997"/>
              <a:gd name="connsiteX1" fmla="*/ 69499 w 138997"/>
              <a:gd name="connsiteY1" fmla="*/ 0 h 138997"/>
              <a:gd name="connsiteX2" fmla="*/ 138998 w 138997"/>
              <a:gd name="connsiteY2" fmla="*/ 69499 h 138997"/>
              <a:gd name="connsiteX3" fmla="*/ 69499 w 138997"/>
              <a:gd name="connsiteY3" fmla="*/ 138998 h 138997"/>
              <a:gd name="connsiteX4" fmla="*/ 0 w 138997"/>
              <a:gd name="connsiteY4" fmla="*/ 69499 h 138997"/>
              <a:gd name="connsiteX5" fmla="*/ 28990 w 138997"/>
              <a:gd name="connsiteY5" fmla="*/ 69499 h 138997"/>
              <a:gd name="connsiteX6" fmla="*/ 69499 w 138997"/>
              <a:gd name="connsiteY6" fmla="*/ 110007 h 138997"/>
              <a:gd name="connsiteX7" fmla="*/ 109878 w 138997"/>
              <a:gd name="connsiteY7" fmla="*/ 69499 h 138997"/>
              <a:gd name="connsiteX8" fmla="*/ 69499 w 138997"/>
              <a:gd name="connsiteY8" fmla="*/ 28990 h 138997"/>
              <a:gd name="connsiteX9" fmla="*/ 28990 w 138997"/>
              <a:gd name="connsiteY9" fmla="*/ 69499 h 13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97" h="138997">
                <a:moveTo>
                  <a:pt x="0" y="69499"/>
                </a:moveTo>
                <a:cubicBezTo>
                  <a:pt x="0" y="31190"/>
                  <a:pt x="31190" y="0"/>
                  <a:pt x="69499" y="0"/>
                </a:cubicBezTo>
                <a:cubicBezTo>
                  <a:pt x="107807" y="0"/>
                  <a:pt x="138998" y="31190"/>
                  <a:pt x="138998" y="69499"/>
                </a:cubicBezTo>
                <a:cubicBezTo>
                  <a:pt x="138998" y="107807"/>
                  <a:pt x="107807" y="138998"/>
                  <a:pt x="69499" y="138998"/>
                </a:cubicBezTo>
                <a:cubicBezTo>
                  <a:pt x="31190" y="138998"/>
                  <a:pt x="0" y="107807"/>
                  <a:pt x="0" y="69499"/>
                </a:cubicBezTo>
                <a:close/>
                <a:moveTo>
                  <a:pt x="28990" y="69499"/>
                </a:moveTo>
                <a:cubicBezTo>
                  <a:pt x="28990" y="91759"/>
                  <a:pt x="47109" y="110007"/>
                  <a:pt x="69499" y="110007"/>
                </a:cubicBezTo>
                <a:cubicBezTo>
                  <a:pt x="91889" y="110007"/>
                  <a:pt x="109878" y="91889"/>
                  <a:pt x="109878" y="69499"/>
                </a:cubicBezTo>
                <a:cubicBezTo>
                  <a:pt x="109878" y="47109"/>
                  <a:pt x="91759" y="28990"/>
                  <a:pt x="69499" y="28990"/>
                </a:cubicBezTo>
                <a:cubicBezTo>
                  <a:pt x="47239" y="28990"/>
                  <a:pt x="28990" y="47109"/>
                  <a:pt x="28990" y="69499"/>
                </a:cubicBezTo>
                <a:close/>
              </a:path>
            </a:pathLst>
          </a:custGeom>
          <a:solidFill>
            <a:srgbClr val="0B6EE7"/>
          </a:solidFill>
          <a:ln w="12932" cap="flat">
            <a:noFill/>
            <a:prstDash val="solid"/>
            <a:miter/>
          </a:ln>
        </p:spPr>
        <p:txBody>
          <a:bodyPr rtlCol="0" anchor="ctr"/>
          <a:lstStyle/>
          <a:p>
            <a:endParaRPr lang="en-US"/>
          </a:p>
        </p:txBody>
      </p:sp>
      <p:sp>
        <p:nvSpPr>
          <p:cNvPr id="5" name="Rectangle 4">
            <a:extLst>
              <a:ext uri="{FF2B5EF4-FFF2-40B4-BE49-F238E27FC236}">
                <a16:creationId xmlns:a16="http://schemas.microsoft.com/office/drawing/2014/main" id="{EA720E7C-4A10-C133-61B6-0E89E485286C}"/>
              </a:ext>
            </a:extLst>
          </p:cNvPr>
          <p:cNvSpPr/>
          <p:nvPr/>
        </p:nvSpPr>
        <p:spPr>
          <a:xfrm>
            <a:off x="2612461" y="3195060"/>
            <a:ext cx="1606266" cy="1077218"/>
          </a:xfrm>
          <a:prstGeom prst="rect">
            <a:avLst/>
          </a:prstGeom>
          <a:noFill/>
        </p:spPr>
        <p:txBody>
          <a:bodyPr wrap="square" lIns="91440" tIns="45720" rIns="91440" bIns="45720">
            <a:spAutoFit/>
          </a:bodyPr>
          <a:lstStyle/>
          <a:p>
            <a:pPr algn="ctr"/>
            <a:r>
              <a:rPr lang="en-US" sz="1600" b="1">
                <a:solidFill>
                  <a:schemeClr val="bg1"/>
                </a:solidFill>
              </a:rPr>
              <a:t>THE INTEGRATED HEALTHCARE PROVIDER</a:t>
            </a:r>
            <a:endParaRPr lang="en-US" sz="1600" b="1" cap="none" spc="0">
              <a:ln w="0"/>
              <a:solidFill>
                <a:schemeClr val="bg1"/>
              </a:solidFill>
              <a:effectLst/>
              <a:latin typeface="Roboto" pitchFamily="2" charset="0"/>
              <a:ea typeface="Roboto" pitchFamily="2" charset="0"/>
            </a:endParaRPr>
          </a:p>
        </p:txBody>
      </p:sp>
      <p:sp>
        <p:nvSpPr>
          <p:cNvPr id="31" name="TextBox 30">
            <a:extLst>
              <a:ext uri="{FF2B5EF4-FFF2-40B4-BE49-F238E27FC236}">
                <a16:creationId xmlns:a16="http://schemas.microsoft.com/office/drawing/2014/main" id="{3231DC8B-B7A2-54B8-0B9B-96A7694EFB25}"/>
              </a:ext>
            </a:extLst>
          </p:cNvPr>
          <p:cNvSpPr txBox="1"/>
          <p:nvPr/>
        </p:nvSpPr>
        <p:spPr>
          <a:xfrm>
            <a:off x="2149544" y="1752052"/>
            <a:ext cx="1268286" cy="58477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Emergency</a:t>
            </a:r>
          </a:p>
          <a:p>
            <a:pPr marL="115888" indent="-115888">
              <a:buFont typeface="Arial" panose="020B0604020202020204" pitchFamily="34" charset="0"/>
              <a:buChar char="•"/>
            </a:pPr>
            <a:r>
              <a:rPr lang="en-US" sz="800">
                <a:solidFill>
                  <a:schemeClr val="bg2">
                    <a:lumMod val="10000"/>
                  </a:schemeClr>
                </a:solidFill>
              </a:rPr>
              <a:t>Inpatient Units</a:t>
            </a:r>
          </a:p>
          <a:p>
            <a:pPr marL="115888" indent="-115888">
              <a:buFont typeface="Arial" panose="020B0604020202020204" pitchFamily="34" charset="0"/>
              <a:buChar char="•"/>
            </a:pPr>
            <a:r>
              <a:rPr lang="en-US" sz="800">
                <a:solidFill>
                  <a:schemeClr val="bg2">
                    <a:lumMod val="10000"/>
                  </a:schemeClr>
                </a:solidFill>
              </a:rPr>
              <a:t>Outpatient Clinic</a:t>
            </a:r>
          </a:p>
          <a:p>
            <a:pPr marL="115888" indent="-115888">
              <a:buFont typeface="Arial" panose="020B0604020202020204" pitchFamily="34" charset="0"/>
              <a:buChar char="•"/>
            </a:pPr>
            <a:r>
              <a:rPr lang="en-US" sz="800">
                <a:solidFill>
                  <a:schemeClr val="bg2">
                    <a:lumMod val="10000"/>
                  </a:schemeClr>
                </a:solidFill>
              </a:rPr>
              <a:t>Surgery</a:t>
            </a:r>
          </a:p>
        </p:txBody>
      </p:sp>
      <p:sp>
        <p:nvSpPr>
          <p:cNvPr id="32" name="TextBox 31">
            <a:extLst>
              <a:ext uri="{FF2B5EF4-FFF2-40B4-BE49-F238E27FC236}">
                <a16:creationId xmlns:a16="http://schemas.microsoft.com/office/drawing/2014/main" id="{4412BBB1-BD50-25E6-F506-1C23FC0110FC}"/>
              </a:ext>
            </a:extLst>
          </p:cNvPr>
          <p:cNvSpPr txBox="1"/>
          <p:nvPr/>
        </p:nvSpPr>
        <p:spPr>
          <a:xfrm>
            <a:off x="2145614" y="1545400"/>
            <a:ext cx="1335371" cy="246221"/>
          </a:xfrm>
          <a:prstGeom prst="rect">
            <a:avLst/>
          </a:prstGeom>
          <a:noFill/>
        </p:spPr>
        <p:txBody>
          <a:bodyPr wrap="square" rtlCol="0">
            <a:spAutoFit/>
          </a:bodyPr>
          <a:lstStyle/>
          <a:p>
            <a:r>
              <a:rPr lang="en-US" sz="1000" b="1">
                <a:solidFill>
                  <a:schemeClr val="bg2">
                    <a:lumMod val="10000"/>
                  </a:schemeClr>
                </a:solidFill>
              </a:rPr>
              <a:t>Clinical Care</a:t>
            </a:r>
          </a:p>
        </p:txBody>
      </p:sp>
      <p:sp>
        <p:nvSpPr>
          <p:cNvPr id="33" name="TextBox 32">
            <a:extLst>
              <a:ext uri="{FF2B5EF4-FFF2-40B4-BE49-F238E27FC236}">
                <a16:creationId xmlns:a16="http://schemas.microsoft.com/office/drawing/2014/main" id="{AB576D15-6C66-DF57-456E-945B282E2CC2}"/>
              </a:ext>
            </a:extLst>
          </p:cNvPr>
          <p:cNvSpPr txBox="1"/>
          <p:nvPr/>
        </p:nvSpPr>
        <p:spPr>
          <a:xfrm>
            <a:off x="3716450" y="2013019"/>
            <a:ext cx="1473992" cy="461665"/>
          </a:xfrm>
          <a:prstGeom prst="rect">
            <a:avLst/>
          </a:prstGeom>
          <a:noFill/>
        </p:spPr>
        <p:txBody>
          <a:bodyPr wrap="square" rtlCol="0">
            <a:spAutoFit/>
          </a:bodyPr>
          <a:lstStyle/>
          <a:p>
            <a:pPr marL="171450" indent="-171450">
              <a:buFont typeface="Arial" panose="020B0604020202020204" pitchFamily="34" charset="0"/>
              <a:buChar char="•"/>
            </a:pPr>
            <a:r>
              <a:rPr lang="en-US" sz="800">
                <a:solidFill>
                  <a:schemeClr val="bg2">
                    <a:lumMod val="10000"/>
                  </a:schemeClr>
                </a:solidFill>
              </a:rPr>
              <a:t>Care Coordination</a:t>
            </a:r>
          </a:p>
          <a:p>
            <a:pPr marL="171450" indent="-171450">
              <a:buFont typeface="Arial" panose="020B0604020202020204" pitchFamily="34" charset="0"/>
              <a:buChar char="•"/>
            </a:pPr>
            <a:r>
              <a:rPr lang="en-US" sz="800">
                <a:solidFill>
                  <a:schemeClr val="bg2">
                    <a:lumMod val="10000"/>
                  </a:schemeClr>
                </a:solidFill>
              </a:rPr>
              <a:t>Social Services</a:t>
            </a:r>
          </a:p>
          <a:p>
            <a:pPr marL="171450" indent="-171450">
              <a:buFont typeface="Arial" panose="020B0604020202020204" pitchFamily="34" charset="0"/>
              <a:buChar char="•"/>
            </a:pPr>
            <a:r>
              <a:rPr lang="en-US" sz="800">
                <a:solidFill>
                  <a:schemeClr val="bg2">
                    <a:lumMod val="10000"/>
                  </a:schemeClr>
                </a:solidFill>
              </a:rPr>
              <a:t>Discharge Plan</a:t>
            </a:r>
          </a:p>
        </p:txBody>
      </p:sp>
      <p:sp>
        <p:nvSpPr>
          <p:cNvPr id="34" name="TextBox 33">
            <a:extLst>
              <a:ext uri="{FF2B5EF4-FFF2-40B4-BE49-F238E27FC236}">
                <a16:creationId xmlns:a16="http://schemas.microsoft.com/office/drawing/2014/main" id="{7A87C376-804C-2CE1-C63A-01EBB8FE2447}"/>
              </a:ext>
            </a:extLst>
          </p:cNvPr>
          <p:cNvSpPr txBox="1"/>
          <p:nvPr/>
        </p:nvSpPr>
        <p:spPr>
          <a:xfrm>
            <a:off x="3765373" y="1467637"/>
            <a:ext cx="1151727" cy="553998"/>
          </a:xfrm>
          <a:prstGeom prst="rect">
            <a:avLst/>
          </a:prstGeom>
          <a:noFill/>
        </p:spPr>
        <p:txBody>
          <a:bodyPr wrap="square" rtlCol="0">
            <a:spAutoFit/>
          </a:bodyPr>
          <a:lstStyle/>
          <a:p>
            <a:r>
              <a:rPr lang="en-US" sz="1000" b="1">
                <a:solidFill>
                  <a:schemeClr val="bg2">
                    <a:lumMod val="10000"/>
                  </a:schemeClr>
                </a:solidFill>
              </a:rPr>
              <a:t>Patient Support/Care Coordination</a:t>
            </a:r>
          </a:p>
        </p:txBody>
      </p:sp>
      <p:sp>
        <p:nvSpPr>
          <p:cNvPr id="35" name="TextBox 34">
            <a:extLst>
              <a:ext uri="{FF2B5EF4-FFF2-40B4-BE49-F238E27FC236}">
                <a16:creationId xmlns:a16="http://schemas.microsoft.com/office/drawing/2014/main" id="{DA19C6D8-6B6D-0225-0620-3DD54FAE661C}"/>
              </a:ext>
            </a:extLst>
          </p:cNvPr>
          <p:cNvSpPr txBox="1"/>
          <p:nvPr/>
        </p:nvSpPr>
        <p:spPr>
          <a:xfrm>
            <a:off x="4720475" y="3191112"/>
            <a:ext cx="1065794" cy="400110"/>
          </a:xfrm>
          <a:prstGeom prst="rect">
            <a:avLst/>
          </a:prstGeom>
          <a:noFill/>
        </p:spPr>
        <p:txBody>
          <a:bodyPr wrap="square" lIns="91440" tIns="45720" rIns="91440" bIns="45720" rtlCol="0" anchor="t">
            <a:spAutoFit/>
          </a:bodyPr>
          <a:lstStyle/>
          <a:p>
            <a:pPr algn="ctr"/>
            <a:r>
              <a:rPr lang="en-US" sz="1000" b="1">
                <a:solidFill>
                  <a:schemeClr val="bg1"/>
                </a:solidFill>
              </a:rPr>
              <a:t>Revenue Cycle Management</a:t>
            </a:r>
            <a:endParaRPr lang="en-US" sz="1000" b="1">
              <a:solidFill>
                <a:schemeClr val="bg1"/>
              </a:solidFill>
              <a:ea typeface="Roboto"/>
              <a:cs typeface="Roboto"/>
            </a:endParaRPr>
          </a:p>
        </p:txBody>
      </p:sp>
      <p:sp>
        <p:nvSpPr>
          <p:cNvPr id="38" name="TextBox 37">
            <a:extLst>
              <a:ext uri="{FF2B5EF4-FFF2-40B4-BE49-F238E27FC236}">
                <a16:creationId xmlns:a16="http://schemas.microsoft.com/office/drawing/2014/main" id="{C20ABDF7-6EEE-C7C4-28BF-22D9280039C9}"/>
              </a:ext>
            </a:extLst>
          </p:cNvPr>
          <p:cNvSpPr txBox="1"/>
          <p:nvPr/>
        </p:nvSpPr>
        <p:spPr>
          <a:xfrm>
            <a:off x="4470438" y="4540077"/>
            <a:ext cx="1397351" cy="58477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Electronic Medical Records (EMR)</a:t>
            </a:r>
          </a:p>
          <a:p>
            <a:pPr marL="115888" indent="-115888">
              <a:buFont typeface="Arial" panose="020B0604020202020204" pitchFamily="34" charset="0"/>
              <a:buChar char="•"/>
            </a:pPr>
            <a:r>
              <a:rPr lang="en-US" sz="800">
                <a:solidFill>
                  <a:schemeClr val="bg2">
                    <a:lumMod val="10000"/>
                  </a:schemeClr>
                </a:solidFill>
              </a:rPr>
              <a:t>IT Support</a:t>
            </a:r>
          </a:p>
          <a:p>
            <a:pPr marL="115888" indent="-115888">
              <a:buFont typeface="Arial" panose="020B0604020202020204" pitchFamily="34" charset="0"/>
              <a:buChar char="•"/>
            </a:pPr>
            <a:r>
              <a:rPr lang="en-US" sz="800">
                <a:solidFill>
                  <a:schemeClr val="bg2">
                    <a:lumMod val="10000"/>
                  </a:schemeClr>
                </a:solidFill>
              </a:rPr>
              <a:t>Data Analytics</a:t>
            </a:r>
          </a:p>
        </p:txBody>
      </p:sp>
      <p:sp>
        <p:nvSpPr>
          <p:cNvPr id="39" name="TextBox 38">
            <a:extLst>
              <a:ext uri="{FF2B5EF4-FFF2-40B4-BE49-F238E27FC236}">
                <a16:creationId xmlns:a16="http://schemas.microsoft.com/office/drawing/2014/main" id="{97B57378-D516-E190-D7FC-75C191F08D09}"/>
              </a:ext>
            </a:extLst>
          </p:cNvPr>
          <p:cNvSpPr txBox="1"/>
          <p:nvPr/>
        </p:nvSpPr>
        <p:spPr>
          <a:xfrm>
            <a:off x="3300644" y="5241582"/>
            <a:ext cx="1248237" cy="246221"/>
          </a:xfrm>
          <a:prstGeom prst="rect">
            <a:avLst/>
          </a:prstGeom>
          <a:noFill/>
        </p:spPr>
        <p:txBody>
          <a:bodyPr wrap="square" rtlCol="0">
            <a:spAutoFit/>
          </a:bodyPr>
          <a:lstStyle/>
          <a:p>
            <a:r>
              <a:rPr lang="en-US" sz="1000" b="1">
                <a:solidFill>
                  <a:schemeClr val="bg2">
                    <a:lumMod val="10000"/>
                  </a:schemeClr>
                </a:solidFill>
              </a:rPr>
              <a:t>Ancillary Services</a:t>
            </a:r>
          </a:p>
        </p:txBody>
      </p:sp>
      <p:sp>
        <p:nvSpPr>
          <p:cNvPr id="40" name="TextBox 39">
            <a:extLst>
              <a:ext uri="{FF2B5EF4-FFF2-40B4-BE49-F238E27FC236}">
                <a16:creationId xmlns:a16="http://schemas.microsoft.com/office/drawing/2014/main" id="{CBAAE662-40EB-B1E0-6F30-723D8B6C84CC}"/>
              </a:ext>
            </a:extLst>
          </p:cNvPr>
          <p:cNvSpPr txBox="1"/>
          <p:nvPr/>
        </p:nvSpPr>
        <p:spPr>
          <a:xfrm>
            <a:off x="3310048" y="5496282"/>
            <a:ext cx="1397351" cy="58477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Laboratory</a:t>
            </a:r>
          </a:p>
          <a:p>
            <a:pPr marL="115888" indent="-115888">
              <a:buFont typeface="Arial" panose="020B0604020202020204" pitchFamily="34" charset="0"/>
              <a:buChar char="•"/>
            </a:pPr>
            <a:r>
              <a:rPr lang="en-US" sz="800">
                <a:solidFill>
                  <a:schemeClr val="bg2">
                    <a:lumMod val="10000"/>
                  </a:schemeClr>
                </a:solidFill>
              </a:rPr>
              <a:t>Imaging</a:t>
            </a:r>
          </a:p>
          <a:p>
            <a:pPr marL="115888" indent="-115888">
              <a:buFont typeface="Arial" panose="020B0604020202020204" pitchFamily="34" charset="0"/>
              <a:buChar char="•"/>
            </a:pPr>
            <a:r>
              <a:rPr lang="en-US" sz="800">
                <a:solidFill>
                  <a:schemeClr val="bg2">
                    <a:lumMod val="10000"/>
                  </a:schemeClr>
                </a:solidFill>
              </a:rPr>
              <a:t>Pharmacy</a:t>
            </a:r>
          </a:p>
          <a:p>
            <a:pPr marL="115888" indent="-115888">
              <a:buFont typeface="Arial" panose="020B0604020202020204" pitchFamily="34" charset="0"/>
              <a:buChar char="•"/>
            </a:pPr>
            <a:r>
              <a:rPr lang="en-US" sz="800">
                <a:solidFill>
                  <a:schemeClr val="bg2">
                    <a:lumMod val="10000"/>
                  </a:schemeClr>
                </a:solidFill>
              </a:rPr>
              <a:t>Rehabilitation</a:t>
            </a:r>
          </a:p>
        </p:txBody>
      </p:sp>
      <p:sp>
        <p:nvSpPr>
          <p:cNvPr id="41" name="TextBox 40">
            <a:extLst>
              <a:ext uri="{FF2B5EF4-FFF2-40B4-BE49-F238E27FC236}">
                <a16:creationId xmlns:a16="http://schemas.microsoft.com/office/drawing/2014/main" id="{B12EE885-7409-9D5E-CE47-55100AFAE6D2}"/>
              </a:ext>
            </a:extLst>
          </p:cNvPr>
          <p:cNvSpPr txBox="1"/>
          <p:nvPr/>
        </p:nvSpPr>
        <p:spPr>
          <a:xfrm>
            <a:off x="2036246" y="5013790"/>
            <a:ext cx="1111028" cy="400110"/>
          </a:xfrm>
          <a:prstGeom prst="rect">
            <a:avLst/>
          </a:prstGeom>
          <a:noFill/>
        </p:spPr>
        <p:txBody>
          <a:bodyPr wrap="square" rtlCol="0">
            <a:spAutoFit/>
          </a:bodyPr>
          <a:lstStyle/>
          <a:p>
            <a:r>
              <a:rPr lang="en-US" sz="1000" b="1">
                <a:solidFill>
                  <a:schemeClr val="bg2">
                    <a:lumMod val="10000"/>
                  </a:schemeClr>
                </a:solidFill>
              </a:rPr>
              <a:t>Quality, Safety &amp; Regulatory</a:t>
            </a:r>
          </a:p>
        </p:txBody>
      </p:sp>
      <p:sp>
        <p:nvSpPr>
          <p:cNvPr id="42" name="TextBox 41">
            <a:extLst>
              <a:ext uri="{FF2B5EF4-FFF2-40B4-BE49-F238E27FC236}">
                <a16:creationId xmlns:a16="http://schemas.microsoft.com/office/drawing/2014/main" id="{C752C54B-504B-3B25-1700-93C34A7E42AF}"/>
              </a:ext>
            </a:extLst>
          </p:cNvPr>
          <p:cNvSpPr txBox="1"/>
          <p:nvPr/>
        </p:nvSpPr>
        <p:spPr>
          <a:xfrm>
            <a:off x="1923512" y="5373776"/>
            <a:ext cx="1262544" cy="46166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Quality Improvement</a:t>
            </a:r>
          </a:p>
          <a:p>
            <a:pPr marL="115888" indent="-115888">
              <a:buFont typeface="Arial" panose="020B0604020202020204" pitchFamily="34" charset="0"/>
              <a:buChar char="•"/>
            </a:pPr>
            <a:r>
              <a:rPr lang="en-US" sz="800">
                <a:solidFill>
                  <a:schemeClr val="bg2">
                    <a:lumMod val="10000"/>
                  </a:schemeClr>
                </a:solidFill>
              </a:rPr>
              <a:t>Patient Safety</a:t>
            </a:r>
          </a:p>
          <a:p>
            <a:pPr marL="115888" indent="-115888">
              <a:buFont typeface="Arial" panose="020B0604020202020204" pitchFamily="34" charset="0"/>
              <a:buChar char="•"/>
            </a:pPr>
            <a:r>
              <a:rPr lang="en-US" sz="800">
                <a:solidFill>
                  <a:schemeClr val="bg2">
                    <a:lumMod val="10000"/>
                  </a:schemeClr>
                </a:solidFill>
              </a:rPr>
              <a:t>Office</a:t>
            </a:r>
          </a:p>
        </p:txBody>
      </p:sp>
      <p:sp>
        <p:nvSpPr>
          <p:cNvPr id="43" name="TextBox 42">
            <a:extLst>
              <a:ext uri="{FF2B5EF4-FFF2-40B4-BE49-F238E27FC236}">
                <a16:creationId xmlns:a16="http://schemas.microsoft.com/office/drawing/2014/main" id="{C922892C-37EA-C4FD-D90C-F999FC1FA572}"/>
              </a:ext>
            </a:extLst>
          </p:cNvPr>
          <p:cNvSpPr txBox="1"/>
          <p:nvPr/>
        </p:nvSpPr>
        <p:spPr>
          <a:xfrm>
            <a:off x="965424" y="3930189"/>
            <a:ext cx="1248237" cy="400110"/>
          </a:xfrm>
          <a:prstGeom prst="rect">
            <a:avLst/>
          </a:prstGeom>
          <a:noFill/>
        </p:spPr>
        <p:txBody>
          <a:bodyPr wrap="square" rtlCol="0">
            <a:spAutoFit/>
          </a:bodyPr>
          <a:lstStyle/>
          <a:p>
            <a:r>
              <a:rPr lang="en-US" sz="1000" b="1">
                <a:solidFill>
                  <a:schemeClr val="bg2">
                    <a:lumMod val="10000"/>
                  </a:schemeClr>
                </a:solidFill>
              </a:rPr>
              <a:t>Administrative &amp; Operational</a:t>
            </a:r>
          </a:p>
        </p:txBody>
      </p:sp>
      <p:sp>
        <p:nvSpPr>
          <p:cNvPr id="44" name="TextBox 43">
            <a:extLst>
              <a:ext uri="{FF2B5EF4-FFF2-40B4-BE49-F238E27FC236}">
                <a16:creationId xmlns:a16="http://schemas.microsoft.com/office/drawing/2014/main" id="{93C1D160-0CA9-BBDE-02B5-E295B7C6C9F7}"/>
              </a:ext>
            </a:extLst>
          </p:cNvPr>
          <p:cNvSpPr txBox="1"/>
          <p:nvPr/>
        </p:nvSpPr>
        <p:spPr>
          <a:xfrm>
            <a:off x="1086003" y="4361169"/>
            <a:ext cx="1170699" cy="461665"/>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Human Resources</a:t>
            </a:r>
          </a:p>
          <a:p>
            <a:pPr marL="115888" indent="-115888">
              <a:buFont typeface="Arial" panose="020B0604020202020204" pitchFamily="34" charset="0"/>
              <a:buChar char="•"/>
            </a:pPr>
            <a:r>
              <a:rPr lang="en-US" sz="800">
                <a:solidFill>
                  <a:schemeClr val="bg2">
                    <a:lumMod val="10000"/>
                  </a:schemeClr>
                </a:solidFill>
              </a:rPr>
              <a:t>Finance</a:t>
            </a:r>
          </a:p>
          <a:p>
            <a:pPr marL="115888" indent="-115888">
              <a:buFont typeface="Arial" panose="020B0604020202020204" pitchFamily="34" charset="0"/>
              <a:buChar char="•"/>
            </a:pPr>
            <a:r>
              <a:rPr lang="en-US" sz="800">
                <a:solidFill>
                  <a:schemeClr val="bg2">
                    <a:lumMod val="10000"/>
                  </a:schemeClr>
                </a:solidFill>
              </a:rPr>
              <a:t>Compliance</a:t>
            </a:r>
          </a:p>
        </p:txBody>
      </p:sp>
      <p:sp>
        <p:nvSpPr>
          <p:cNvPr id="45" name="TextBox 44">
            <a:extLst>
              <a:ext uri="{FF2B5EF4-FFF2-40B4-BE49-F238E27FC236}">
                <a16:creationId xmlns:a16="http://schemas.microsoft.com/office/drawing/2014/main" id="{777101BC-6A4F-DDAF-D8BD-41B70927736D}"/>
              </a:ext>
            </a:extLst>
          </p:cNvPr>
          <p:cNvSpPr txBox="1"/>
          <p:nvPr/>
        </p:nvSpPr>
        <p:spPr>
          <a:xfrm>
            <a:off x="1216762" y="2498610"/>
            <a:ext cx="1248237" cy="400110"/>
          </a:xfrm>
          <a:prstGeom prst="rect">
            <a:avLst/>
          </a:prstGeom>
          <a:noFill/>
        </p:spPr>
        <p:txBody>
          <a:bodyPr wrap="square" rtlCol="0">
            <a:spAutoFit/>
          </a:bodyPr>
          <a:lstStyle/>
          <a:p>
            <a:r>
              <a:rPr lang="en-US" sz="1000" b="1">
                <a:solidFill>
                  <a:schemeClr val="bg2">
                    <a:lumMod val="10000"/>
                  </a:schemeClr>
                </a:solidFill>
              </a:rPr>
              <a:t>Education &amp; Research</a:t>
            </a:r>
          </a:p>
        </p:txBody>
      </p:sp>
      <p:sp>
        <p:nvSpPr>
          <p:cNvPr id="46" name="TextBox 45">
            <a:extLst>
              <a:ext uri="{FF2B5EF4-FFF2-40B4-BE49-F238E27FC236}">
                <a16:creationId xmlns:a16="http://schemas.microsoft.com/office/drawing/2014/main" id="{778D4986-71A4-EA00-A1B3-A97A61AC711E}"/>
              </a:ext>
            </a:extLst>
          </p:cNvPr>
          <p:cNvSpPr txBox="1"/>
          <p:nvPr/>
        </p:nvSpPr>
        <p:spPr>
          <a:xfrm>
            <a:off x="1003460" y="2871646"/>
            <a:ext cx="1169923" cy="707886"/>
          </a:xfrm>
          <a:prstGeom prst="rect">
            <a:avLst/>
          </a:prstGeom>
          <a:noFill/>
        </p:spPr>
        <p:txBody>
          <a:bodyPr wrap="square" rtlCol="0">
            <a:spAutoFit/>
          </a:bodyPr>
          <a:lstStyle/>
          <a:p>
            <a:pPr marL="115888" indent="-115888">
              <a:buFont typeface="Arial" panose="020B0604020202020204" pitchFamily="34" charset="0"/>
              <a:buChar char="•"/>
            </a:pPr>
            <a:r>
              <a:rPr lang="en-US" sz="800">
                <a:solidFill>
                  <a:schemeClr val="bg2">
                    <a:lumMod val="10000"/>
                  </a:schemeClr>
                </a:solidFill>
              </a:rPr>
              <a:t>Medical Education</a:t>
            </a:r>
          </a:p>
          <a:p>
            <a:pPr marL="115888" indent="-115888">
              <a:buFont typeface="Arial" panose="020B0604020202020204" pitchFamily="34" charset="0"/>
              <a:buChar char="•"/>
            </a:pPr>
            <a:r>
              <a:rPr lang="en-US" sz="800">
                <a:solidFill>
                  <a:schemeClr val="bg2">
                    <a:lumMod val="10000"/>
                  </a:schemeClr>
                </a:solidFill>
              </a:rPr>
              <a:t>Nursing Education</a:t>
            </a:r>
          </a:p>
          <a:p>
            <a:pPr marL="115888" indent="-115888">
              <a:buFont typeface="Arial" panose="020B0604020202020204" pitchFamily="34" charset="0"/>
              <a:buChar char="•"/>
            </a:pPr>
            <a:r>
              <a:rPr lang="en-US" sz="800">
                <a:solidFill>
                  <a:schemeClr val="bg2">
                    <a:lumMod val="10000"/>
                  </a:schemeClr>
                </a:solidFill>
              </a:rPr>
              <a:t>Continuing Professional Development</a:t>
            </a:r>
          </a:p>
        </p:txBody>
      </p:sp>
      <p:sp>
        <p:nvSpPr>
          <p:cNvPr id="53" name="TextBox 52">
            <a:extLst>
              <a:ext uri="{FF2B5EF4-FFF2-40B4-BE49-F238E27FC236}">
                <a16:creationId xmlns:a16="http://schemas.microsoft.com/office/drawing/2014/main" id="{0A2888B2-3E9F-03F0-9DC6-BF32F55E35DC}"/>
              </a:ext>
            </a:extLst>
          </p:cNvPr>
          <p:cNvSpPr txBox="1"/>
          <p:nvPr/>
        </p:nvSpPr>
        <p:spPr>
          <a:xfrm>
            <a:off x="5838646" y="991689"/>
            <a:ext cx="2176697" cy="415498"/>
          </a:xfrm>
          <a:prstGeom prst="rect">
            <a:avLst/>
          </a:prstGeom>
          <a:noFill/>
        </p:spPr>
        <p:txBody>
          <a:bodyPr wrap="square" lIns="91440" tIns="45720" rIns="91440" bIns="45720" anchor="t">
            <a:spAutoFit/>
          </a:bodyPr>
          <a:lstStyle/>
          <a:p>
            <a:pPr eaLnBrk="0" fontAlgn="base" hangingPunct="0">
              <a:spcBef>
                <a:spcPct val="0"/>
              </a:spcBef>
              <a:spcAft>
                <a:spcPct val="0"/>
              </a:spcAft>
            </a:pPr>
            <a:r>
              <a:rPr lang="en-US" altLang="en-US" sz="1050" b="1">
                <a:solidFill>
                  <a:srgbClr val="2877FF"/>
                </a:solidFill>
                <a:latin typeface="Roboto"/>
                <a:ea typeface="Roboto"/>
                <a:cs typeface="Arial"/>
              </a:rPr>
              <a:t>Pre-Reg &amp; Access</a:t>
            </a:r>
            <a:r>
              <a:rPr lang="en-US" altLang="en-US" sz="1050">
                <a:solidFill>
                  <a:srgbClr val="2877FF"/>
                </a:solidFill>
                <a:latin typeface="Roboto"/>
                <a:ea typeface="Roboto"/>
                <a:cs typeface="Arial"/>
              </a:rPr>
              <a:t>  </a:t>
            </a:r>
            <a:r>
              <a:rPr lang="en-US" altLang="en-US" sz="1050">
                <a:latin typeface="Roboto"/>
                <a:ea typeface="Roboto"/>
                <a:cs typeface="Arial"/>
              </a:rPr>
              <a:t>Verify eligibility, benefits, pre-auth</a:t>
            </a:r>
          </a:p>
        </p:txBody>
      </p:sp>
      <p:sp>
        <p:nvSpPr>
          <p:cNvPr id="55" name="TextBox 54">
            <a:extLst>
              <a:ext uri="{FF2B5EF4-FFF2-40B4-BE49-F238E27FC236}">
                <a16:creationId xmlns:a16="http://schemas.microsoft.com/office/drawing/2014/main" id="{83F8EDA5-96D7-D221-6C39-3CFD94508C42}"/>
              </a:ext>
            </a:extLst>
          </p:cNvPr>
          <p:cNvSpPr txBox="1"/>
          <p:nvPr/>
        </p:nvSpPr>
        <p:spPr>
          <a:xfrm>
            <a:off x="7102030" y="1628339"/>
            <a:ext cx="2013932"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rPr>
              <a:t>Patient Estimation</a:t>
            </a:r>
            <a:r>
              <a:rPr lang="en-US" altLang="en-US" sz="1050">
                <a:solidFill>
                  <a:srgbClr val="2877FF"/>
                </a:solidFill>
                <a:latin typeface="Roboto" panose="02000000000000000000" pitchFamily="2" charset="0"/>
                <a:ea typeface="Roboto" panose="02000000000000000000" pitchFamily="2" charset="0"/>
              </a:rPr>
              <a:t> </a:t>
            </a:r>
            <a:r>
              <a:rPr lang="en-US" altLang="en-US" sz="1050">
                <a:latin typeface="Roboto" panose="02000000000000000000" pitchFamily="2" charset="0"/>
                <a:ea typeface="Roboto" panose="02000000000000000000" pitchFamily="2" charset="0"/>
              </a:rPr>
              <a:t>— Calculate out-of-pocket responsibility</a:t>
            </a:r>
          </a:p>
        </p:txBody>
      </p:sp>
      <p:sp>
        <p:nvSpPr>
          <p:cNvPr id="57" name="TextBox 56">
            <a:extLst>
              <a:ext uri="{FF2B5EF4-FFF2-40B4-BE49-F238E27FC236}">
                <a16:creationId xmlns:a16="http://schemas.microsoft.com/office/drawing/2014/main" id="{F1D124FF-9963-16AD-84EC-37DCEE18B292}"/>
              </a:ext>
            </a:extLst>
          </p:cNvPr>
          <p:cNvSpPr txBox="1"/>
          <p:nvPr/>
        </p:nvSpPr>
        <p:spPr>
          <a:xfrm>
            <a:off x="7693855" y="2202098"/>
            <a:ext cx="1817988"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cs typeface="Arial"/>
              </a:rPr>
              <a:t>Charge Capture</a:t>
            </a:r>
            <a:r>
              <a:rPr lang="en-US" altLang="en-US" sz="1050">
                <a:solidFill>
                  <a:srgbClr val="2877FF"/>
                </a:solidFill>
                <a:latin typeface="Roboto" panose="02000000000000000000" pitchFamily="2" charset="0"/>
                <a:ea typeface="Roboto" panose="02000000000000000000" pitchFamily="2" charset="0"/>
                <a:cs typeface="Arial"/>
              </a:rPr>
              <a:t> </a:t>
            </a:r>
            <a:r>
              <a:rPr lang="en-US" altLang="en-US" sz="1050">
                <a:latin typeface="Roboto" panose="02000000000000000000" pitchFamily="2" charset="0"/>
                <a:ea typeface="Roboto" panose="02000000000000000000" pitchFamily="2" charset="0"/>
                <a:cs typeface="Arial"/>
              </a:rPr>
              <a:t>— Find missing/duplicate charges</a:t>
            </a:r>
          </a:p>
        </p:txBody>
      </p:sp>
      <p:sp>
        <p:nvSpPr>
          <p:cNvPr id="59" name="TextBox 58">
            <a:extLst>
              <a:ext uri="{FF2B5EF4-FFF2-40B4-BE49-F238E27FC236}">
                <a16:creationId xmlns:a16="http://schemas.microsoft.com/office/drawing/2014/main" id="{96817E89-3BB0-3B27-274C-4CD2EB628AC3}"/>
              </a:ext>
            </a:extLst>
          </p:cNvPr>
          <p:cNvSpPr txBox="1"/>
          <p:nvPr/>
        </p:nvSpPr>
        <p:spPr>
          <a:xfrm>
            <a:off x="7963583" y="2965635"/>
            <a:ext cx="1817988"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cs typeface="Arial"/>
              </a:rPr>
              <a:t>HIM / Coding</a:t>
            </a:r>
            <a:r>
              <a:rPr lang="en-US" altLang="en-US" sz="1050">
                <a:latin typeface="Roboto" panose="02000000000000000000" pitchFamily="2" charset="0"/>
                <a:ea typeface="Roboto" panose="02000000000000000000" pitchFamily="2" charset="0"/>
                <a:cs typeface="Arial"/>
              </a:rPr>
              <a:t> — Cross-check with payer/HIM rules</a:t>
            </a:r>
          </a:p>
        </p:txBody>
      </p:sp>
      <p:sp>
        <p:nvSpPr>
          <p:cNvPr id="61" name="TextBox 60">
            <a:extLst>
              <a:ext uri="{FF2B5EF4-FFF2-40B4-BE49-F238E27FC236}">
                <a16:creationId xmlns:a16="http://schemas.microsoft.com/office/drawing/2014/main" id="{062E810C-DF6A-682D-BFAF-CAFCC05E6105}"/>
              </a:ext>
            </a:extLst>
          </p:cNvPr>
          <p:cNvSpPr txBox="1"/>
          <p:nvPr/>
        </p:nvSpPr>
        <p:spPr>
          <a:xfrm>
            <a:off x="7850263" y="3714746"/>
            <a:ext cx="2265612" cy="415498"/>
          </a:xfrm>
          <a:prstGeom prst="rect">
            <a:avLst/>
          </a:prstGeom>
          <a:noFill/>
        </p:spPr>
        <p:txBody>
          <a:bodyPr wrap="square" lIns="91440" tIns="45720" rIns="91440" bIns="45720" anchor="t">
            <a:spAutoFit/>
          </a:bodyPr>
          <a:lstStyle/>
          <a:p>
            <a:pPr eaLnBrk="0" fontAlgn="base" hangingPunct="0">
              <a:spcBef>
                <a:spcPct val="0"/>
              </a:spcBef>
              <a:spcAft>
                <a:spcPct val="0"/>
              </a:spcAft>
            </a:pPr>
            <a:r>
              <a:rPr lang="en-US" altLang="en-US" sz="1050" b="1">
                <a:solidFill>
                  <a:srgbClr val="2877FF"/>
                </a:solidFill>
                <a:latin typeface="Roboto"/>
                <a:ea typeface="Roboto"/>
                <a:cs typeface="Arial"/>
              </a:rPr>
              <a:t>UR / Case </a:t>
            </a:r>
            <a:r>
              <a:rPr lang="en-US" altLang="en-US" sz="1050" b="1" err="1">
                <a:solidFill>
                  <a:srgbClr val="2877FF"/>
                </a:solidFill>
                <a:latin typeface="Roboto"/>
                <a:ea typeface="Roboto"/>
                <a:cs typeface="Arial"/>
              </a:rPr>
              <a:t>Mgmt</a:t>
            </a:r>
            <a:r>
              <a:rPr lang="en-US" altLang="en-US" sz="1050">
                <a:solidFill>
                  <a:srgbClr val="2877FF"/>
                </a:solidFill>
                <a:latin typeface="Roboto"/>
                <a:ea typeface="Roboto"/>
                <a:cs typeface="Arial"/>
              </a:rPr>
              <a:t> </a:t>
            </a:r>
            <a:r>
              <a:rPr lang="en-US" altLang="en-US" sz="1050">
                <a:latin typeface="Roboto" panose="02000000000000000000" pitchFamily="2" charset="0"/>
                <a:ea typeface="Roboto" panose="02000000000000000000" pitchFamily="2" charset="0"/>
                <a:cs typeface="Arial"/>
              </a:rPr>
              <a:t>— </a:t>
            </a:r>
            <a:r>
              <a:rPr lang="en-US" altLang="en-US" sz="1050">
                <a:latin typeface="Roboto"/>
                <a:ea typeface="Roboto"/>
                <a:cs typeface="Arial"/>
              </a:rPr>
              <a:t>LOS &amp; auth alerts for timely discharge</a:t>
            </a:r>
            <a:endParaRPr lang="en-US" sz="1050"/>
          </a:p>
        </p:txBody>
      </p:sp>
      <p:sp>
        <p:nvSpPr>
          <p:cNvPr id="63" name="TextBox 62">
            <a:extLst>
              <a:ext uri="{FF2B5EF4-FFF2-40B4-BE49-F238E27FC236}">
                <a16:creationId xmlns:a16="http://schemas.microsoft.com/office/drawing/2014/main" id="{0E68B27B-35A9-6458-4279-C458EC4C34F9}"/>
              </a:ext>
            </a:extLst>
          </p:cNvPr>
          <p:cNvSpPr txBox="1"/>
          <p:nvPr/>
        </p:nvSpPr>
        <p:spPr>
          <a:xfrm>
            <a:off x="7381089" y="4356191"/>
            <a:ext cx="1613700"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rPr>
              <a:t>Claims</a:t>
            </a:r>
            <a:r>
              <a:rPr lang="en-US" altLang="en-US" sz="1050">
                <a:latin typeface="Roboto" panose="02000000000000000000" pitchFamily="2" charset="0"/>
                <a:ea typeface="Roboto" panose="02000000000000000000" pitchFamily="2" charset="0"/>
              </a:rPr>
              <a:t> — Validate and submit clean claims</a:t>
            </a:r>
          </a:p>
        </p:txBody>
      </p:sp>
      <p:sp>
        <p:nvSpPr>
          <p:cNvPr id="65" name="TextBox 64">
            <a:extLst>
              <a:ext uri="{FF2B5EF4-FFF2-40B4-BE49-F238E27FC236}">
                <a16:creationId xmlns:a16="http://schemas.microsoft.com/office/drawing/2014/main" id="{8C8EBFA4-1791-E1E4-3241-7AF6D0BF3ED5}"/>
              </a:ext>
            </a:extLst>
          </p:cNvPr>
          <p:cNvSpPr txBox="1"/>
          <p:nvPr/>
        </p:nvSpPr>
        <p:spPr>
          <a:xfrm>
            <a:off x="6107151" y="5040139"/>
            <a:ext cx="2406573" cy="415498"/>
          </a:xfrm>
          <a:prstGeom prst="rect">
            <a:avLst/>
          </a:prstGeom>
          <a:noFill/>
        </p:spPr>
        <p:txBody>
          <a:bodyPr wrap="square">
            <a:spAutoFit/>
          </a:bodyPr>
          <a:lstStyle/>
          <a:p>
            <a:pPr lvl="0" eaLnBrk="0" fontAlgn="base" hangingPunct="0">
              <a:spcBef>
                <a:spcPct val="0"/>
              </a:spcBef>
              <a:spcAft>
                <a:spcPct val="0"/>
              </a:spcAft>
            </a:pPr>
            <a:r>
              <a:rPr lang="en-US" altLang="en-US" sz="1050" b="1">
                <a:solidFill>
                  <a:srgbClr val="2877FF"/>
                </a:solidFill>
                <a:latin typeface="Roboto" panose="02000000000000000000" pitchFamily="2" charset="0"/>
                <a:ea typeface="Roboto" panose="02000000000000000000" pitchFamily="2" charset="0"/>
                <a:cs typeface="Arial"/>
              </a:rPr>
              <a:t>Remits &amp; Denials</a:t>
            </a:r>
            <a:r>
              <a:rPr lang="en-US" altLang="en-US" sz="1050">
                <a:solidFill>
                  <a:srgbClr val="2877FF"/>
                </a:solidFill>
                <a:latin typeface="Roboto" panose="02000000000000000000" pitchFamily="2" charset="0"/>
                <a:ea typeface="Roboto" panose="02000000000000000000" pitchFamily="2" charset="0"/>
                <a:cs typeface="Arial"/>
              </a:rPr>
              <a:t> </a:t>
            </a:r>
            <a:r>
              <a:rPr lang="en-US" altLang="en-US" sz="1050">
                <a:latin typeface="Roboto" panose="02000000000000000000" pitchFamily="2" charset="0"/>
                <a:ea typeface="Roboto" panose="02000000000000000000" pitchFamily="2" charset="0"/>
                <a:cs typeface="Arial"/>
              </a:rPr>
              <a:t>— Post payments, work denials &amp; appeals</a:t>
            </a:r>
          </a:p>
        </p:txBody>
      </p:sp>
      <p:grpSp>
        <p:nvGrpSpPr>
          <p:cNvPr id="907" name="Graphic 776">
            <a:extLst>
              <a:ext uri="{FF2B5EF4-FFF2-40B4-BE49-F238E27FC236}">
                <a16:creationId xmlns:a16="http://schemas.microsoft.com/office/drawing/2014/main" id="{0A4E494E-4933-0301-C3F5-332A50CB4B42}"/>
              </a:ext>
            </a:extLst>
          </p:cNvPr>
          <p:cNvGrpSpPr/>
          <p:nvPr/>
        </p:nvGrpSpPr>
        <p:grpSpPr>
          <a:xfrm>
            <a:off x="5754567" y="1460835"/>
            <a:ext cx="578011" cy="535004"/>
            <a:chOff x="5496057" y="1410827"/>
            <a:chExt cx="578011" cy="535004"/>
          </a:xfrm>
        </p:grpSpPr>
        <p:sp>
          <p:nvSpPr>
            <p:cNvPr id="908" name="Freeform 907">
              <a:extLst>
                <a:ext uri="{FF2B5EF4-FFF2-40B4-BE49-F238E27FC236}">
                  <a16:creationId xmlns:a16="http://schemas.microsoft.com/office/drawing/2014/main" id="{C17CEA1D-8C7D-E53C-66A8-7E3B396E80EA}"/>
                </a:ext>
              </a:extLst>
            </p:cNvPr>
            <p:cNvSpPr/>
            <p:nvPr/>
          </p:nvSpPr>
          <p:spPr>
            <a:xfrm>
              <a:off x="5498100" y="1412872"/>
              <a:ext cx="573989" cy="530914"/>
            </a:xfrm>
            <a:custGeom>
              <a:avLst/>
              <a:gdLst>
                <a:gd name="connsiteX0" fmla="*/ 368364 w 573989"/>
                <a:gd name="connsiteY0" fmla="*/ 530914 h 530914"/>
                <a:gd name="connsiteX1" fmla="*/ 476022 w 573989"/>
                <a:gd name="connsiteY1" fmla="*/ 468698 h 530914"/>
                <a:gd name="connsiteX2" fmla="*/ 557376 w 573989"/>
                <a:gd name="connsiteY2" fmla="*/ 327673 h 530914"/>
                <a:gd name="connsiteX3" fmla="*/ 557376 w 573989"/>
                <a:gd name="connsiteY3" fmla="*/ 203241 h 530914"/>
                <a:gd name="connsiteX4" fmla="*/ 476022 w 573989"/>
                <a:gd name="connsiteY4" fmla="*/ 62216 h 530914"/>
                <a:gd name="connsiteX5" fmla="*/ 368364 w 573989"/>
                <a:gd name="connsiteY5" fmla="*/ 0 h 530914"/>
                <a:gd name="connsiteX6" fmla="*/ 205658 w 573989"/>
                <a:gd name="connsiteY6" fmla="*/ 0 h 530914"/>
                <a:gd name="connsiteX7" fmla="*/ 98000 w 573989"/>
                <a:gd name="connsiteY7" fmla="*/ 62216 h 530914"/>
                <a:gd name="connsiteX8" fmla="*/ 16613 w 573989"/>
                <a:gd name="connsiteY8" fmla="*/ 203241 h 530914"/>
                <a:gd name="connsiteX9" fmla="*/ 16613 w 573989"/>
                <a:gd name="connsiteY9" fmla="*/ 327673 h 530914"/>
                <a:gd name="connsiteX10" fmla="*/ 97967 w 573989"/>
                <a:gd name="connsiteY10" fmla="*/ 468698 h 530914"/>
                <a:gd name="connsiteX11" fmla="*/ 205625 w 573989"/>
                <a:gd name="connsiteY11" fmla="*/ 530914 h 530914"/>
                <a:gd name="connsiteX12" fmla="*/ 368331 w 573989"/>
                <a:gd name="connsiteY12" fmla="*/ 530914 h 53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14">
                  <a:moveTo>
                    <a:pt x="368364" y="530914"/>
                  </a:moveTo>
                  <a:cubicBezTo>
                    <a:pt x="412634" y="530914"/>
                    <a:pt x="453904" y="507097"/>
                    <a:pt x="476022" y="468698"/>
                  </a:cubicBezTo>
                  <a:lnTo>
                    <a:pt x="557376" y="327673"/>
                  </a:lnTo>
                  <a:cubicBezTo>
                    <a:pt x="579527" y="289308"/>
                    <a:pt x="579527" y="241640"/>
                    <a:pt x="557376" y="203241"/>
                  </a:cubicBezTo>
                  <a:lnTo>
                    <a:pt x="476022" y="62216"/>
                  </a:lnTo>
                  <a:cubicBezTo>
                    <a:pt x="453904" y="23851"/>
                    <a:pt x="412634" y="0"/>
                    <a:pt x="368364" y="0"/>
                  </a:cubicBezTo>
                  <a:lnTo>
                    <a:pt x="205658" y="0"/>
                  </a:lnTo>
                  <a:cubicBezTo>
                    <a:pt x="161388" y="0"/>
                    <a:pt x="120118" y="23851"/>
                    <a:pt x="98000" y="62216"/>
                  </a:cubicBezTo>
                  <a:lnTo>
                    <a:pt x="16613" y="203241"/>
                  </a:lnTo>
                  <a:cubicBezTo>
                    <a:pt x="-5538" y="241607"/>
                    <a:pt x="-5538" y="289308"/>
                    <a:pt x="16613" y="327673"/>
                  </a:cubicBezTo>
                  <a:lnTo>
                    <a:pt x="97967" y="468698"/>
                  </a:lnTo>
                  <a:cubicBezTo>
                    <a:pt x="120118" y="507064"/>
                    <a:pt x="161355" y="530914"/>
                    <a:pt x="205625" y="530914"/>
                  </a:cubicBezTo>
                  <a:lnTo>
                    <a:pt x="368331" y="530914"/>
                  </a:lnTo>
                  <a:close/>
                </a:path>
              </a:pathLst>
            </a:custGeom>
            <a:solidFill>
              <a:srgbClr val="FFFFFF"/>
            </a:solidFill>
            <a:ln w="3283" cap="flat">
              <a:noFill/>
              <a:prstDash val="solid"/>
              <a:miter/>
            </a:ln>
          </p:spPr>
          <p:txBody>
            <a:bodyPr rtlCol="0" anchor="ctr"/>
            <a:lstStyle/>
            <a:p>
              <a:endParaRPr lang="en-US"/>
            </a:p>
          </p:txBody>
        </p:sp>
        <p:grpSp>
          <p:nvGrpSpPr>
            <p:cNvPr id="909" name="Graphic 776">
              <a:extLst>
                <a:ext uri="{FF2B5EF4-FFF2-40B4-BE49-F238E27FC236}">
                  <a16:creationId xmlns:a16="http://schemas.microsoft.com/office/drawing/2014/main" id="{07891792-C47A-F956-CBEA-E3250E75DB5E}"/>
                </a:ext>
              </a:extLst>
            </p:cNvPr>
            <p:cNvGrpSpPr/>
            <p:nvPr/>
          </p:nvGrpSpPr>
          <p:grpSpPr>
            <a:xfrm>
              <a:off x="5496057" y="1410827"/>
              <a:ext cx="578011" cy="535004"/>
              <a:chOff x="5496057" y="1410827"/>
              <a:chExt cx="578011" cy="535004"/>
            </a:xfrm>
            <a:solidFill>
              <a:srgbClr val="5856D6"/>
            </a:solidFill>
          </p:grpSpPr>
          <p:sp>
            <p:nvSpPr>
              <p:cNvPr id="910" name="Freeform 909">
                <a:extLst>
                  <a:ext uri="{FF2B5EF4-FFF2-40B4-BE49-F238E27FC236}">
                    <a16:creationId xmlns:a16="http://schemas.microsoft.com/office/drawing/2014/main" id="{A40515FC-F373-A8A7-B764-FD222725A62A}"/>
                  </a:ext>
                </a:extLst>
              </p:cNvPr>
              <p:cNvSpPr/>
              <p:nvPr/>
            </p:nvSpPr>
            <p:spPr>
              <a:xfrm>
                <a:off x="5878785" y="1938815"/>
                <a:ext cx="16249" cy="6134"/>
              </a:xfrm>
              <a:custGeom>
                <a:avLst/>
                <a:gdLst>
                  <a:gd name="connsiteX0" fmla="*/ 13787 w 16249"/>
                  <a:gd name="connsiteY0" fmla="*/ 23 h 6134"/>
                  <a:gd name="connsiteX1" fmla="*/ 7820 w 16249"/>
                  <a:gd name="connsiteY1" fmla="*/ 1178 h 6134"/>
                  <a:gd name="connsiteX2" fmla="*/ 1821 w 16249"/>
                  <a:gd name="connsiteY2" fmla="*/ 2035 h 6134"/>
                  <a:gd name="connsiteX3" fmla="*/ 8 w 16249"/>
                  <a:gd name="connsiteY3" fmla="*/ 4279 h 6134"/>
                  <a:gd name="connsiteX4" fmla="*/ 2283 w 16249"/>
                  <a:gd name="connsiteY4" fmla="*/ 6126 h 6134"/>
                  <a:gd name="connsiteX5" fmla="*/ 8480 w 16249"/>
                  <a:gd name="connsiteY5" fmla="*/ 5235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61"/>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911" name="Freeform 910">
                <a:extLst>
                  <a:ext uri="{FF2B5EF4-FFF2-40B4-BE49-F238E27FC236}">
                    <a16:creationId xmlns:a16="http://schemas.microsoft.com/office/drawing/2014/main" id="{164F5CE5-3819-1216-5159-F437B1FD5376}"/>
                  </a:ext>
                </a:extLst>
              </p:cNvPr>
              <p:cNvSpPr/>
              <p:nvPr/>
            </p:nvSpPr>
            <p:spPr>
              <a:xfrm>
                <a:off x="5906767" y="1929448"/>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0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0"/>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912" name="Freeform 911">
                <a:extLst>
                  <a:ext uri="{FF2B5EF4-FFF2-40B4-BE49-F238E27FC236}">
                    <a16:creationId xmlns:a16="http://schemas.microsoft.com/office/drawing/2014/main" id="{6AAA3D42-1BD2-DA5E-269B-76956A2011AD}"/>
                  </a:ext>
                </a:extLst>
              </p:cNvPr>
              <p:cNvSpPr/>
              <p:nvPr/>
            </p:nvSpPr>
            <p:spPr>
              <a:xfrm>
                <a:off x="5932438" y="1914049"/>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599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5029"/>
                      <a:pt x="13303" y="3644"/>
                    </a:cubicBezTo>
                    <a:cubicBezTo>
                      <a:pt x="14193" y="2918"/>
                      <a:pt x="14325" y="1599"/>
                      <a:pt x="13599"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913" name="Freeform 912">
                <a:extLst>
                  <a:ext uri="{FF2B5EF4-FFF2-40B4-BE49-F238E27FC236}">
                    <a16:creationId xmlns:a16="http://schemas.microsoft.com/office/drawing/2014/main" id="{9C72B413-2156-B2E9-8D03-CCEF4DE4B224}"/>
                  </a:ext>
                </a:extLst>
              </p:cNvPr>
              <p:cNvSpPr/>
              <p:nvPr/>
            </p:nvSpPr>
            <p:spPr>
              <a:xfrm>
                <a:off x="5954554" y="1893633"/>
                <a:ext cx="12186" cy="13417"/>
              </a:xfrm>
              <a:custGeom>
                <a:avLst/>
                <a:gdLst>
                  <a:gd name="connsiteX0" fmla="*/ 8493 w 12186"/>
                  <a:gd name="connsiteY0" fmla="*/ 770 h 13417"/>
                  <a:gd name="connsiteX1" fmla="*/ 549 w 12186"/>
                  <a:gd name="connsiteY1" fmla="*/ 9941 h 13417"/>
                  <a:gd name="connsiteX2" fmla="*/ 615 w 12186"/>
                  <a:gd name="connsiteY2" fmla="*/ 12844 h 13417"/>
                  <a:gd name="connsiteX3" fmla="*/ 615 w 12186"/>
                  <a:gd name="connsiteY3" fmla="*/ 12844 h 13417"/>
                  <a:gd name="connsiteX4" fmla="*/ 3515 w 12186"/>
                  <a:gd name="connsiteY4" fmla="*/ 12778 h 13417"/>
                  <a:gd name="connsiteX5" fmla="*/ 11756 w 12186"/>
                  <a:gd name="connsiteY5" fmla="*/ 3310 h 13417"/>
                  <a:gd name="connsiteX6" fmla="*/ 11361 w 12186"/>
                  <a:gd name="connsiteY6" fmla="*/ 407 h 13417"/>
                  <a:gd name="connsiteX7" fmla="*/ 8526 w 12186"/>
                  <a:gd name="connsiteY7" fmla="*/ 803 h 13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17">
                    <a:moveTo>
                      <a:pt x="8493" y="770"/>
                    </a:moveTo>
                    <a:cubicBezTo>
                      <a:pt x="5922" y="3904"/>
                      <a:pt x="3383" y="7071"/>
                      <a:pt x="549" y="9941"/>
                    </a:cubicBezTo>
                    <a:cubicBezTo>
                      <a:pt x="-210" y="10765"/>
                      <a:pt x="-177" y="12052"/>
                      <a:pt x="615" y="12844"/>
                    </a:cubicBezTo>
                    <a:lnTo>
                      <a:pt x="615" y="12844"/>
                    </a:lnTo>
                    <a:cubicBezTo>
                      <a:pt x="1406" y="13635"/>
                      <a:pt x="2724" y="13602"/>
                      <a:pt x="3515" y="12778"/>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914" name="Freeform 913">
                <a:extLst>
                  <a:ext uri="{FF2B5EF4-FFF2-40B4-BE49-F238E27FC236}">
                    <a16:creationId xmlns:a16="http://schemas.microsoft.com/office/drawing/2014/main" id="{0CCC7CAA-CA06-05DB-E8E5-28D9955EFEE7}"/>
                  </a:ext>
                </a:extLst>
              </p:cNvPr>
              <p:cNvSpPr/>
              <p:nvPr/>
            </p:nvSpPr>
            <p:spPr>
              <a:xfrm>
                <a:off x="5971782" y="1869257"/>
                <a:ext cx="10326" cy="14786"/>
              </a:xfrm>
              <a:custGeom>
                <a:avLst/>
                <a:gdLst>
                  <a:gd name="connsiteX0" fmla="*/ 6494 w 10326"/>
                  <a:gd name="connsiteY0" fmla="*/ 1031 h 14786"/>
                  <a:gd name="connsiteX1" fmla="*/ 297 w 10326"/>
                  <a:gd name="connsiteY1" fmla="*/ 11719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3 h 14786"/>
                  <a:gd name="connsiteX6" fmla="*/ 9296 w 10326"/>
                  <a:gd name="connsiteY6" fmla="*/ 273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19"/>
                    </a:lnTo>
                    <a:cubicBezTo>
                      <a:pt x="-297" y="12676"/>
                      <a:pt x="33" y="13897"/>
                      <a:pt x="989" y="14490"/>
                    </a:cubicBezTo>
                    <a:cubicBezTo>
                      <a:pt x="1945" y="15084"/>
                      <a:pt x="3231" y="14754"/>
                      <a:pt x="3857" y="13765"/>
                    </a:cubicBezTo>
                    <a:lnTo>
                      <a:pt x="10054" y="3076"/>
                    </a:lnTo>
                    <a:cubicBezTo>
                      <a:pt x="10614" y="2087"/>
                      <a:pt x="10285" y="833"/>
                      <a:pt x="9296" y="273"/>
                    </a:cubicBezTo>
                    <a:lnTo>
                      <a:pt x="9296" y="273"/>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915" name="Freeform 914">
                <a:extLst>
                  <a:ext uri="{FF2B5EF4-FFF2-40B4-BE49-F238E27FC236}">
                    <a16:creationId xmlns:a16="http://schemas.microsoft.com/office/drawing/2014/main" id="{69A7D8A0-7303-3D81-3C30-7CF5C92800DA}"/>
                  </a:ext>
                </a:extLst>
              </p:cNvPr>
              <p:cNvSpPr/>
              <p:nvPr/>
            </p:nvSpPr>
            <p:spPr>
              <a:xfrm>
                <a:off x="5986244" y="1844318"/>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6"/>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6" name="Freeform 915">
                <a:extLst>
                  <a:ext uri="{FF2B5EF4-FFF2-40B4-BE49-F238E27FC236}">
                    <a16:creationId xmlns:a16="http://schemas.microsoft.com/office/drawing/2014/main" id="{9D7C1705-1D2F-61C6-C593-C9797B0D38F0}"/>
                  </a:ext>
                </a:extLst>
              </p:cNvPr>
              <p:cNvSpPr/>
              <p:nvPr/>
            </p:nvSpPr>
            <p:spPr>
              <a:xfrm>
                <a:off x="6000649" y="1819346"/>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lnTo>
                      <a:pt x="9238" y="273"/>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7" name="Freeform 916">
                <a:extLst>
                  <a:ext uri="{FF2B5EF4-FFF2-40B4-BE49-F238E27FC236}">
                    <a16:creationId xmlns:a16="http://schemas.microsoft.com/office/drawing/2014/main" id="{933BA774-3271-8A76-19F0-C23E8C61AF85}"/>
                  </a:ext>
                </a:extLst>
              </p:cNvPr>
              <p:cNvSpPr/>
              <p:nvPr/>
            </p:nvSpPr>
            <p:spPr>
              <a:xfrm>
                <a:off x="6015054" y="1794373"/>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8" name="Freeform 917">
                <a:extLst>
                  <a:ext uri="{FF2B5EF4-FFF2-40B4-BE49-F238E27FC236}">
                    <a16:creationId xmlns:a16="http://schemas.microsoft.com/office/drawing/2014/main" id="{1D9A0F8F-6BA1-6299-1892-DAA391276D32}"/>
                  </a:ext>
                </a:extLst>
              </p:cNvPr>
              <p:cNvSpPr/>
              <p:nvPr/>
            </p:nvSpPr>
            <p:spPr>
              <a:xfrm>
                <a:off x="6029459" y="1769401"/>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19" name="Freeform 918">
                <a:extLst>
                  <a:ext uri="{FF2B5EF4-FFF2-40B4-BE49-F238E27FC236}">
                    <a16:creationId xmlns:a16="http://schemas.microsoft.com/office/drawing/2014/main" id="{16FF5DEA-7784-17FD-2ADB-807722C05750}"/>
                  </a:ext>
                </a:extLst>
              </p:cNvPr>
              <p:cNvSpPr/>
              <p:nvPr/>
            </p:nvSpPr>
            <p:spPr>
              <a:xfrm>
                <a:off x="6043864" y="1744429"/>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20" name="Freeform 919">
                <a:extLst>
                  <a:ext uri="{FF2B5EF4-FFF2-40B4-BE49-F238E27FC236}">
                    <a16:creationId xmlns:a16="http://schemas.microsoft.com/office/drawing/2014/main" id="{57B4D1A0-F486-7879-592D-8D28058A9A75}"/>
                  </a:ext>
                </a:extLst>
              </p:cNvPr>
              <p:cNvSpPr/>
              <p:nvPr/>
            </p:nvSpPr>
            <p:spPr>
              <a:xfrm>
                <a:off x="6057909" y="1718563"/>
                <a:ext cx="8806" cy="15544"/>
              </a:xfrm>
              <a:custGeom>
                <a:avLst/>
                <a:gdLst>
                  <a:gd name="connsiteX0" fmla="*/ 4852 w 8806"/>
                  <a:gd name="connsiteY0" fmla="*/ 1364 h 15544"/>
                  <a:gd name="connsiteX1" fmla="*/ 2677 w 8806"/>
                  <a:gd name="connsiteY1" fmla="*/ 7038 h 15544"/>
                  <a:gd name="connsiteX2" fmla="*/ 171 w 8806"/>
                  <a:gd name="connsiteY2" fmla="*/ 12580 h 15544"/>
                  <a:gd name="connsiteX3" fmla="*/ 1127 w 8806"/>
                  <a:gd name="connsiteY3" fmla="*/ 15318 h 15544"/>
                  <a:gd name="connsiteX4" fmla="*/ 3863 w 8806"/>
                  <a:gd name="connsiteY4" fmla="*/ 14362 h 15544"/>
                  <a:gd name="connsiteX5" fmla="*/ 6434 w 8806"/>
                  <a:gd name="connsiteY5" fmla="*/ 8622 h 15544"/>
                  <a:gd name="connsiteX6" fmla="*/ 8676 w 8806"/>
                  <a:gd name="connsiteY6" fmla="*/ 2750 h 15544"/>
                  <a:gd name="connsiteX7" fmla="*/ 7456 w 8806"/>
                  <a:gd name="connsiteY7" fmla="*/ 111 h 15544"/>
                  <a:gd name="connsiteX8" fmla="*/ 7456 w 8806"/>
                  <a:gd name="connsiteY8" fmla="*/ 111 h 15544"/>
                  <a:gd name="connsiteX9" fmla="*/ 4819 w 8806"/>
                  <a:gd name="connsiteY9" fmla="*/ 1331 h 15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44">
                    <a:moveTo>
                      <a:pt x="4852" y="1364"/>
                    </a:moveTo>
                    <a:cubicBezTo>
                      <a:pt x="4127" y="3245"/>
                      <a:pt x="3468" y="5191"/>
                      <a:pt x="2677" y="7038"/>
                    </a:cubicBezTo>
                    <a:lnTo>
                      <a:pt x="171" y="12580"/>
                    </a:lnTo>
                    <a:cubicBezTo>
                      <a:pt x="-257" y="13603"/>
                      <a:pt x="138" y="14824"/>
                      <a:pt x="1127" y="15318"/>
                    </a:cubicBezTo>
                    <a:cubicBezTo>
                      <a:pt x="2149" y="15846"/>
                      <a:pt x="3402" y="15417"/>
                      <a:pt x="3863" y="14362"/>
                    </a:cubicBezTo>
                    <a:lnTo>
                      <a:pt x="6434" y="8622"/>
                    </a:lnTo>
                    <a:cubicBezTo>
                      <a:pt x="7259" y="6708"/>
                      <a:pt x="7918" y="4696"/>
                      <a:pt x="8676" y="2750"/>
                    </a:cubicBezTo>
                    <a:cubicBezTo>
                      <a:pt x="9071" y="1661"/>
                      <a:pt x="8544" y="474"/>
                      <a:pt x="7456" y="111"/>
                    </a:cubicBezTo>
                    <a:lnTo>
                      <a:pt x="7456" y="111"/>
                    </a:lnTo>
                    <a:cubicBezTo>
                      <a:pt x="6401"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921" name="Freeform 920">
                <a:extLst>
                  <a:ext uri="{FF2B5EF4-FFF2-40B4-BE49-F238E27FC236}">
                    <a16:creationId xmlns:a16="http://schemas.microsoft.com/office/drawing/2014/main" id="{08114595-6097-D853-A140-F2C988236693}"/>
                  </a:ext>
                </a:extLst>
              </p:cNvPr>
              <p:cNvSpPr/>
              <p:nvPr/>
            </p:nvSpPr>
            <p:spPr>
              <a:xfrm>
                <a:off x="6067189" y="1690560"/>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6"/>
                      <a:pt x="4076" y="14655"/>
                    </a:cubicBezTo>
                    <a:cubicBezTo>
                      <a:pt x="4603" y="12610"/>
                      <a:pt x="4900" y="10564"/>
                      <a:pt x="5230" y="8486"/>
                    </a:cubicBezTo>
                    <a:cubicBezTo>
                      <a:pt x="5526" y="6408"/>
                      <a:pt x="5988" y="4363"/>
                      <a:pt x="6120"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922" name="Freeform 921">
                <a:extLst>
                  <a:ext uri="{FF2B5EF4-FFF2-40B4-BE49-F238E27FC236}">
                    <a16:creationId xmlns:a16="http://schemas.microsoft.com/office/drawing/2014/main" id="{BC6500F7-A8B8-C38A-D87A-5F05E86B61A3}"/>
                  </a:ext>
                </a:extLst>
              </p:cNvPr>
              <p:cNvSpPr/>
              <p:nvPr/>
            </p:nvSpPr>
            <p:spPr>
              <a:xfrm>
                <a:off x="6069148" y="1661814"/>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923" name="Freeform 922">
                <a:extLst>
                  <a:ext uri="{FF2B5EF4-FFF2-40B4-BE49-F238E27FC236}">
                    <a16:creationId xmlns:a16="http://schemas.microsoft.com/office/drawing/2014/main" id="{808F09D5-C968-DCDB-67F9-94CF38E795E7}"/>
                  </a:ext>
                </a:extLst>
              </p:cNvPr>
              <p:cNvSpPr/>
              <p:nvPr/>
            </p:nvSpPr>
            <p:spPr>
              <a:xfrm>
                <a:off x="6062548" y="1633881"/>
                <a:ext cx="7718" cy="15892"/>
              </a:xfrm>
              <a:custGeom>
                <a:avLst/>
                <a:gdLst>
                  <a:gd name="connsiteX0" fmla="*/ 147 w 7718"/>
                  <a:gd name="connsiteY0" fmla="*/ 2718 h 15892"/>
                  <a:gd name="connsiteX1" fmla="*/ 2059 w 7718"/>
                  <a:gd name="connsiteY1" fmla="*/ 8491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2" y="6511"/>
                      <a:pt x="2059" y="8491"/>
                    </a:cubicBezTo>
                    <a:cubicBezTo>
                      <a:pt x="2586" y="10437"/>
                      <a:pt x="3312" y="12350"/>
                      <a:pt x="3707" y="14329"/>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311"/>
                      <a:pt x="3971" y="1365"/>
                    </a:cubicBezTo>
                    <a:cubicBezTo>
                      <a:pt x="3575" y="276"/>
                      <a:pt x="2389"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924" name="Freeform 923">
                <a:extLst>
                  <a:ext uri="{FF2B5EF4-FFF2-40B4-BE49-F238E27FC236}">
                    <a16:creationId xmlns:a16="http://schemas.microsoft.com/office/drawing/2014/main" id="{A41ABEA5-BC6B-994F-C958-4D580F30FB97}"/>
                  </a:ext>
                </a:extLst>
              </p:cNvPr>
              <p:cNvSpPr/>
              <p:nvPr/>
            </p:nvSpPr>
            <p:spPr>
              <a:xfrm>
                <a:off x="6049962" y="1607989"/>
                <a:ext cx="10138" cy="14889"/>
              </a:xfrm>
              <a:custGeom>
                <a:avLst/>
                <a:gdLst>
                  <a:gd name="connsiteX0" fmla="*/ 272 w 10138"/>
                  <a:gd name="connsiteY0" fmla="*/ 3077 h 14889"/>
                  <a:gd name="connsiteX1" fmla="*/ 6239 w 10138"/>
                  <a:gd name="connsiteY1" fmla="*/ 13798 h 14889"/>
                  <a:gd name="connsiteX2" fmla="*/ 9041 w 10138"/>
                  <a:gd name="connsiteY2" fmla="*/ 14655 h 14889"/>
                  <a:gd name="connsiteX3" fmla="*/ 9041 w 10138"/>
                  <a:gd name="connsiteY3" fmla="*/ 14655 h 14889"/>
                  <a:gd name="connsiteX4" fmla="*/ 9898 w 10138"/>
                  <a:gd name="connsiteY4" fmla="*/ 11884 h 14889"/>
                  <a:gd name="connsiteX5" fmla="*/ 3832 w 10138"/>
                  <a:gd name="connsiteY5" fmla="*/ 1031 h 14889"/>
                  <a:gd name="connsiteX6" fmla="*/ 1030 w 10138"/>
                  <a:gd name="connsiteY6" fmla="*/ 273 h 14889"/>
                  <a:gd name="connsiteX7" fmla="*/ 272 w 10138"/>
                  <a:gd name="connsiteY7" fmla="*/ 3077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7"/>
                    </a:moveTo>
                    <a:cubicBezTo>
                      <a:pt x="2349" y="6639"/>
                      <a:pt x="4393" y="10202"/>
                      <a:pt x="6239" y="13798"/>
                    </a:cubicBezTo>
                    <a:cubicBezTo>
                      <a:pt x="6766" y="14787"/>
                      <a:pt x="8019" y="15183"/>
                      <a:pt x="9041" y="14655"/>
                    </a:cubicBezTo>
                    <a:lnTo>
                      <a:pt x="9041" y="14655"/>
                    </a:lnTo>
                    <a:cubicBezTo>
                      <a:pt x="10062" y="14161"/>
                      <a:pt x="10425" y="12907"/>
                      <a:pt x="9898" y="11884"/>
                    </a:cubicBezTo>
                    <a:cubicBezTo>
                      <a:pt x="7953" y="8157"/>
                      <a:pt x="5909" y="4561"/>
                      <a:pt x="3832" y="1031"/>
                    </a:cubicBez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5" name="Freeform 924">
                <a:extLst>
                  <a:ext uri="{FF2B5EF4-FFF2-40B4-BE49-F238E27FC236}">
                    <a16:creationId xmlns:a16="http://schemas.microsoft.com/office/drawing/2014/main" id="{7CCBAEE8-F1F8-A237-421A-E12F7F658928}"/>
                  </a:ext>
                </a:extLst>
              </p:cNvPr>
              <p:cNvSpPr/>
              <p:nvPr/>
            </p:nvSpPr>
            <p:spPr>
              <a:xfrm>
                <a:off x="6035557" y="1583017"/>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6" name="Freeform 925">
                <a:extLst>
                  <a:ext uri="{FF2B5EF4-FFF2-40B4-BE49-F238E27FC236}">
                    <a16:creationId xmlns:a16="http://schemas.microsoft.com/office/drawing/2014/main" id="{D475FF30-4908-4D2A-0210-32E490C0444D}"/>
                  </a:ext>
                </a:extLst>
              </p:cNvPr>
              <p:cNvSpPr/>
              <p:nvPr/>
            </p:nvSpPr>
            <p:spPr>
              <a:xfrm>
                <a:off x="6021153" y="1558045"/>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7" name="Freeform 926">
                <a:extLst>
                  <a:ext uri="{FF2B5EF4-FFF2-40B4-BE49-F238E27FC236}">
                    <a16:creationId xmlns:a16="http://schemas.microsoft.com/office/drawing/2014/main" id="{5A65B9E5-F13B-1B73-0BE8-DFDB83112AC4}"/>
                  </a:ext>
                </a:extLst>
              </p:cNvPr>
              <p:cNvSpPr/>
              <p:nvPr/>
            </p:nvSpPr>
            <p:spPr>
              <a:xfrm>
                <a:off x="6006748" y="1533073"/>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8" name="Freeform 927">
                <a:extLst>
                  <a:ext uri="{FF2B5EF4-FFF2-40B4-BE49-F238E27FC236}">
                    <a16:creationId xmlns:a16="http://schemas.microsoft.com/office/drawing/2014/main" id="{46D91CAF-7DDE-D965-9A8C-E3F0F32A6F0C}"/>
                  </a:ext>
                </a:extLst>
              </p:cNvPr>
              <p:cNvSpPr/>
              <p:nvPr/>
            </p:nvSpPr>
            <p:spPr>
              <a:xfrm>
                <a:off x="5992343" y="1508101"/>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929" name="Freeform 928">
                <a:extLst>
                  <a:ext uri="{FF2B5EF4-FFF2-40B4-BE49-F238E27FC236}">
                    <a16:creationId xmlns:a16="http://schemas.microsoft.com/office/drawing/2014/main" id="{2D2C6C9C-E993-9AB1-D415-C2B7CE1C9B24}"/>
                  </a:ext>
                </a:extLst>
              </p:cNvPr>
              <p:cNvSpPr/>
              <p:nvPr/>
            </p:nvSpPr>
            <p:spPr>
              <a:xfrm>
                <a:off x="5977945" y="1483161"/>
                <a:ext cx="10261" cy="14795"/>
              </a:xfrm>
              <a:custGeom>
                <a:avLst/>
                <a:gdLst>
                  <a:gd name="connsiteX0" fmla="*/ 265 w 10261"/>
                  <a:gd name="connsiteY0" fmla="*/ 3077 h 14795"/>
                  <a:gd name="connsiteX1" fmla="*/ 6429 w 10261"/>
                  <a:gd name="connsiteY1" fmla="*/ 13765 h 14795"/>
                  <a:gd name="connsiteX2" fmla="*/ 9231 w 10261"/>
                  <a:gd name="connsiteY2" fmla="*/ 14523 h 14795"/>
                  <a:gd name="connsiteX3" fmla="*/ 9989 w 10261"/>
                  <a:gd name="connsiteY3" fmla="*/ 11719 h 14795"/>
                  <a:gd name="connsiteX4" fmla="*/ 3825 w 10261"/>
                  <a:gd name="connsiteY4" fmla="*/ 1031 h 14795"/>
                  <a:gd name="connsiteX5" fmla="*/ 1023 w 10261"/>
                  <a:gd name="connsiteY5" fmla="*/ 273 h 14795"/>
                  <a:gd name="connsiteX6" fmla="*/ 265 w 10261"/>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65" y="3077"/>
                    </a:moveTo>
                    <a:lnTo>
                      <a:pt x="6429" y="13765"/>
                    </a:lnTo>
                    <a:cubicBezTo>
                      <a:pt x="6990" y="14754"/>
                      <a:pt x="8242" y="15084"/>
                      <a:pt x="9231" y="14523"/>
                    </a:cubicBezTo>
                    <a:cubicBezTo>
                      <a:pt x="10220" y="13963"/>
                      <a:pt x="10550" y="12709"/>
                      <a:pt x="9989" y="11719"/>
                    </a:cubicBezTo>
                    <a:lnTo>
                      <a:pt x="3825" y="1031"/>
                    </a:lnTo>
                    <a:cubicBezTo>
                      <a:pt x="3265" y="42"/>
                      <a:pt x="1979" y="-288"/>
                      <a:pt x="1023" y="273"/>
                    </a:cubicBezTo>
                    <a:cubicBezTo>
                      <a:pt x="67" y="833"/>
                      <a:pt x="-295" y="2087"/>
                      <a:pt x="265" y="3077"/>
                    </a:cubicBezTo>
                    <a:close/>
                  </a:path>
                </a:pathLst>
              </a:custGeom>
              <a:solidFill>
                <a:srgbClr val="5856D6"/>
              </a:solidFill>
              <a:ln w="3283" cap="flat">
                <a:noFill/>
                <a:prstDash val="solid"/>
                <a:miter/>
              </a:ln>
            </p:spPr>
            <p:txBody>
              <a:bodyPr rtlCol="0" anchor="ctr"/>
              <a:lstStyle/>
              <a:p>
                <a:endParaRPr lang="en-US"/>
              </a:p>
            </p:txBody>
          </p:sp>
          <p:sp>
            <p:nvSpPr>
              <p:cNvPr id="930" name="Freeform 929">
                <a:extLst>
                  <a:ext uri="{FF2B5EF4-FFF2-40B4-BE49-F238E27FC236}">
                    <a16:creationId xmlns:a16="http://schemas.microsoft.com/office/drawing/2014/main" id="{8CDF6673-BF1F-0647-30CA-6C97B669E967}"/>
                  </a:ext>
                </a:extLst>
              </p:cNvPr>
              <p:cNvSpPr/>
              <p:nvPr/>
            </p:nvSpPr>
            <p:spPr>
              <a:xfrm>
                <a:off x="5962480" y="1458878"/>
                <a:ext cx="11190" cy="14206"/>
              </a:xfrm>
              <a:custGeom>
                <a:avLst/>
                <a:gdLst>
                  <a:gd name="connsiteX0" fmla="*/ 468 w 11190"/>
                  <a:gd name="connsiteY0" fmla="*/ 3278 h 14206"/>
                  <a:gd name="connsiteX1" fmla="*/ 7390 w 11190"/>
                  <a:gd name="connsiteY1" fmla="*/ 13241 h 14206"/>
                  <a:gd name="connsiteX2" fmla="*/ 10225 w 11190"/>
                  <a:gd name="connsiteY2" fmla="*/ 13901 h 14206"/>
                  <a:gd name="connsiteX3" fmla="*/ 10225 w 11190"/>
                  <a:gd name="connsiteY3" fmla="*/ 13901 h 14206"/>
                  <a:gd name="connsiteX4" fmla="*/ 10884 w 11190"/>
                  <a:gd name="connsiteY4" fmla="*/ 11064 h 14206"/>
                  <a:gd name="connsiteX5" fmla="*/ 3698 w 11190"/>
                  <a:gd name="connsiteY5" fmla="*/ 771 h 14206"/>
                  <a:gd name="connsiteX6" fmla="*/ 765 w 11190"/>
                  <a:gd name="connsiteY6" fmla="*/ 441 h 14206"/>
                  <a:gd name="connsiteX7" fmla="*/ 765 w 11190"/>
                  <a:gd name="connsiteY7" fmla="*/ 441 h 14206"/>
                  <a:gd name="connsiteX8" fmla="*/ 468 w 11190"/>
                  <a:gd name="connsiteY8" fmla="*/ 3278 h 1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206">
                    <a:moveTo>
                      <a:pt x="468" y="3278"/>
                    </a:moveTo>
                    <a:cubicBezTo>
                      <a:pt x="2841" y="6544"/>
                      <a:pt x="5347" y="9744"/>
                      <a:pt x="7390" y="13241"/>
                    </a:cubicBezTo>
                    <a:cubicBezTo>
                      <a:pt x="7984" y="14198"/>
                      <a:pt x="9236" y="14494"/>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931" name="Freeform 930">
                <a:extLst>
                  <a:ext uri="{FF2B5EF4-FFF2-40B4-BE49-F238E27FC236}">
                    <a16:creationId xmlns:a16="http://schemas.microsoft.com/office/drawing/2014/main" id="{7CEEE170-5534-A997-DA96-8BEEEAD739BA}"/>
                  </a:ext>
                </a:extLst>
              </p:cNvPr>
              <p:cNvSpPr/>
              <p:nvPr/>
            </p:nvSpPr>
            <p:spPr>
              <a:xfrm>
                <a:off x="5942364" y="1438365"/>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1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26"/>
                      <a:pt x="13563" y="9573"/>
                      <a:pt x="12706" y="8781"/>
                    </a:cubicBezTo>
                    <a:cubicBezTo>
                      <a:pt x="9673" y="5911"/>
                      <a:pt x="6608" y="3041"/>
                      <a:pt x="3311" y="468"/>
                    </a:cubicBezTo>
                    <a:cubicBezTo>
                      <a:pt x="2422" y="-257"/>
                      <a:pt x="1136" y="-125"/>
                      <a:pt x="444" y="765"/>
                    </a:cubicBezTo>
                    <a:cubicBezTo>
                      <a:pt x="-248"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932" name="Freeform 931">
                <a:extLst>
                  <a:ext uri="{FF2B5EF4-FFF2-40B4-BE49-F238E27FC236}">
                    <a16:creationId xmlns:a16="http://schemas.microsoft.com/office/drawing/2014/main" id="{10A60763-F8F4-2F3B-98EE-3F48F3C7511B}"/>
                  </a:ext>
                </a:extLst>
              </p:cNvPr>
              <p:cNvSpPr/>
              <p:nvPr/>
            </p:nvSpPr>
            <p:spPr>
              <a:xfrm>
                <a:off x="5917971" y="1423069"/>
                <a:ext cx="14955" cy="9967"/>
              </a:xfrm>
              <a:custGeom>
                <a:avLst/>
                <a:gdLst>
                  <a:gd name="connsiteX0" fmla="*/ 1169 w 14955"/>
                  <a:gd name="connsiteY0" fmla="*/ 3889 h 9967"/>
                  <a:gd name="connsiteX1" fmla="*/ 6575 w 14955"/>
                  <a:gd name="connsiteY1" fmla="*/ 6660 h 9967"/>
                  <a:gd name="connsiteX2" fmla="*/ 11849 w 14955"/>
                  <a:gd name="connsiteY2" fmla="*/ 9662 h 9967"/>
                  <a:gd name="connsiteX3" fmla="*/ 14651 w 14955"/>
                  <a:gd name="connsiteY3" fmla="*/ 9002 h 9967"/>
                  <a:gd name="connsiteX4" fmla="*/ 13958 w 14955"/>
                  <a:gd name="connsiteY4" fmla="*/ 6165 h 9967"/>
                  <a:gd name="connsiteX5" fmla="*/ 8519 w 14955"/>
                  <a:gd name="connsiteY5" fmla="*/ 3064 h 9967"/>
                  <a:gd name="connsiteX6" fmla="*/ 2949 w 14955"/>
                  <a:gd name="connsiteY6" fmla="*/ 194 h 9967"/>
                  <a:gd name="connsiteX7" fmla="*/ 180 w 14955"/>
                  <a:gd name="connsiteY7" fmla="*/ 1184 h 9967"/>
                  <a:gd name="connsiteX8" fmla="*/ 1169 w 14955"/>
                  <a:gd name="connsiteY8" fmla="*/ 3889 h 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67">
                    <a:moveTo>
                      <a:pt x="1169" y="3889"/>
                    </a:moveTo>
                    <a:cubicBezTo>
                      <a:pt x="3048" y="4681"/>
                      <a:pt x="4762" y="5736"/>
                      <a:pt x="6575" y="6660"/>
                    </a:cubicBezTo>
                    <a:cubicBezTo>
                      <a:pt x="8355" y="7584"/>
                      <a:pt x="10135" y="8573"/>
                      <a:pt x="11849" y="9662"/>
                    </a:cubicBezTo>
                    <a:cubicBezTo>
                      <a:pt x="12805" y="10256"/>
                      <a:pt x="14057" y="9959"/>
                      <a:pt x="14651" y="9002"/>
                    </a:cubicBezTo>
                    <a:cubicBezTo>
                      <a:pt x="15244" y="8045"/>
                      <a:pt x="14947" y="6759"/>
                      <a:pt x="13958" y="6165"/>
                    </a:cubicBezTo>
                    <a:cubicBezTo>
                      <a:pt x="12211" y="5010"/>
                      <a:pt x="10365" y="4021"/>
                      <a:pt x="8519" y="3064"/>
                    </a:cubicBezTo>
                    <a:cubicBezTo>
                      <a:pt x="6674" y="2107"/>
                      <a:pt x="4861" y="1019"/>
                      <a:pt x="2949" y="194"/>
                    </a:cubicBezTo>
                    <a:cubicBezTo>
                      <a:pt x="1894" y="-301"/>
                      <a:pt x="674" y="194"/>
                      <a:pt x="180" y="1184"/>
                    </a:cubicBezTo>
                    <a:cubicBezTo>
                      <a:pt x="-282" y="2206"/>
                      <a:pt x="180" y="3427"/>
                      <a:pt x="1169" y="3889"/>
                    </a:cubicBezTo>
                    <a:close/>
                  </a:path>
                </a:pathLst>
              </a:custGeom>
              <a:solidFill>
                <a:srgbClr val="5856D6"/>
              </a:solidFill>
              <a:ln w="3283" cap="flat">
                <a:noFill/>
                <a:prstDash val="solid"/>
                <a:miter/>
              </a:ln>
            </p:spPr>
            <p:txBody>
              <a:bodyPr rtlCol="0" anchor="ctr"/>
              <a:lstStyle/>
              <a:p>
                <a:endParaRPr lang="en-US"/>
              </a:p>
            </p:txBody>
          </p:sp>
          <p:sp>
            <p:nvSpPr>
              <p:cNvPr id="933" name="Freeform 932">
                <a:extLst>
                  <a:ext uri="{FF2B5EF4-FFF2-40B4-BE49-F238E27FC236}">
                    <a16:creationId xmlns:a16="http://schemas.microsoft.com/office/drawing/2014/main" id="{33326376-90B4-4EA0-7A7B-AD1C014965DB}"/>
                  </a:ext>
                </a:extLst>
              </p:cNvPr>
              <p:cNvSpPr/>
              <p:nvPr/>
            </p:nvSpPr>
            <p:spPr>
              <a:xfrm>
                <a:off x="5890814" y="1413673"/>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934" name="Freeform 933">
                <a:extLst>
                  <a:ext uri="{FF2B5EF4-FFF2-40B4-BE49-F238E27FC236}">
                    <a16:creationId xmlns:a16="http://schemas.microsoft.com/office/drawing/2014/main" id="{83E9BE87-809E-1997-338C-EC2CF58D9ED3}"/>
                  </a:ext>
                </a:extLst>
              </p:cNvPr>
              <p:cNvSpPr/>
              <p:nvPr/>
            </p:nvSpPr>
            <p:spPr>
              <a:xfrm>
                <a:off x="5862212" y="1410827"/>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5" name="Freeform 934">
                <a:extLst>
                  <a:ext uri="{FF2B5EF4-FFF2-40B4-BE49-F238E27FC236}">
                    <a16:creationId xmlns:a16="http://schemas.microsoft.com/office/drawing/2014/main" id="{AF0C31F3-A71F-7532-9446-B68140C94160}"/>
                  </a:ext>
                </a:extLst>
              </p:cNvPr>
              <p:cNvSpPr/>
              <p:nvPr/>
            </p:nvSpPr>
            <p:spPr>
              <a:xfrm>
                <a:off x="5833369" y="1410827"/>
                <a:ext cx="16481" cy="4090"/>
              </a:xfrm>
              <a:custGeom>
                <a:avLst/>
                <a:gdLst>
                  <a:gd name="connsiteX0" fmla="*/ 2077 w 16481"/>
                  <a:gd name="connsiteY0" fmla="*/ 4091 h 4090"/>
                  <a:gd name="connsiteX1" fmla="*/ 14438 w 16481"/>
                  <a:gd name="connsiteY1" fmla="*/ 4091 h 4090"/>
                  <a:gd name="connsiteX2" fmla="*/ 16482 w 16481"/>
                  <a:gd name="connsiteY2" fmla="*/ 2045 h 4090"/>
                  <a:gd name="connsiteX3" fmla="*/ 14405 w 16481"/>
                  <a:gd name="connsiteY3" fmla="*/ 0 h 4090"/>
                  <a:gd name="connsiteX4" fmla="*/ 2044 w 16481"/>
                  <a:gd name="connsiteY4" fmla="*/ 0 h 4090"/>
                  <a:gd name="connsiteX5" fmla="*/ 0 w 16481"/>
                  <a:gd name="connsiteY5" fmla="*/ 2045 h 4090"/>
                  <a:gd name="connsiteX6" fmla="*/ 2044 w 16481"/>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 h="4090">
                    <a:moveTo>
                      <a:pt x="2077" y="4091"/>
                    </a:moveTo>
                    <a:lnTo>
                      <a:pt x="14438" y="4091"/>
                    </a:lnTo>
                    <a:cubicBezTo>
                      <a:pt x="15559" y="4091"/>
                      <a:pt x="16482" y="3167"/>
                      <a:pt x="16482" y="2045"/>
                    </a:cubicBezTo>
                    <a:cubicBezTo>
                      <a:pt x="16482" y="924"/>
                      <a:pt x="15559"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6" name="Freeform 935">
                <a:extLst>
                  <a:ext uri="{FF2B5EF4-FFF2-40B4-BE49-F238E27FC236}">
                    <a16:creationId xmlns:a16="http://schemas.microsoft.com/office/drawing/2014/main" id="{7E73CBC0-457D-1FA9-34AE-187311D2F4F9}"/>
                  </a:ext>
                </a:extLst>
              </p:cNvPr>
              <p:cNvSpPr/>
              <p:nvPr/>
            </p:nvSpPr>
            <p:spPr>
              <a:xfrm>
                <a:off x="5804560" y="1410827"/>
                <a:ext cx="16481" cy="4090"/>
              </a:xfrm>
              <a:custGeom>
                <a:avLst/>
                <a:gdLst>
                  <a:gd name="connsiteX0" fmla="*/ 2077 w 16481"/>
                  <a:gd name="connsiteY0" fmla="*/ 4091 h 4090"/>
                  <a:gd name="connsiteX1" fmla="*/ 14438 w 16481"/>
                  <a:gd name="connsiteY1" fmla="*/ 4091 h 4090"/>
                  <a:gd name="connsiteX2" fmla="*/ 16482 w 16481"/>
                  <a:gd name="connsiteY2" fmla="*/ 2045 h 4090"/>
                  <a:gd name="connsiteX3" fmla="*/ 14405 w 16481"/>
                  <a:gd name="connsiteY3" fmla="*/ 0 h 4090"/>
                  <a:gd name="connsiteX4" fmla="*/ 2044 w 16481"/>
                  <a:gd name="connsiteY4" fmla="*/ 0 h 4090"/>
                  <a:gd name="connsiteX5" fmla="*/ 0 w 16481"/>
                  <a:gd name="connsiteY5" fmla="*/ 2045 h 4090"/>
                  <a:gd name="connsiteX6" fmla="*/ 2044 w 16481"/>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 h="4090">
                    <a:moveTo>
                      <a:pt x="2077" y="4091"/>
                    </a:moveTo>
                    <a:lnTo>
                      <a:pt x="14438" y="4091"/>
                    </a:lnTo>
                    <a:cubicBezTo>
                      <a:pt x="15559" y="4091"/>
                      <a:pt x="16482" y="3167"/>
                      <a:pt x="16482" y="2045"/>
                    </a:cubicBezTo>
                    <a:cubicBezTo>
                      <a:pt x="16482" y="924"/>
                      <a:pt x="15559"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7" name="Freeform 936">
                <a:extLst>
                  <a:ext uri="{FF2B5EF4-FFF2-40B4-BE49-F238E27FC236}">
                    <a16:creationId xmlns:a16="http://schemas.microsoft.com/office/drawing/2014/main" id="{8AC78551-A718-8574-20D8-5A4A04231D7E}"/>
                  </a:ext>
                </a:extLst>
              </p:cNvPr>
              <p:cNvSpPr/>
              <p:nvPr/>
            </p:nvSpPr>
            <p:spPr>
              <a:xfrm>
                <a:off x="5775750" y="1410827"/>
                <a:ext cx="16481" cy="4090"/>
              </a:xfrm>
              <a:custGeom>
                <a:avLst/>
                <a:gdLst>
                  <a:gd name="connsiteX0" fmla="*/ 2077 w 16481"/>
                  <a:gd name="connsiteY0" fmla="*/ 4091 h 4090"/>
                  <a:gd name="connsiteX1" fmla="*/ 14438 w 16481"/>
                  <a:gd name="connsiteY1" fmla="*/ 4091 h 4090"/>
                  <a:gd name="connsiteX2" fmla="*/ 16482 w 16481"/>
                  <a:gd name="connsiteY2" fmla="*/ 2045 h 4090"/>
                  <a:gd name="connsiteX3" fmla="*/ 14405 w 16481"/>
                  <a:gd name="connsiteY3" fmla="*/ 0 h 4090"/>
                  <a:gd name="connsiteX4" fmla="*/ 2044 w 16481"/>
                  <a:gd name="connsiteY4" fmla="*/ 0 h 4090"/>
                  <a:gd name="connsiteX5" fmla="*/ 0 w 16481"/>
                  <a:gd name="connsiteY5" fmla="*/ 2045 h 4090"/>
                  <a:gd name="connsiteX6" fmla="*/ 2044 w 16481"/>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81" h="4090">
                    <a:moveTo>
                      <a:pt x="2077" y="4091"/>
                    </a:moveTo>
                    <a:lnTo>
                      <a:pt x="14438" y="4091"/>
                    </a:lnTo>
                    <a:cubicBezTo>
                      <a:pt x="15559" y="4091"/>
                      <a:pt x="16482" y="3167"/>
                      <a:pt x="16482" y="2045"/>
                    </a:cubicBezTo>
                    <a:cubicBezTo>
                      <a:pt x="16482" y="924"/>
                      <a:pt x="15559"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8" name="Freeform 937">
                <a:extLst>
                  <a:ext uri="{FF2B5EF4-FFF2-40B4-BE49-F238E27FC236}">
                    <a16:creationId xmlns:a16="http://schemas.microsoft.com/office/drawing/2014/main" id="{0CB25A59-A227-27EE-A0CB-E93F6EDFBE98}"/>
                  </a:ext>
                </a:extLst>
              </p:cNvPr>
              <p:cNvSpPr/>
              <p:nvPr/>
            </p:nvSpPr>
            <p:spPr>
              <a:xfrm>
                <a:off x="5746973" y="141082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39" name="Freeform 938">
                <a:extLst>
                  <a:ext uri="{FF2B5EF4-FFF2-40B4-BE49-F238E27FC236}">
                    <a16:creationId xmlns:a16="http://schemas.microsoft.com/office/drawing/2014/main" id="{7F2291C5-FB8E-EF14-6EA5-BB34CF156AF6}"/>
                  </a:ext>
                </a:extLst>
              </p:cNvPr>
              <p:cNvSpPr/>
              <p:nvPr/>
            </p:nvSpPr>
            <p:spPr>
              <a:xfrm>
                <a:off x="5718163" y="141082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940" name="Freeform 939">
                <a:extLst>
                  <a:ext uri="{FF2B5EF4-FFF2-40B4-BE49-F238E27FC236}">
                    <a16:creationId xmlns:a16="http://schemas.microsoft.com/office/drawing/2014/main" id="{D06C6EB1-EAF7-C310-C917-6C662D5652B2}"/>
                  </a:ext>
                </a:extLst>
              </p:cNvPr>
              <p:cNvSpPr/>
              <p:nvPr/>
            </p:nvSpPr>
            <p:spPr>
              <a:xfrm>
                <a:off x="5689372" y="1410827"/>
                <a:ext cx="16429" cy="4791"/>
              </a:xfrm>
              <a:custGeom>
                <a:avLst/>
                <a:gdLst>
                  <a:gd name="connsiteX0" fmla="*/ 2255 w 16429"/>
                  <a:gd name="connsiteY0" fmla="*/ 4783 h 4791"/>
                  <a:gd name="connsiteX1" fmla="*/ 14386 w 16429"/>
                  <a:gd name="connsiteY1" fmla="*/ 4124 h 4791"/>
                  <a:gd name="connsiteX2" fmla="*/ 16430 w 16429"/>
                  <a:gd name="connsiteY2" fmla="*/ 2078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83"/>
                    </a:moveTo>
                    <a:cubicBezTo>
                      <a:pt x="6277" y="4255"/>
                      <a:pt x="10331" y="4288"/>
                      <a:pt x="14386" y="4124"/>
                    </a:cubicBezTo>
                    <a:cubicBezTo>
                      <a:pt x="15507" y="4124"/>
                      <a:pt x="16430" y="3200"/>
                      <a:pt x="16430" y="2078"/>
                    </a:cubicBezTo>
                    <a:cubicBezTo>
                      <a:pt x="16430" y="957"/>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941" name="Freeform 940">
                <a:extLst>
                  <a:ext uri="{FF2B5EF4-FFF2-40B4-BE49-F238E27FC236}">
                    <a16:creationId xmlns:a16="http://schemas.microsoft.com/office/drawing/2014/main" id="{FA1245D2-63D5-4A72-4518-59965FC37C08}"/>
                  </a:ext>
                </a:extLst>
              </p:cNvPr>
              <p:cNvSpPr/>
              <p:nvPr/>
            </p:nvSpPr>
            <p:spPr>
              <a:xfrm>
                <a:off x="5661273" y="1414234"/>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942" name="Freeform 941">
                <a:extLst>
                  <a:ext uri="{FF2B5EF4-FFF2-40B4-BE49-F238E27FC236}">
                    <a16:creationId xmlns:a16="http://schemas.microsoft.com/office/drawing/2014/main" id="{7AE5B1B4-387C-9E27-E1B1-A15B29941754}"/>
                  </a:ext>
                </a:extLst>
              </p:cNvPr>
              <p:cNvSpPr/>
              <p:nvPr/>
            </p:nvSpPr>
            <p:spPr>
              <a:xfrm>
                <a:off x="5635360" y="1424005"/>
                <a:ext cx="14873" cy="10204"/>
              </a:xfrm>
              <a:custGeom>
                <a:avLst/>
                <a:gdLst>
                  <a:gd name="connsiteX0" fmla="*/ 3196 w 14873"/>
                  <a:gd name="connsiteY0" fmla="*/ 9913 h 10204"/>
                  <a:gd name="connsiteX1" fmla="*/ 13744 w 14873"/>
                  <a:gd name="connsiteY1" fmla="*/ 3909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913"/>
                    </a:moveTo>
                    <a:cubicBezTo>
                      <a:pt x="6591" y="7670"/>
                      <a:pt x="10184" y="5822"/>
                      <a:pt x="13744" y="3909"/>
                    </a:cubicBezTo>
                    <a:cubicBezTo>
                      <a:pt x="14733" y="3381"/>
                      <a:pt x="15162" y="2227"/>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943" name="Freeform 942">
                <a:extLst>
                  <a:ext uri="{FF2B5EF4-FFF2-40B4-BE49-F238E27FC236}">
                    <a16:creationId xmlns:a16="http://schemas.microsoft.com/office/drawing/2014/main" id="{995A6140-2542-BA07-29E8-9DDAC31879C5}"/>
                  </a:ext>
                </a:extLst>
              </p:cNvPr>
              <p:cNvSpPr/>
              <p:nvPr/>
            </p:nvSpPr>
            <p:spPr>
              <a:xfrm>
                <a:off x="5613063" y="1439836"/>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944" name="Freeform 943">
                <a:extLst>
                  <a:ext uri="{FF2B5EF4-FFF2-40B4-BE49-F238E27FC236}">
                    <a16:creationId xmlns:a16="http://schemas.microsoft.com/office/drawing/2014/main" id="{2D74CBF2-7A84-8F95-EA40-EDF8D1C0ABEE}"/>
                  </a:ext>
                </a:extLst>
              </p:cNvPr>
              <p:cNvSpPr/>
              <p:nvPr/>
            </p:nvSpPr>
            <p:spPr>
              <a:xfrm>
                <a:off x="5595399" y="1460578"/>
                <a:ext cx="10968" cy="14363"/>
              </a:xfrm>
              <a:custGeom>
                <a:avLst/>
                <a:gdLst>
                  <a:gd name="connsiteX0" fmla="*/ 3800 w 10968"/>
                  <a:gd name="connsiteY0" fmla="*/ 13389 h 14363"/>
                  <a:gd name="connsiteX1" fmla="*/ 7030 w 10968"/>
                  <a:gd name="connsiteY1" fmla="*/ 8242 h 14363"/>
                  <a:gd name="connsiteX2" fmla="*/ 10590 w 10968"/>
                  <a:gd name="connsiteY2" fmla="*/ 3294 h 14363"/>
                  <a:gd name="connsiteX3" fmla="*/ 10195 w 10968"/>
                  <a:gd name="connsiteY3" fmla="*/ 424 h 14363"/>
                  <a:gd name="connsiteX4" fmla="*/ 7327 w 10968"/>
                  <a:gd name="connsiteY4" fmla="*/ 853 h 14363"/>
                  <a:gd name="connsiteX5" fmla="*/ 3668 w 10968"/>
                  <a:gd name="connsiteY5" fmla="*/ 5966 h 14363"/>
                  <a:gd name="connsiteX6" fmla="*/ 306 w 10968"/>
                  <a:gd name="connsiteY6" fmla="*/ 11277 h 14363"/>
                  <a:gd name="connsiteX7" fmla="*/ 965 w 10968"/>
                  <a:gd name="connsiteY7" fmla="*/ 14081 h 14363"/>
                  <a:gd name="connsiteX8" fmla="*/ 3800 w 10968"/>
                  <a:gd name="connsiteY8" fmla="*/ 13389 h 1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63">
                    <a:moveTo>
                      <a:pt x="3800" y="13389"/>
                    </a:moveTo>
                    <a:cubicBezTo>
                      <a:pt x="4888" y="11673"/>
                      <a:pt x="5910" y="9925"/>
                      <a:pt x="7030" y="8242"/>
                    </a:cubicBezTo>
                    <a:lnTo>
                      <a:pt x="10590" y="3294"/>
                    </a:lnTo>
                    <a:cubicBezTo>
                      <a:pt x="11217" y="2370"/>
                      <a:pt x="11052" y="1084"/>
                      <a:pt x="10195" y="424"/>
                    </a:cubicBezTo>
                    <a:cubicBezTo>
                      <a:pt x="9305" y="-269"/>
                      <a:pt x="7986" y="-104"/>
                      <a:pt x="7327" y="853"/>
                    </a:cubicBezTo>
                    <a:lnTo>
                      <a:pt x="3668" y="5966"/>
                    </a:lnTo>
                    <a:cubicBezTo>
                      <a:pt x="2514" y="7715"/>
                      <a:pt x="1427" y="9496"/>
                      <a:pt x="306" y="11277"/>
                    </a:cubicBezTo>
                    <a:cubicBezTo>
                      <a:pt x="-288" y="12267"/>
                      <a:pt x="9" y="13520"/>
                      <a:pt x="965" y="14081"/>
                    </a:cubicBezTo>
                    <a:cubicBezTo>
                      <a:pt x="1954" y="14642"/>
                      <a:pt x="3207" y="14345"/>
                      <a:pt x="3800" y="13389"/>
                    </a:cubicBezTo>
                    <a:close/>
                  </a:path>
                </a:pathLst>
              </a:custGeom>
              <a:solidFill>
                <a:srgbClr val="5856D6"/>
              </a:solidFill>
              <a:ln w="3283" cap="flat">
                <a:noFill/>
                <a:prstDash val="solid"/>
                <a:miter/>
              </a:ln>
            </p:spPr>
            <p:txBody>
              <a:bodyPr rtlCol="0" anchor="ctr"/>
              <a:lstStyle/>
              <a:p>
                <a:endParaRPr lang="en-US"/>
              </a:p>
            </p:txBody>
          </p:sp>
          <p:sp>
            <p:nvSpPr>
              <p:cNvPr id="945" name="Freeform 944">
                <a:extLst>
                  <a:ext uri="{FF2B5EF4-FFF2-40B4-BE49-F238E27FC236}">
                    <a16:creationId xmlns:a16="http://schemas.microsoft.com/office/drawing/2014/main" id="{85394397-65ED-E21F-F3CA-2EBF88697DC7}"/>
                  </a:ext>
                </a:extLst>
              </p:cNvPr>
              <p:cNvSpPr/>
              <p:nvPr/>
            </p:nvSpPr>
            <p:spPr>
              <a:xfrm>
                <a:off x="5580895" y="1485075"/>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6" name="Freeform 945">
                <a:extLst>
                  <a:ext uri="{FF2B5EF4-FFF2-40B4-BE49-F238E27FC236}">
                    <a16:creationId xmlns:a16="http://schemas.microsoft.com/office/drawing/2014/main" id="{EED43517-2198-D910-786A-06BF9C818627}"/>
                  </a:ext>
                </a:extLst>
              </p:cNvPr>
              <p:cNvSpPr/>
              <p:nvPr/>
            </p:nvSpPr>
            <p:spPr>
              <a:xfrm>
                <a:off x="5566490" y="1510047"/>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7" name="Freeform 946">
                <a:extLst>
                  <a:ext uri="{FF2B5EF4-FFF2-40B4-BE49-F238E27FC236}">
                    <a16:creationId xmlns:a16="http://schemas.microsoft.com/office/drawing/2014/main" id="{5A34C1FB-67B9-C730-37E4-A0596AC9317B}"/>
                  </a:ext>
                </a:extLst>
              </p:cNvPr>
              <p:cNvSpPr/>
              <p:nvPr/>
            </p:nvSpPr>
            <p:spPr>
              <a:xfrm>
                <a:off x="5552085" y="1535019"/>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8" name="Freeform 947">
                <a:extLst>
                  <a:ext uri="{FF2B5EF4-FFF2-40B4-BE49-F238E27FC236}">
                    <a16:creationId xmlns:a16="http://schemas.microsoft.com/office/drawing/2014/main" id="{D3AE7BF4-1E31-CCA5-2A29-1ECDE61651FD}"/>
                  </a:ext>
                </a:extLst>
              </p:cNvPr>
              <p:cNvSpPr/>
              <p:nvPr/>
            </p:nvSpPr>
            <p:spPr>
              <a:xfrm>
                <a:off x="5537680" y="1559991"/>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49" name="Freeform 948">
                <a:extLst>
                  <a:ext uri="{FF2B5EF4-FFF2-40B4-BE49-F238E27FC236}">
                    <a16:creationId xmlns:a16="http://schemas.microsoft.com/office/drawing/2014/main" id="{5CD0780E-566A-7E3D-4601-D8D741190DF8}"/>
                  </a:ext>
                </a:extLst>
              </p:cNvPr>
              <p:cNvSpPr/>
              <p:nvPr/>
            </p:nvSpPr>
            <p:spPr>
              <a:xfrm>
                <a:off x="5523276" y="1584963"/>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950" name="Freeform 949">
                <a:extLst>
                  <a:ext uri="{FF2B5EF4-FFF2-40B4-BE49-F238E27FC236}">
                    <a16:creationId xmlns:a16="http://schemas.microsoft.com/office/drawing/2014/main" id="{C11C19B6-C485-8568-E573-65C6EA3DAA73}"/>
                  </a:ext>
                </a:extLst>
              </p:cNvPr>
              <p:cNvSpPr/>
              <p:nvPr/>
            </p:nvSpPr>
            <p:spPr>
              <a:xfrm>
                <a:off x="5509106" y="1609903"/>
                <a:ext cx="10065" cy="14916"/>
              </a:xfrm>
              <a:custGeom>
                <a:avLst/>
                <a:gdLst>
                  <a:gd name="connsiteX0" fmla="*/ 3893 w 10065"/>
                  <a:gd name="connsiteY0" fmla="*/ 13798 h 14916"/>
                  <a:gd name="connsiteX1" fmla="*/ 9794 w 10065"/>
                  <a:gd name="connsiteY1" fmla="*/ 3077 h 14916"/>
                  <a:gd name="connsiteX2" fmla="*/ 9035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65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3"/>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65"/>
                    </a:cubicBezTo>
                    <a:close/>
                  </a:path>
                </a:pathLst>
              </a:custGeom>
              <a:solidFill>
                <a:srgbClr val="5856D6"/>
              </a:solidFill>
              <a:ln w="3283" cap="flat">
                <a:noFill/>
                <a:prstDash val="solid"/>
                <a:miter/>
              </a:ln>
            </p:spPr>
            <p:txBody>
              <a:bodyPr rtlCol="0" anchor="ctr"/>
              <a:lstStyle/>
              <a:p>
                <a:endParaRPr lang="en-US"/>
              </a:p>
            </p:txBody>
          </p:sp>
          <p:sp>
            <p:nvSpPr>
              <p:cNvPr id="951" name="Freeform 950">
                <a:extLst>
                  <a:ext uri="{FF2B5EF4-FFF2-40B4-BE49-F238E27FC236}">
                    <a16:creationId xmlns:a16="http://schemas.microsoft.com/office/drawing/2014/main" id="{F2DC52C1-4CA6-872C-B5E1-BF6CD6765FFF}"/>
                  </a:ext>
                </a:extLst>
              </p:cNvPr>
              <p:cNvSpPr/>
              <p:nvPr/>
            </p:nvSpPr>
            <p:spPr>
              <a:xfrm>
                <a:off x="5499363" y="1635915"/>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9"/>
                      <a:pt x="913" y="9360"/>
                      <a:pt x="56" y="13451"/>
                    </a:cubicBezTo>
                    <a:cubicBezTo>
                      <a:pt x="-208" y="14572"/>
                      <a:pt x="485"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952" name="Freeform 951">
                <a:extLst>
                  <a:ext uri="{FF2B5EF4-FFF2-40B4-BE49-F238E27FC236}">
                    <a16:creationId xmlns:a16="http://schemas.microsoft.com/office/drawing/2014/main" id="{313F932B-03CF-E1B7-B079-9AECD6644062}"/>
                  </a:ext>
                </a:extLst>
              </p:cNvPr>
              <p:cNvSpPr/>
              <p:nvPr/>
            </p:nvSpPr>
            <p:spPr>
              <a:xfrm>
                <a:off x="5496057" y="1664031"/>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5"/>
                      <a:pt x="4022" y="146"/>
                      <a:pt x="2901" y="14"/>
                    </a:cubicBezTo>
                    <a:cubicBezTo>
                      <a:pt x="1780" y="-118"/>
                      <a:pt x="758" y="707"/>
                      <a:pt x="659" y="1861"/>
                    </a:cubicBezTo>
                    <a:cubicBezTo>
                      <a:pt x="165"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953" name="Freeform 952">
                <a:extLst>
                  <a:ext uri="{FF2B5EF4-FFF2-40B4-BE49-F238E27FC236}">
                    <a16:creationId xmlns:a16="http://schemas.microsoft.com/office/drawing/2014/main" id="{0816FBEF-5A35-B7FB-8E2C-0AD07421C068}"/>
                  </a:ext>
                </a:extLst>
              </p:cNvPr>
              <p:cNvSpPr/>
              <p:nvPr/>
            </p:nvSpPr>
            <p:spPr>
              <a:xfrm>
                <a:off x="5497157" y="1692764"/>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1"/>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954" name="Freeform 953">
                <a:extLst>
                  <a:ext uri="{FF2B5EF4-FFF2-40B4-BE49-F238E27FC236}">
                    <a16:creationId xmlns:a16="http://schemas.microsoft.com/office/drawing/2014/main" id="{B021308C-4E60-633D-FB30-3D580E35CCAD}"/>
                  </a:ext>
                </a:extLst>
              </p:cNvPr>
              <p:cNvSpPr/>
              <p:nvPr/>
            </p:nvSpPr>
            <p:spPr>
              <a:xfrm>
                <a:off x="5504251" y="1720654"/>
                <a:ext cx="9048" cy="15440"/>
              </a:xfrm>
              <a:custGeom>
                <a:avLst/>
                <a:gdLst>
                  <a:gd name="connsiteX0" fmla="*/ 8814 w 9048"/>
                  <a:gd name="connsiteY0" fmla="*/ 12469 h 15440"/>
                  <a:gd name="connsiteX1" fmla="*/ 3968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69"/>
                    </a:moveTo>
                    <a:cubicBezTo>
                      <a:pt x="7133" y="8807"/>
                      <a:pt x="5287" y="5179"/>
                      <a:pt x="3968"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955" name="Freeform 954">
                <a:extLst>
                  <a:ext uri="{FF2B5EF4-FFF2-40B4-BE49-F238E27FC236}">
                    <a16:creationId xmlns:a16="http://schemas.microsoft.com/office/drawing/2014/main" id="{8F0A9435-9507-5CA4-5DF2-4FF84217F22E}"/>
                  </a:ext>
                </a:extLst>
              </p:cNvPr>
              <p:cNvSpPr/>
              <p:nvPr/>
            </p:nvSpPr>
            <p:spPr>
              <a:xfrm>
                <a:off x="5517210" y="1746375"/>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1986"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6" name="Freeform 955">
                <a:extLst>
                  <a:ext uri="{FF2B5EF4-FFF2-40B4-BE49-F238E27FC236}">
                    <a16:creationId xmlns:a16="http://schemas.microsoft.com/office/drawing/2014/main" id="{DAF8696E-A800-0F1A-5CE6-19B06ED393AC}"/>
                  </a:ext>
                </a:extLst>
              </p:cNvPr>
              <p:cNvSpPr/>
              <p:nvPr/>
            </p:nvSpPr>
            <p:spPr>
              <a:xfrm>
                <a:off x="5531615" y="1771348"/>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7" name="Freeform 956">
                <a:extLst>
                  <a:ext uri="{FF2B5EF4-FFF2-40B4-BE49-F238E27FC236}">
                    <a16:creationId xmlns:a16="http://schemas.microsoft.com/office/drawing/2014/main" id="{C26F2BB7-6B0D-BCD7-D0E2-2E89FBA49D47}"/>
                  </a:ext>
                </a:extLst>
              </p:cNvPr>
              <p:cNvSpPr/>
              <p:nvPr/>
            </p:nvSpPr>
            <p:spPr>
              <a:xfrm>
                <a:off x="5546020" y="1796320"/>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8" name="Freeform 957">
                <a:extLst>
                  <a:ext uri="{FF2B5EF4-FFF2-40B4-BE49-F238E27FC236}">
                    <a16:creationId xmlns:a16="http://schemas.microsoft.com/office/drawing/2014/main" id="{0F8FF1F3-80E1-A31D-A080-2949602193DF}"/>
                  </a:ext>
                </a:extLst>
              </p:cNvPr>
              <p:cNvSpPr/>
              <p:nvPr/>
            </p:nvSpPr>
            <p:spPr>
              <a:xfrm>
                <a:off x="5560425" y="1821259"/>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59" name="Freeform 958">
                <a:extLst>
                  <a:ext uri="{FF2B5EF4-FFF2-40B4-BE49-F238E27FC236}">
                    <a16:creationId xmlns:a16="http://schemas.microsoft.com/office/drawing/2014/main" id="{7A1397F1-693C-87D9-1A78-FEFCF6941B94}"/>
                  </a:ext>
                </a:extLst>
              </p:cNvPr>
              <p:cNvSpPr/>
              <p:nvPr/>
            </p:nvSpPr>
            <p:spPr>
              <a:xfrm>
                <a:off x="5574830" y="1846231"/>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82"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960" name="Freeform 959">
                <a:extLst>
                  <a:ext uri="{FF2B5EF4-FFF2-40B4-BE49-F238E27FC236}">
                    <a16:creationId xmlns:a16="http://schemas.microsoft.com/office/drawing/2014/main" id="{1D8B7A3C-BD75-4317-7581-5CA547F5BA45}"/>
                  </a:ext>
                </a:extLst>
              </p:cNvPr>
              <p:cNvSpPr/>
              <p:nvPr/>
            </p:nvSpPr>
            <p:spPr>
              <a:xfrm>
                <a:off x="5589202" y="1871203"/>
                <a:ext cx="10335" cy="14762"/>
              </a:xfrm>
              <a:custGeom>
                <a:avLst/>
                <a:gdLst>
                  <a:gd name="connsiteX0" fmla="*/ 10062 w 10335"/>
                  <a:gd name="connsiteY0" fmla="*/ 11653 h 14762"/>
                  <a:gd name="connsiteX1" fmla="*/ 3832 w 10335"/>
                  <a:gd name="connsiteY1" fmla="*/ 1031 h 14762"/>
                  <a:gd name="connsiteX2" fmla="*/ 1030 w 10335"/>
                  <a:gd name="connsiteY2" fmla="*/ 273 h 14762"/>
                  <a:gd name="connsiteX3" fmla="*/ 272 w 10335"/>
                  <a:gd name="connsiteY3" fmla="*/ 3077 h 14762"/>
                  <a:gd name="connsiteX4" fmla="*/ 6535 w 10335"/>
                  <a:gd name="connsiteY4" fmla="*/ 13765 h 14762"/>
                  <a:gd name="connsiteX5" fmla="*/ 9370 w 10335"/>
                  <a:gd name="connsiteY5" fmla="*/ 14458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2"/>
                      <a:pt x="2019" y="-288"/>
                      <a:pt x="1030" y="273"/>
                    </a:cubicBezTo>
                    <a:cubicBezTo>
                      <a:pt x="42" y="833"/>
                      <a:pt x="-288" y="2087"/>
                      <a:pt x="272" y="3077"/>
                    </a:cubicBezTo>
                    <a:cubicBezTo>
                      <a:pt x="2382" y="6639"/>
                      <a:pt x="4294" y="10235"/>
                      <a:pt x="6535" y="13765"/>
                    </a:cubicBezTo>
                    <a:cubicBezTo>
                      <a:pt x="7129" y="14754"/>
                      <a:pt x="8414" y="15051"/>
                      <a:pt x="9370" y="14458"/>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961" name="Freeform 960">
                <a:extLst>
                  <a:ext uri="{FF2B5EF4-FFF2-40B4-BE49-F238E27FC236}">
                    <a16:creationId xmlns:a16="http://schemas.microsoft.com/office/drawing/2014/main" id="{16A24F4C-6E1E-0F99-56EA-A0E9B3C3C4C5}"/>
                  </a:ext>
                </a:extLst>
              </p:cNvPr>
              <p:cNvSpPr/>
              <p:nvPr/>
            </p:nvSpPr>
            <p:spPr>
              <a:xfrm>
                <a:off x="5604928" y="1895344"/>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897"/>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962" name="Freeform 961">
                <a:extLst>
                  <a:ext uri="{FF2B5EF4-FFF2-40B4-BE49-F238E27FC236}">
                    <a16:creationId xmlns:a16="http://schemas.microsoft.com/office/drawing/2014/main" id="{E8B4CF71-13E2-B2B0-4BB4-59D30E09D7FF}"/>
                  </a:ext>
                </a:extLst>
              </p:cNvPr>
              <p:cNvSpPr/>
              <p:nvPr/>
            </p:nvSpPr>
            <p:spPr>
              <a:xfrm>
                <a:off x="5625444" y="1915470"/>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963" name="Freeform 962">
                <a:extLst>
                  <a:ext uri="{FF2B5EF4-FFF2-40B4-BE49-F238E27FC236}">
                    <a16:creationId xmlns:a16="http://schemas.microsoft.com/office/drawing/2014/main" id="{7D85BA49-4E60-807F-1F74-7F71FEFA6040}"/>
                  </a:ext>
                </a:extLst>
              </p:cNvPr>
              <p:cNvSpPr/>
              <p:nvPr/>
            </p:nvSpPr>
            <p:spPr>
              <a:xfrm>
                <a:off x="5649999" y="1930379"/>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964" name="Freeform 963">
                <a:extLst>
                  <a:ext uri="{FF2B5EF4-FFF2-40B4-BE49-F238E27FC236}">
                    <a16:creationId xmlns:a16="http://schemas.microsoft.com/office/drawing/2014/main" id="{90ACE8C4-B191-5BEB-E540-0F4A7CFB74D9}"/>
                  </a:ext>
                </a:extLst>
              </p:cNvPr>
              <p:cNvSpPr/>
              <p:nvPr/>
            </p:nvSpPr>
            <p:spPr>
              <a:xfrm>
                <a:off x="5677343" y="1939287"/>
                <a:ext cx="16331" cy="5859"/>
              </a:xfrm>
              <a:custGeom>
                <a:avLst/>
                <a:gdLst>
                  <a:gd name="connsiteX0" fmla="*/ 14449 w 16331"/>
                  <a:gd name="connsiteY0" fmla="*/ 1794 h 5859"/>
                  <a:gd name="connsiteX1" fmla="*/ 2451 w 16331"/>
                  <a:gd name="connsiteY1" fmla="*/ 46 h 5859"/>
                  <a:gd name="connsiteX2" fmla="*/ 44 w 16331"/>
                  <a:gd name="connsiteY2" fmla="*/ 1596 h 5859"/>
                  <a:gd name="connsiteX3" fmla="*/ 1659 w 16331"/>
                  <a:gd name="connsiteY3" fmla="*/ 4070 h 5859"/>
                  <a:gd name="connsiteX4" fmla="*/ 14087 w 16331"/>
                  <a:gd name="connsiteY4" fmla="*/ 5852 h 5859"/>
                  <a:gd name="connsiteX5" fmla="*/ 16328 w 16331"/>
                  <a:gd name="connsiteY5" fmla="*/ 4004 h 5859"/>
                  <a:gd name="connsiteX6" fmla="*/ 14482 w 16331"/>
                  <a:gd name="connsiteY6" fmla="*/ 1761 h 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1" h="5859">
                    <a:moveTo>
                      <a:pt x="14449" y="1794"/>
                    </a:moveTo>
                    <a:cubicBezTo>
                      <a:pt x="10395" y="1497"/>
                      <a:pt x="6439" y="706"/>
                      <a:pt x="2451" y="46"/>
                    </a:cubicBezTo>
                    <a:cubicBezTo>
                      <a:pt x="1363" y="-185"/>
                      <a:pt x="275" y="475"/>
                      <a:pt x="44" y="1596"/>
                    </a:cubicBezTo>
                    <a:cubicBezTo>
                      <a:pt x="-187" y="2685"/>
                      <a:pt x="506" y="3840"/>
                      <a:pt x="1659" y="4070"/>
                    </a:cubicBezTo>
                    <a:cubicBezTo>
                      <a:pt x="5780" y="4763"/>
                      <a:pt x="9900" y="5555"/>
                      <a:pt x="14087" y="5852"/>
                    </a:cubicBezTo>
                    <a:cubicBezTo>
                      <a:pt x="15240" y="5951"/>
                      <a:pt x="16262" y="5126"/>
                      <a:pt x="16328" y="4004"/>
                    </a:cubicBezTo>
                    <a:cubicBezTo>
                      <a:pt x="16394"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965" name="Freeform 964">
                <a:extLst>
                  <a:ext uri="{FF2B5EF4-FFF2-40B4-BE49-F238E27FC236}">
                    <a16:creationId xmlns:a16="http://schemas.microsoft.com/office/drawing/2014/main" id="{5732C9DE-E03B-65DC-08B0-116D93BC9405}"/>
                  </a:ext>
                </a:extLst>
              </p:cNvPr>
              <p:cNvSpPr/>
              <p:nvPr/>
            </p:nvSpPr>
            <p:spPr>
              <a:xfrm>
                <a:off x="570599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6" name="Freeform 965">
                <a:extLst>
                  <a:ext uri="{FF2B5EF4-FFF2-40B4-BE49-F238E27FC236}">
                    <a16:creationId xmlns:a16="http://schemas.microsoft.com/office/drawing/2014/main" id="{50206747-5FEB-3665-9F9B-B142BF750845}"/>
                  </a:ext>
                </a:extLst>
              </p:cNvPr>
              <p:cNvSpPr/>
              <p:nvPr/>
            </p:nvSpPr>
            <p:spPr>
              <a:xfrm>
                <a:off x="573480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7" name="Freeform 966">
                <a:extLst>
                  <a:ext uri="{FF2B5EF4-FFF2-40B4-BE49-F238E27FC236}">
                    <a16:creationId xmlns:a16="http://schemas.microsoft.com/office/drawing/2014/main" id="{1EA73C04-81C6-238D-5671-90E44AD5FEE3}"/>
                  </a:ext>
                </a:extLst>
              </p:cNvPr>
              <p:cNvSpPr/>
              <p:nvPr/>
            </p:nvSpPr>
            <p:spPr>
              <a:xfrm>
                <a:off x="576361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8" name="Freeform 967">
                <a:extLst>
                  <a:ext uri="{FF2B5EF4-FFF2-40B4-BE49-F238E27FC236}">
                    <a16:creationId xmlns:a16="http://schemas.microsoft.com/office/drawing/2014/main" id="{AB89F450-55FB-DA18-2CB1-680FBDFDEC0A}"/>
                  </a:ext>
                </a:extLst>
              </p:cNvPr>
              <p:cNvSpPr/>
              <p:nvPr/>
            </p:nvSpPr>
            <p:spPr>
              <a:xfrm>
                <a:off x="579242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69" name="Freeform 968">
                <a:extLst>
                  <a:ext uri="{FF2B5EF4-FFF2-40B4-BE49-F238E27FC236}">
                    <a16:creationId xmlns:a16="http://schemas.microsoft.com/office/drawing/2014/main" id="{D872077B-0548-8C2B-8FDA-4AAB86EBAD48}"/>
                  </a:ext>
                </a:extLst>
              </p:cNvPr>
              <p:cNvSpPr/>
              <p:nvPr/>
            </p:nvSpPr>
            <p:spPr>
              <a:xfrm>
                <a:off x="5821239" y="1941741"/>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970" name="Freeform 969">
                <a:extLst>
                  <a:ext uri="{FF2B5EF4-FFF2-40B4-BE49-F238E27FC236}">
                    <a16:creationId xmlns:a16="http://schemas.microsoft.com/office/drawing/2014/main" id="{72DFEC54-0A8C-AA39-7C0B-0E32B9645501}"/>
                  </a:ext>
                </a:extLst>
              </p:cNvPr>
              <p:cNvSpPr/>
              <p:nvPr/>
            </p:nvSpPr>
            <p:spPr>
              <a:xfrm>
                <a:off x="5850016" y="1941741"/>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971" name="Freeform 970">
            <a:extLst>
              <a:ext uri="{FF2B5EF4-FFF2-40B4-BE49-F238E27FC236}">
                <a16:creationId xmlns:a16="http://schemas.microsoft.com/office/drawing/2014/main" id="{F4A6DEEE-61EA-4A5E-A790-3582B96491C6}"/>
              </a:ext>
            </a:extLst>
          </p:cNvPr>
          <p:cNvSpPr/>
          <p:nvPr/>
        </p:nvSpPr>
        <p:spPr>
          <a:xfrm>
            <a:off x="5797633" y="1503917"/>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2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2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9" y="448839"/>
                  <a:pt x="384665" y="432873"/>
                  <a:pt x="399498" y="407142"/>
                </a:cubicBezTo>
                <a:lnTo>
                  <a:pt x="480851" y="266117"/>
                </a:lnTo>
                <a:cubicBezTo>
                  <a:pt x="495685" y="240419"/>
                  <a:pt x="495685" y="208453"/>
                  <a:pt x="480851" y="182722"/>
                </a:cubicBezTo>
                <a:lnTo>
                  <a:pt x="399498" y="41697"/>
                </a:lnTo>
                <a:cubicBezTo>
                  <a:pt x="384665" y="15966"/>
                  <a:pt x="357009" y="0"/>
                  <a:pt x="327342"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972" name="Freeform 971">
            <a:extLst>
              <a:ext uri="{FF2B5EF4-FFF2-40B4-BE49-F238E27FC236}">
                <a16:creationId xmlns:a16="http://schemas.microsoft.com/office/drawing/2014/main" id="{5D7E08F8-0BD7-83FA-47D5-F2D8921CEE10}"/>
              </a:ext>
            </a:extLst>
          </p:cNvPr>
          <p:cNvSpPr/>
          <p:nvPr/>
        </p:nvSpPr>
        <p:spPr>
          <a:xfrm>
            <a:off x="5838598" y="1544955"/>
            <a:ext cx="410046" cy="366764"/>
          </a:xfrm>
          <a:custGeom>
            <a:avLst/>
            <a:gdLst>
              <a:gd name="connsiteX0" fmla="*/ 123670 w 410046"/>
              <a:gd name="connsiteY0" fmla="*/ 0 h 366764"/>
              <a:gd name="connsiteX1" fmla="*/ 286377 w 410046"/>
              <a:gd name="connsiteY1" fmla="*/ 0 h 366764"/>
              <a:gd name="connsiteX2" fmla="*/ 323032 w 410046"/>
              <a:gd name="connsiteY2" fmla="*/ 21179 h 366764"/>
              <a:gd name="connsiteX3" fmla="*/ 404385 w 410046"/>
              <a:gd name="connsiteY3" fmla="*/ 162204 h 366764"/>
              <a:gd name="connsiteX4" fmla="*/ 404385 w 410046"/>
              <a:gd name="connsiteY4" fmla="*/ 204561 h 366764"/>
              <a:gd name="connsiteX5" fmla="*/ 323032 w 410046"/>
              <a:gd name="connsiteY5" fmla="*/ 345586 h 366764"/>
              <a:gd name="connsiteX6" fmla="*/ 286377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9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7" y="0"/>
                </a:lnTo>
                <a:cubicBezTo>
                  <a:pt x="301507" y="0"/>
                  <a:pt x="315450" y="8082"/>
                  <a:pt x="323032" y="21179"/>
                </a:cubicBezTo>
                <a:lnTo>
                  <a:pt x="404385" y="162204"/>
                </a:lnTo>
                <a:cubicBezTo>
                  <a:pt x="411934" y="175300"/>
                  <a:pt x="411934" y="191464"/>
                  <a:pt x="404385" y="204561"/>
                </a:cubicBezTo>
                <a:lnTo>
                  <a:pt x="323032" y="345586"/>
                </a:lnTo>
                <a:cubicBezTo>
                  <a:pt x="315483" y="358682"/>
                  <a:pt x="301507" y="366764"/>
                  <a:pt x="286377" y="366764"/>
                </a:cubicBezTo>
                <a:lnTo>
                  <a:pt x="123670" y="366764"/>
                </a:lnTo>
                <a:cubicBezTo>
                  <a:pt x="108540" y="366764"/>
                  <a:pt x="94596" y="358682"/>
                  <a:pt x="87015" y="345586"/>
                </a:cubicBezTo>
                <a:lnTo>
                  <a:pt x="5661" y="204561"/>
                </a:lnTo>
                <a:cubicBezTo>
                  <a:pt x="-1887" y="191464"/>
                  <a:pt x="-1887" y="175300"/>
                  <a:pt x="5661" y="162204"/>
                </a:cubicBezTo>
                <a:lnTo>
                  <a:pt x="87015" y="21179"/>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973" name="Freeform 972">
            <a:extLst>
              <a:ext uri="{FF2B5EF4-FFF2-40B4-BE49-F238E27FC236}">
                <a16:creationId xmlns:a16="http://schemas.microsoft.com/office/drawing/2014/main" id="{FA1A097F-6271-5A16-AA61-99EE4DDF5681}"/>
              </a:ext>
            </a:extLst>
          </p:cNvPr>
          <p:cNvSpPr/>
          <p:nvPr/>
        </p:nvSpPr>
        <p:spPr>
          <a:xfrm>
            <a:off x="6011713" y="1624028"/>
            <a:ext cx="63849" cy="208651"/>
          </a:xfrm>
          <a:custGeom>
            <a:avLst/>
            <a:gdLst>
              <a:gd name="connsiteX0" fmla="*/ 36293 w 63849"/>
              <a:gd name="connsiteY0" fmla="*/ 36056 h 208651"/>
              <a:gd name="connsiteX1" fmla="*/ 20734 w 63849"/>
              <a:gd name="connsiteY1" fmla="*/ 39652 h 208651"/>
              <a:gd name="connsiteX2" fmla="*/ 0 w 63849"/>
              <a:gd name="connsiteY2" fmla="*/ 43512 h 208651"/>
              <a:gd name="connsiteX3" fmla="*/ 0 w 63849"/>
              <a:gd name="connsiteY3" fmla="*/ 22663 h 208651"/>
              <a:gd name="connsiteX4" fmla="*/ 42984 w 63849"/>
              <a:gd name="connsiteY4" fmla="*/ 0 h 208651"/>
              <a:gd name="connsiteX5" fmla="*/ 63850 w 63849"/>
              <a:gd name="connsiteY5" fmla="*/ 0 h 208651"/>
              <a:gd name="connsiteX6" fmla="*/ 63850 w 63849"/>
              <a:gd name="connsiteY6" fmla="*/ 208651 h 208651"/>
              <a:gd name="connsiteX7" fmla="*/ 36293 w 63849"/>
              <a:gd name="connsiteY7" fmla="*/ 208651 h 208651"/>
              <a:gd name="connsiteX8" fmla="*/ 36293 w 63849"/>
              <a:gd name="connsiteY8" fmla="*/ 36056 h 20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9" h="208651">
                <a:moveTo>
                  <a:pt x="36293" y="36056"/>
                </a:moveTo>
                <a:cubicBezTo>
                  <a:pt x="35963" y="36584"/>
                  <a:pt x="30755" y="37772"/>
                  <a:pt x="20734" y="39652"/>
                </a:cubicBezTo>
                <a:cubicBezTo>
                  <a:pt x="10680" y="41532"/>
                  <a:pt x="3791" y="42852"/>
                  <a:pt x="0" y="43512"/>
                </a:cubicBezTo>
                <a:lnTo>
                  <a:pt x="0" y="22663"/>
                </a:lnTo>
                <a:cubicBezTo>
                  <a:pt x="20932" y="17682"/>
                  <a:pt x="35271" y="10127"/>
                  <a:pt x="42984" y="0"/>
                </a:cubicBezTo>
                <a:lnTo>
                  <a:pt x="63850" y="0"/>
                </a:lnTo>
                <a:lnTo>
                  <a:pt x="63850" y="208651"/>
                </a:lnTo>
                <a:lnTo>
                  <a:pt x="36293" y="208651"/>
                </a:lnTo>
                <a:lnTo>
                  <a:pt x="36293" y="36056"/>
                </a:lnTo>
                <a:close/>
              </a:path>
            </a:pathLst>
          </a:custGeom>
          <a:solidFill>
            <a:srgbClr val="5856D6"/>
          </a:solidFill>
          <a:ln w="3283" cap="flat">
            <a:noFill/>
            <a:prstDash val="solid"/>
            <a:miter/>
          </a:ln>
        </p:spPr>
        <p:txBody>
          <a:bodyPr rtlCol="0" anchor="ctr"/>
          <a:lstStyle/>
          <a:p>
            <a:endParaRPr lang="en-US"/>
          </a:p>
        </p:txBody>
      </p:sp>
      <p:grpSp>
        <p:nvGrpSpPr>
          <p:cNvPr id="974" name="Graphic 776">
            <a:extLst>
              <a:ext uri="{FF2B5EF4-FFF2-40B4-BE49-F238E27FC236}">
                <a16:creationId xmlns:a16="http://schemas.microsoft.com/office/drawing/2014/main" id="{79AB07FB-9804-B86B-2A42-0D6ACC1FC2CB}"/>
              </a:ext>
            </a:extLst>
          </p:cNvPr>
          <p:cNvGrpSpPr/>
          <p:nvPr/>
        </p:nvGrpSpPr>
        <p:grpSpPr>
          <a:xfrm>
            <a:off x="5701128" y="2268538"/>
            <a:ext cx="113571" cy="103353"/>
            <a:chOff x="5728283" y="2234644"/>
            <a:chExt cx="113571" cy="103353"/>
          </a:xfrm>
        </p:grpSpPr>
        <p:grpSp>
          <p:nvGrpSpPr>
            <p:cNvPr id="975" name="Graphic 776">
              <a:extLst>
                <a:ext uri="{FF2B5EF4-FFF2-40B4-BE49-F238E27FC236}">
                  <a16:creationId xmlns:a16="http://schemas.microsoft.com/office/drawing/2014/main" id="{210F84C9-B12D-05A9-C0A6-A6E7AA96416A}"/>
                </a:ext>
              </a:extLst>
            </p:cNvPr>
            <p:cNvGrpSpPr/>
            <p:nvPr/>
          </p:nvGrpSpPr>
          <p:grpSpPr>
            <a:xfrm>
              <a:off x="5728283" y="2234644"/>
              <a:ext cx="113571" cy="103353"/>
              <a:chOff x="5728283" y="2234644"/>
              <a:chExt cx="113571" cy="103353"/>
            </a:xfrm>
          </p:grpSpPr>
          <p:sp>
            <p:nvSpPr>
              <p:cNvPr id="976" name="Freeform 975">
                <a:extLst>
                  <a:ext uri="{FF2B5EF4-FFF2-40B4-BE49-F238E27FC236}">
                    <a16:creationId xmlns:a16="http://schemas.microsoft.com/office/drawing/2014/main" id="{896CD3AB-E18A-032D-6E0A-51D86A6AC920}"/>
                  </a:ext>
                </a:extLst>
              </p:cNvPr>
              <p:cNvSpPr/>
              <p:nvPr/>
            </p:nvSpPr>
            <p:spPr>
              <a:xfrm>
                <a:off x="5729527" y="2237383"/>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3 h 97843"/>
                  <a:gd name="connsiteX9" fmla="*/ 76714 w 109586"/>
                  <a:gd name="connsiteY9" fmla="*/ 97843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3"/>
                      <a:pt x="32873" y="97843"/>
                    </a:cubicBezTo>
                    <a:lnTo>
                      <a:pt x="76714" y="97843"/>
                    </a:lnTo>
                    <a:cubicBezTo>
                      <a:pt x="80636" y="97843"/>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977" name="Graphic 776">
                <a:extLst>
                  <a:ext uri="{FF2B5EF4-FFF2-40B4-BE49-F238E27FC236}">
                    <a16:creationId xmlns:a16="http://schemas.microsoft.com/office/drawing/2014/main" id="{3F600756-54D9-8AE9-7285-4FC03A927EC6}"/>
                  </a:ext>
                </a:extLst>
              </p:cNvPr>
              <p:cNvGrpSpPr/>
              <p:nvPr/>
            </p:nvGrpSpPr>
            <p:grpSpPr>
              <a:xfrm>
                <a:off x="5728283" y="2234644"/>
                <a:ext cx="113571" cy="103353"/>
                <a:chOff x="5728283" y="2234644"/>
                <a:chExt cx="113571" cy="103353"/>
              </a:xfrm>
              <a:solidFill>
                <a:srgbClr val="5856D6"/>
              </a:solidFill>
            </p:grpSpPr>
            <p:sp>
              <p:nvSpPr>
                <p:cNvPr id="978" name="Freeform 977">
                  <a:extLst>
                    <a:ext uri="{FF2B5EF4-FFF2-40B4-BE49-F238E27FC236}">
                      <a16:creationId xmlns:a16="http://schemas.microsoft.com/office/drawing/2014/main" id="{5614CFA2-0EBC-E67E-BB3F-D2B186D76C7E}"/>
                    </a:ext>
                  </a:extLst>
                </p:cNvPr>
                <p:cNvSpPr/>
                <p:nvPr/>
              </p:nvSpPr>
              <p:spPr>
                <a:xfrm>
                  <a:off x="5817831" y="2248486"/>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979" name="Freeform 978">
                  <a:extLst>
                    <a:ext uri="{FF2B5EF4-FFF2-40B4-BE49-F238E27FC236}">
                      <a16:creationId xmlns:a16="http://schemas.microsoft.com/office/drawing/2014/main" id="{8C52CCE5-5610-764A-71D9-96B9B69F5EE0}"/>
                    </a:ext>
                  </a:extLst>
                </p:cNvPr>
                <p:cNvSpPr/>
                <p:nvPr/>
              </p:nvSpPr>
              <p:spPr>
                <a:xfrm>
                  <a:off x="5787847" y="2234644"/>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6"/>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980" name="Freeform 979">
                  <a:extLst>
                    <a:ext uri="{FF2B5EF4-FFF2-40B4-BE49-F238E27FC236}">
                      <a16:creationId xmlns:a16="http://schemas.microsoft.com/office/drawing/2014/main" id="{D35346F8-13A6-9C06-A5F4-DC48EABD6945}"/>
                    </a:ext>
                  </a:extLst>
                </p:cNvPr>
                <p:cNvSpPr/>
                <p:nvPr/>
              </p:nvSpPr>
              <p:spPr>
                <a:xfrm>
                  <a:off x="5751763" y="2234644"/>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40"/>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981" name="Freeform 980">
                  <a:extLst>
                    <a:ext uri="{FF2B5EF4-FFF2-40B4-BE49-F238E27FC236}">
                      <a16:creationId xmlns:a16="http://schemas.microsoft.com/office/drawing/2014/main" id="{15724F95-FC72-E09A-2494-C72443E47722}"/>
                    </a:ext>
                  </a:extLst>
                </p:cNvPr>
                <p:cNvSpPr/>
                <p:nvPr/>
              </p:nvSpPr>
              <p:spPr>
                <a:xfrm>
                  <a:off x="5733148" y="2256154"/>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982" name="Freeform 981">
                  <a:extLst>
                    <a:ext uri="{FF2B5EF4-FFF2-40B4-BE49-F238E27FC236}">
                      <a16:creationId xmlns:a16="http://schemas.microsoft.com/office/drawing/2014/main" id="{B9F665A5-0707-1F49-27F9-F9171A0EA359}"/>
                    </a:ext>
                  </a:extLst>
                </p:cNvPr>
                <p:cNvSpPr/>
                <p:nvPr/>
              </p:nvSpPr>
              <p:spPr>
                <a:xfrm>
                  <a:off x="5728283" y="2289256"/>
                  <a:ext cx="13395" cy="18899"/>
                </a:xfrm>
                <a:custGeom>
                  <a:avLst/>
                  <a:gdLst>
                    <a:gd name="connsiteX0" fmla="*/ 8307 w 13395"/>
                    <a:gd name="connsiteY0" fmla="*/ 17600 h 18899"/>
                    <a:gd name="connsiteX1" fmla="*/ 396 w 13395"/>
                    <a:gd name="connsiteY1" fmla="*/ 3909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09"/>
                      </a:lnTo>
                      <a:cubicBezTo>
                        <a:pt x="-527" y="2260"/>
                        <a:pt x="264" y="479"/>
                        <a:pt x="1747" y="116"/>
                      </a:cubicBezTo>
                      <a:cubicBezTo>
                        <a:pt x="3197" y="-247"/>
                        <a:pt x="4648"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983" name="Freeform 982">
                  <a:extLst>
                    <a:ext uri="{FF2B5EF4-FFF2-40B4-BE49-F238E27FC236}">
                      <a16:creationId xmlns:a16="http://schemas.microsoft.com/office/drawing/2014/main" id="{9008850B-349E-FF34-9BAE-37CEE3090E85}"/>
                    </a:ext>
                  </a:extLst>
                </p:cNvPr>
                <p:cNvSpPr/>
                <p:nvPr/>
              </p:nvSpPr>
              <p:spPr>
                <a:xfrm>
                  <a:off x="5746762" y="2321061"/>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6"/>
                        <a:pt x="1727" y="6413"/>
                        <a:pt x="342" y="4038"/>
                      </a:cubicBezTo>
                      <a:cubicBezTo>
                        <a:pt x="-383" y="2784"/>
                        <a:pt x="79" y="1135"/>
                        <a:pt x="1397" y="376"/>
                      </a:cubicBezTo>
                      <a:cubicBezTo>
                        <a:pt x="2716" y="-382"/>
                        <a:pt x="4364" y="46"/>
                        <a:pt x="5089" y="1300"/>
                      </a:cubicBezTo>
                      <a:lnTo>
                        <a:pt x="8946" y="7931"/>
                      </a:lnTo>
                      <a:cubicBezTo>
                        <a:pt x="10067" y="9580"/>
                        <a:pt x="11814" y="10735"/>
                        <a:pt x="13726" y="11197"/>
                      </a:cubicBezTo>
                      <a:cubicBezTo>
                        <a:pt x="14714" y="11460"/>
                        <a:pt x="15604" y="12648"/>
                        <a:pt x="15670" y="14165"/>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984" name="Freeform 983">
                  <a:extLst>
                    <a:ext uri="{FF2B5EF4-FFF2-40B4-BE49-F238E27FC236}">
                      <a16:creationId xmlns:a16="http://schemas.microsoft.com/office/drawing/2014/main" id="{3FFDD121-133D-09C4-80C1-492A37714E41}"/>
                    </a:ext>
                  </a:extLst>
                </p:cNvPr>
                <p:cNvSpPr/>
                <p:nvPr/>
              </p:nvSpPr>
              <p:spPr>
                <a:xfrm>
                  <a:off x="5778255" y="2332521"/>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4" y="1221"/>
                        <a:pt x="21064" y="2738"/>
                      </a:cubicBezTo>
                      <a:cubicBezTo>
                        <a:pt x="21064"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985" name="Freeform 984">
                  <a:extLst>
                    <a:ext uri="{FF2B5EF4-FFF2-40B4-BE49-F238E27FC236}">
                      <a16:creationId xmlns:a16="http://schemas.microsoft.com/office/drawing/2014/main" id="{A0FD1D21-4DAC-08BF-2CCE-2C3B87310C69}"/>
                    </a:ext>
                  </a:extLst>
                </p:cNvPr>
                <p:cNvSpPr/>
                <p:nvPr/>
              </p:nvSpPr>
              <p:spPr>
                <a:xfrm>
                  <a:off x="5813112" y="2313422"/>
                  <a:ext cx="13249" cy="19120"/>
                </a:xfrm>
                <a:custGeom>
                  <a:avLst/>
                  <a:gdLst>
                    <a:gd name="connsiteX0" fmla="*/ 12907 w 13249"/>
                    <a:gd name="connsiteY0" fmla="*/ 4023 h 19120"/>
                    <a:gd name="connsiteX1" fmla="*/ 4996 w 13249"/>
                    <a:gd name="connsiteY1" fmla="*/ 17714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4"/>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986" name="Freeform 985">
                  <a:extLst>
                    <a:ext uri="{FF2B5EF4-FFF2-40B4-BE49-F238E27FC236}">
                      <a16:creationId xmlns:a16="http://schemas.microsoft.com/office/drawing/2014/main" id="{5CE29833-A5F2-0C6E-65AB-5779A5E03166}"/>
                    </a:ext>
                  </a:extLst>
                </p:cNvPr>
                <p:cNvSpPr/>
                <p:nvPr/>
              </p:nvSpPr>
              <p:spPr>
                <a:xfrm>
                  <a:off x="5831445" y="2280459"/>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09 h 19996"/>
                    <a:gd name="connsiteX6" fmla="*/ 4595 w 10409"/>
                    <a:gd name="connsiteY6" fmla="*/ 3536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09"/>
                      </a:lnTo>
                      <a:cubicBezTo>
                        <a:pt x="4990" y="7528"/>
                        <a:pt x="5122" y="5417"/>
                        <a:pt x="4595" y="3536"/>
                      </a:cubicBezTo>
                      <a:cubicBezTo>
                        <a:pt x="4331" y="2547"/>
                        <a:pt x="4924" y="1161"/>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987" name="Freeform 986">
              <a:extLst>
                <a:ext uri="{FF2B5EF4-FFF2-40B4-BE49-F238E27FC236}">
                  <a16:creationId xmlns:a16="http://schemas.microsoft.com/office/drawing/2014/main" id="{3C17D771-9DB5-F667-46DA-CB3AE8B538BD}"/>
                </a:ext>
              </a:extLst>
            </p:cNvPr>
            <p:cNvSpPr/>
            <p:nvPr/>
          </p:nvSpPr>
          <p:spPr>
            <a:xfrm>
              <a:off x="5756944" y="2261827"/>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988" name="Graphic 776">
            <a:extLst>
              <a:ext uri="{FF2B5EF4-FFF2-40B4-BE49-F238E27FC236}">
                <a16:creationId xmlns:a16="http://schemas.microsoft.com/office/drawing/2014/main" id="{A0AD46B1-1313-5F2D-80B8-56BAF1350166}"/>
              </a:ext>
            </a:extLst>
          </p:cNvPr>
          <p:cNvGrpSpPr/>
          <p:nvPr/>
        </p:nvGrpSpPr>
        <p:grpSpPr>
          <a:xfrm>
            <a:off x="6466453" y="1669458"/>
            <a:ext cx="578011" cy="535005"/>
            <a:chOff x="6231961" y="1610043"/>
            <a:chExt cx="578011" cy="535005"/>
          </a:xfrm>
        </p:grpSpPr>
        <p:sp>
          <p:nvSpPr>
            <p:cNvPr id="989" name="Freeform 988">
              <a:extLst>
                <a:ext uri="{FF2B5EF4-FFF2-40B4-BE49-F238E27FC236}">
                  <a16:creationId xmlns:a16="http://schemas.microsoft.com/office/drawing/2014/main" id="{43E302B3-70E2-7092-035A-B1A7BEBE810F}"/>
                </a:ext>
              </a:extLst>
            </p:cNvPr>
            <p:cNvSpPr/>
            <p:nvPr/>
          </p:nvSpPr>
          <p:spPr>
            <a:xfrm>
              <a:off x="6234005" y="1612055"/>
              <a:ext cx="573989" cy="530947"/>
            </a:xfrm>
            <a:custGeom>
              <a:avLst/>
              <a:gdLst>
                <a:gd name="connsiteX0" fmla="*/ 368364 w 573989"/>
                <a:gd name="connsiteY0" fmla="*/ 530947 h 530947"/>
                <a:gd name="connsiteX1" fmla="*/ 476022 w 573989"/>
                <a:gd name="connsiteY1" fmla="*/ 468731 h 530947"/>
                <a:gd name="connsiteX2" fmla="*/ 557376 w 573989"/>
                <a:gd name="connsiteY2" fmla="*/ 327673 h 530947"/>
                <a:gd name="connsiteX3" fmla="*/ 557376 w 573989"/>
                <a:gd name="connsiteY3" fmla="*/ 203241 h 530947"/>
                <a:gd name="connsiteX4" fmla="*/ 476022 w 573989"/>
                <a:gd name="connsiteY4" fmla="*/ 62216 h 530947"/>
                <a:gd name="connsiteX5" fmla="*/ 368331 w 573989"/>
                <a:gd name="connsiteY5" fmla="*/ 0 h 530947"/>
                <a:gd name="connsiteX6" fmla="*/ 205625 w 573989"/>
                <a:gd name="connsiteY6" fmla="*/ 0 h 530947"/>
                <a:gd name="connsiteX7" fmla="*/ 97967 w 573989"/>
                <a:gd name="connsiteY7" fmla="*/ 62216 h 530947"/>
                <a:gd name="connsiteX8" fmla="*/ 16613 w 573989"/>
                <a:gd name="connsiteY8" fmla="*/ 203241 h 530947"/>
                <a:gd name="connsiteX9" fmla="*/ 16613 w 573989"/>
                <a:gd name="connsiteY9" fmla="*/ 327673 h 530947"/>
                <a:gd name="connsiteX10" fmla="*/ 97967 w 573989"/>
                <a:gd name="connsiteY10" fmla="*/ 468698 h 530947"/>
                <a:gd name="connsiteX11" fmla="*/ 205625 w 573989"/>
                <a:gd name="connsiteY11" fmla="*/ 530915 h 530947"/>
                <a:gd name="connsiteX12" fmla="*/ 368331 w 573989"/>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47">
                  <a:moveTo>
                    <a:pt x="368364" y="530947"/>
                  </a:moveTo>
                  <a:cubicBezTo>
                    <a:pt x="412634" y="530947"/>
                    <a:pt x="453904" y="507130"/>
                    <a:pt x="476022" y="468731"/>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8"/>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990" name="Graphic 776">
              <a:extLst>
                <a:ext uri="{FF2B5EF4-FFF2-40B4-BE49-F238E27FC236}">
                  <a16:creationId xmlns:a16="http://schemas.microsoft.com/office/drawing/2014/main" id="{D85D43E3-F041-59BF-9D1E-F1940C7D5BC8}"/>
                </a:ext>
              </a:extLst>
            </p:cNvPr>
            <p:cNvGrpSpPr/>
            <p:nvPr/>
          </p:nvGrpSpPr>
          <p:grpSpPr>
            <a:xfrm>
              <a:off x="6231961" y="1610043"/>
              <a:ext cx="578011" cy="535005"/>
              <a:chOff x="6231961" y="1610043"/>
              <a:chExt cx="578011" cy="535005"/>
            </a:xfrm>
            <a:solidFill>
              <a:srgbClr val="5856D6"/>
            </a:solidFill>
          </p:grpSpPr>
          <p:sp>
            <p:nvSpPr>
              <p:cNvPr id="991" name="Freeform 990">
                <a:extLst>
                  <a:ext uri="{FF2B5EF4-FFF2-40B4-BE49-F238E27FC236}">
                    <a16:creationId xmlns:a16="http://schemas.microsoft.com/office/drawing/2014/main" id="{4682AEA8-E93C-455D-95EF-5D3AECA8995E}"/>
                  </a:ext>
                </a:extLst>
              </p:cNvPr>
              <p:cNvSpPr/>
              <p:nvPr/>
            </p:nvSpPr>
            <p:spPr>
              <a:xfrm>
                <a:off x="6614656" y="2138031"/>
                <a:ext cx="16249" cy="6134"/>
              </a:xfrm>
              <a:custGeom>
                <a:avLst/>
                <a:gdLst>
                  <a:gd name="connsiteX0" fmla="*/ 13787 w 16249"/>
                  <a:gd name="connsiteY0" fmla="*/ 23 h 6134"/>
                  <a:gd name="connsiteX1" fmla="*/ 7820 w 16249"/>
                  <a:gd name="connsiteY1" fmla="*/ 1178 h 6134"/>
                  <a:gd name="connsiteX2" fmla="*/ 1821 w 16249"/>
                  <a:gd name="connsiteY2" fmla="*/ 2035 h 6134"/>
                  <a:gd name="connsiteX3" fmla="*/ 8 w 16249"/>
                  <a:gd name="connsiteY3" fmla="*/ 4279 h 6134"/>
                  <a:gd name="connsiteX4" fmla="*/ 2283 w 16249"/>
                  <a:gd name="connsiteY4" fmla="*/ 6126 h 6134"/>
                  <a:gd name="connsiteX5" fmla="*/ 8480 w 16249"/>
                  <a:gd name="connsiteY5" fmla="*/ 5235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94"/>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992" name="Freeform 991">
                <a:extLst>
                  <a:ext uri="{FF2B5EF4-FFF2-40B4-BE49-F238E27FC236}">
                    <a16:creationId xmlns:a16="http://schemas.microsoft.com/office/drawing/2014/main" id="{5CCBD0A5-B3A5-220C-EEF4-F61FC2484F9E}"/>
                  </a:ext>
                </a:extLst>
              </p:cNvPr>
              <p:cNvSpPr/>
              <p:nvPr/>
            </p:nvSpPr>
            <p:spPr>
              <a:xfrm>
                <a:off x="6642639" y="2128665"/>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0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0"/>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993" name="Freeform 992">
                <a:extLst>
                  <a:ext uri="{FF2B5EF4-FFF2-40B4-BE49-F238E27FC236}">
                    <a16:creationId xmlns:a16="http://schemas.microsoft.com/office/drawing/2014/main" id="{A5BC1BF1-34CB-CBFD-8541-DF41002FCEC4}"/>
                  </a:ext>
                </a:extLst>
              </p:cNvPr>
              <p:cNvSpPr/>
              <p:nvPr/>
            </p:nvSpPr>
            <p:spPr>
              <a:xfrm>
                <a:off x="6668343" y="2113265"/>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994" name="Freeform 993">
                <a:extLst>
                  <a:ext uri="{FF2B5EF4-FFF2-40B4-BE49-F238E27FC236}">
                    <a16:creationId xmlns:a16="http://schemas.microsoft.com/office/drawing/2014/main" id="{E97891F3-5D8B-B8AB-5196-170E042433B1}"/>
                  </a:ext>
                </a:extLst>
              </p:cNvPr>
              <p:cNvSpPr/>
              <p:nvPr/>
            </p:nvSpPr>
            <p:spPr>
              <a:xfrm>
                <a:off x="6690426" y="2092817"/>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8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10" y="10765"/>
                      <a:pt x="-177" y="12085"/>
                      <a:pt x="615" y="12877"/>
                    </a:cubicBezTo>
                    <a:lnTo>
                      <a:pt x="615" y="12877"/>
                    </a:lnTo>
                    <a:cubicBezTo>
                      <a:pt x="1406" y="13668"/>
                      <a:pt x="2724" y="13635"/>
                      <a:pt x="3515" y="12778"/>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995" name="Freeform 994">
                <a:extLst>
                  <a:ext uri="{FF2B5EF4-FFF2-40B4-BE49-F238E27FC236}">
                    <a16:creationId xmlns:a16="http://schemas.microsoft.com/office/drawing/2014/main" id="{A89CBC9B-FB9F-7493-3B78-1010D775BF7F}"/>
                  </a:ext>
                </a:extLst>
              </p:cNvPr>
              <p:cNvSpPr/>
              <p:nvPr/>
            </p:nvSpPr>
            <p:spPr>
              <a:xfrm>
                <a:off x="6707687" y="2068474"/>
                <a:ext cx="10326" cy="14786"/>
              </a:xfrm>
              <a:custGeom>
                <a:avLst/>
                <a:gdLst>
                  <a:gd name="connsiteX0" fmla="*/ 6494 w 10326"/>
                  <a:gd name="connsiteY0" fmla="*/ 1031 h 14786"/>
                  <a:gd name="connsiteX1" fmla="*/ 297 w 10326"/>
                  <a:gd name="connsiteY1" fmla="*/ 11719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3 h 14786"/>
                  <a:gd name="connsiteX6" fmla="*/ 9296 w 10326"/>
                  <a:gd name="connsiteY6" fmla="*/ 273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19"/>
                    </a:lnTo>
                    <a:cubicBezTo>
                      <a:pt x="-297" y="12676"/>
                      <a:pt x="33" y="13897"/>
                      <a:pt x="989" y="14490"/>
                    </a:cubicBezTo>
                    <a:cubicBezTo>
                      <a:pt x="1945" y="15084"/>
                      <a:pt x="3230" y="14754"/>
                      <a:pt x="3857" y="13765"/>
                    </a:cubicBezTo>
                    <a:lnTo>
                      <a:pt x="10054" y="3076"/>
                    </a:lnTo>
                    <a:cubicBezTo>
                      <a:pt x="10614" y="2087"/>
                      <a:pt x="10285" y="833"/>
                      <a:pt x="9296" y="273"/>
                    </a:cubicBezTo>
                    <a:lnTo>
                      <a:pt x="9296" y="273"/>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996" name="Freeform 995">
                <a:extLst>
                  <a:ext uri="{FF2B5EF4-FFF2-40B4-BE49-F238E27FC236}">
                    <a16:creationId xmlns:a16="http://schemas.microsoft.com/office/drawing/2014/main" id="{FDC531F6-BF4F-5318-017B-E59D9AF22F9F}"/>
                  </a:ext>
                </a:extLst>
              </p:cNvPr>
              <p:cNvSpPr/>
              <p:nvPr/>
            </p:nvSpPr>
            <p:spPr>
              <a:xfrm>
                <a:off x="6722149" y="2043501"/>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97" name="Freeform 996">
                <a:extLst>
                  <a:ext uri="{FF2B5EF4-FFF2-40B4-BE49-F238E27FC236}">
                    <a16:creationId xmlns:a16="http://schemas.microsoft.com/office/drawing/2014/main" id="{F13947E0-0E06-4FAA-05F1-AAD27E5F7198}"/>
                  </a:ext>
                </a:extLst>
              </p:cNvPr>
              <p:cNvSpPr/>
              <p:nvPr/>
            </p:nvSpPr>
            <p:spPr>
              <a:xfrm>
                <a:off x="6736554" y="2018562"/>
                <a:ext cx="10268" cy="14795"/>
              </a:xfrm>
              <a:custGeom>
                <a:avLst/>
                <a:gdLst>
                  <a:gd name="connsiteX0" fmla="*/ 6436 w 10268"/>
                  <a:gd name="connsiteY0" fmla="*/ 1031 h 14795"/>
                  <a:gd name="connsiteX1" fmla="*/ 272 w 10268"/>
                  <a:gd name="connsiteY1" fmla="*/ 11719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1" y="14523"/>
                    </a:cubicBezTo>
                    <a:cubicBezTo>
                      <a:pt x="2019" y="15084"/>
                      <a:pt x="3272" y="14754"/>
                      <a:pt x="3832" y="13765"/>
                    </a:cubicBezTo>
                    <a:lnTo>
                      <a:pt x="9996" y="3077"/>
                    </a:lnTo>
                    <a:cubicBezTo>
                      <a:pt x="10557" y="2087"/>
                      <a:pt x="10227" y="833"/>
                      <a:pt x="9238" y="273"/>
                    </a:cubicBezTo>
                    <a:lnTo>
                      <a:pt x="9238" y="273"/>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98" name="Freeform 997">
                <a:extLst>
                  <a:ext uri="{FF2B5EF4-FFF2-40B4-BE49-F238E27FC236}">
                    <a16:creationId xmlns:a16="http://schemas.microsoft.com/office/drawing/2014/main" id="{EB61EE9F-C8F4-AB6D-E633-323BB8B132CD}"/>
                  </a:ext>
                </a:extLst>
              </p:cNvPr>
              <p:cNvSpPr/>
              <p:nvPr/>
            </p:nvSpPr>
            <p:spPr>
              <a:xfrm>
                <a:off x="6750959" y="1993590"/>
                <a:ext cx="10268" cy="14795"/>
              </a:xfrm>
              <a:custGeom>
                <a:avLst/>
                <a:gdLst>
                  <a:gd name="connsiteX0" fmla="*/ 6436 w 10268"/>
                  <a:gd name="connsiteY0" fmla="*/ 1031 h 14795"/>
                  <a:gd name="connsiteX1" fmla="*/ 272 w 10268"/>
                  <a:gd name="connsiteY1" fmla="*/ 11719 h 14795"/>
                  <a:gd name="connsiteX2" fmla="*/ 1031 w 10268"/>
                  <a:gd name="connsiteY2" fmla="*/ 14523 h 14795"/>
                  <a:gd name="connsiteX3" fmla="*/ 3832 w 10268"/>
                  <a:gd name="connsiteY3" fmla="*/ 13765 h 14795"/>
                  <a:gd name="connsiteX4" fmla="*/ 9997 w 10268"/>
                  <a:gd name="connsiteY4" fmla="*/ 3076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1" y="14523"/>
                    </a:cubicBezTo>
                    <a:cubicBezTo>
                      <a:pt x="2019" y="15084"/>
                      <a:pt x="3272" y="14754"/>
                      <a:pt x="3832" y="13765"/>
                    </a:cubicBezTo>
                    <a:lnTo>
                      <a:pt x="9997" y="3076"/>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999" name="Freeform 998">
                <a:extLst>
                  <a:ext uri="{FF2B5EF4-FFF2-40B4-BE49-F238E27FC236}">
                    <a16:creationId xmlns:a16="http://schemas.microsoft.com/office/drawing/2014/main" id="{1A6930C3-A92E-A29D-520B-15BC3595E576}"/>
                  </a:ext>
                </a:extLst>
              </p:cNvPr>
              <p:cNvSpPr/>
              <p:nvPr/>
            </p:nvSpPr>
            <p:spPr>
              <a:xfrm>
                <a:off x="6765364" y="1968618"/>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00" name="Freeform 999">
                <a:extLst>
                  <a:ext uri="{FF2B5EF4-FFF2-40B4-BE49-F238E27FC236}">
                    <a16:creationId xmlns:a16="http://schemas.microsoft.com/office/drawing/2014/main" id="{0E73F37F-E300-C441-5733-599559CDC00E}"/>
                  </a:ext>
                </a:extLst>
              </p:cNvPr>
              <p:cNvSpPr/>
              <p:nvPr/>
            </p:nvSpPr>
            <p:spPr>
              <a:xfrm>
                <a:off x="6779769" y="1943646"/>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01" name="Freeform 1000">
                <a:extLst>
                  <a:ext uri="{FF2B5EF4-FFF2-40B4-BE49-F238E27FC236}">
                    <a16:creationId xmlns:a16="http://schemas.microsoft.com/office/drawing/2014/main" id="{8C3DF26F-5B7D-CA97-ED31-54F6BE46F11D}"/>
                  </a:ext>
                </a:extLst>
              </p:cNvPr>
              <p:cNvSpPr/>
              <p:nvPr/>
            </p:nvSpPr>
            <p:spPr>
              <a:xfrm>
                <a:off x="6793780" y="1917780"/>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9" y="14823"/>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002" name="Freeform 1001">
                <a:extLst>
                  <a:ext uri="{FF2B5EF4-FFF2-40B4-BE49-F238E27FC236}">
                    <a16:creationId xmlns:a16="http://schemas.microsoft.com/office/drawing/2014/main" id="{D022E462-3673-6361-8974-13C8361EBE1F}"/>
                  </a:ext>
                </a:extLst>
              </p:cNvPr>
              <p:cNvSpPr/>
              <p:nvPr/>
            </p:nvSpPr>
            <p:spPr>
              <a:xfrm>
                <a:off x="6803061" y="1889776"/>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6"/>
                      <a:pt x="4076" y="14655"/>
                    </a:cubicBezTo>
                    <a:cubicBezTo>
                      <a:pt x="4603" y="12610"/>
                      <a:pt x="4900" y="10564"/>
                      <a:pt x="5230" y="8486"/>
                    </a:cubicBezTo>
                    <a:cubicBezTo>
                      <a:pt x="5526" y="6408"/>
                      <a:pt x="5988" y="4362"/>
                      <a:pt x="6120" y="2284"/>
                    </a:cubicBezTo>
                    <a:cubicBezTo>
                      <a:pt x="6219"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003" name="Freeform 1002">
                <a:extLst>
                  <a:ext uri="{FF2B5EF4-FFF2-40B4-BE49-F238E27FC236}">
                    <a16:creationId xmlns:a16="http://schemas.microsoft.com/office/drawing/2014/main" id="{6BD8AD92-BC06-0AE0-802A-B114C9D3F876}"/>
                  </a:ext>
                </a:extLst>
              </p:cNvPr>
              <p:cNvSpPr/>
              <p:nvPr/>
            </p:nvSpPr>
            <p:spPr>
              <a:xfrm>
                <a:off x="6805052" y="1861030"/>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004" name="Freeform 1003">
                <a:extLst>
                  <a:ext uri="{FF2B5EF4-FFF2-40B4-BE49-F238E27FC236}">
                    <a16:creationId xmlns:a16="http://schemas.microsoft.com/office/drawing/2014/main" id="{1C48E4A1-6793-4BCA-C688-81DA1EF9CA55}"/>
                  </a:ext>
                </a:extLst>
              </p:cNvPr>
              <p:cNvSpPr/>
              <p:nvPr/>
            </p:nvSpPr>
            <p:spPr>
              <a:xfrm>
                <a:off x="6798452" y="1833065"/>
                <a:ext cx="7718" cy="15892"/>
              </a:xfrm>
              <a:custGeom>
                <a:avLst/>
                <a:gdLst>
                  <a:gd name="connsiteX0" fmla="*/ 147 w 7718"/>
                  <a:gd name="connsiteY0" fmla="*/ 2718 h 15892"/>
                  <a:gd name="connsiteX1" fmla="*/ 2059 w 7718"/>
                  <a:gd name="connsiteY1" fmla="*/ 8491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1" y="6544"/>
                      <a:pt x="2059" y="8491"/>
                    </a:cubicBezTo>
                    <a:cubicBezTo>
                      <a:pt x="2586" y="10437"/>
                      <a:pt x="3311" y="12350"/>
                      <a:pt x="3707" y="14329"/>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278"/>
                      <a:pt x="3971" y="1365"/>
                    </a:cubicBezTo>
                    <a:cubicBezTo>
                      <a:pt x="3575" y="276"/>
                      <a:pt x="2388"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005" name="Freeform 1004">
                <a:extLst>
                  <a:ext uri="{FF2B5EF4-FFF2-40B4-BE49-F238E27FC236}">
                    <a16:creationId xmlns:a16="http://schemas.microsoft.com/office/drawing/2014/main" id="{2F934EC3-6167-D260-3F6F-2D7371E990A3}"/>
                  </a:ext>
                </a:extLst>
              </p:cNvPr>
              <p:cNvSpPr/>
              <p:nvPr/>
            </p:nvSpPr>
            <p:spPr>
              <a:xfrm>
                <a:off x="6785834" y="1807206"/>
                <a:ext cx="10138" cy="14889"/>
              </a:xfrm>
              <a:custGeom>
                <a:avLst/>
                <a:gdLst>
                  <a:gd name="connsiteX0" fmla="*/ 272 w 10138"/>
                  <a:gd name="connsiteY0" fmla="*/ 3077 h 14889"/>
                  <a:gd name="connsiteX1" fmla="*/ 6239 w 10138"/>
                  <a:gd name="connsiteY1" fmla="*/ 13798 h 14889"/>
                  <a:gd name="connsiteX2" fmla="*/ 9040 w 10138"/>
                  <a:gd name="connsiteY2" fmla="*/ 14655 h 14889"/>
                  <a:gd name="connsiteX3" fmla="*/ 9040 w 10138"/>
                  <a:gd name="connsiteY3" fmla="*/ 14655 h 14889"/>
                  <a:gd name="connsiteX4" fmla="*/ 9898 w 10138"/>
                  <a:gd name="connsiteY4" fmla="*/ 11884 h 14889"/>
                  <a:gd name="connsiteX5" fmla="*/ 3832 w 10138"/>
                  <a:gd name="connsiteY5" fmla="*/ 1031 h 14889"/>
                  <a:gd name="connsiteX6" fmla="*/ 1030 w 10138"/>
                  <a:gd name="connsiteY6" fmla="*/ 273 h 14889"/>
                  <a:gd name="connsiteX7" fmla="*/ 272 w 10138"/>
                  <a:gd name="connsiteY7" fmla="*/ 3077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7"/>
                    </a:moveTo>
                    <a:cubicBezTo>
                      <a:pt x="2349" y="6639"/>
                      <a:pt x="4393" y="10202"/>
                      <a:pt x="6239" y="13798"/>
                    </a:cubicBezTo>
                    <a:cubicBezTo>
                      <a:pt x="6766" y="14787"/>
                      <a:pt x="8019" y="15183"/>
                      <a:pt x="9040" y="14655"/>
                    </a:cubicBezTo>
                    <a:lnTo>
                      <a:pt x="9040" y="14655"/>
                    </a:lnTo>
                    <a:cubicBezTo>
                      <a:pt x="10062" y="14161"/>
                      <a:pt x="10425" y="12907"/>
                      <a:pt x="9898" y="11884"/>
                    </a:cubicBezTo>
                    <a:cubicBezTo>
                      <a:pt x="7953" y="8157"/>
                      <a:pt x="5909" y="4561"/>
                      <a:pt x="3832" y="1031"/>
                    </a:cubicBez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6" name="Freeform 1005">
                <a:extLst>
                  <a:ext uri="{FF2B5EF4-FFF2-40B4-BE49-F238E27FC236}">
                    <a16:creationId xmlns:a16="http://schemas.microsoft.com/office/drawing/2014/main" id="{1AFA2EE2-8946-660C-F122-06207BA70139}"/>
                  </a:ext>
                </a:extLst>
              </p:cNvPr>
              <p:cNvSpPr/>
              <p:nvPr/>
            </p:nvSpPr>
            <p:spPr>
              <a:xfrm>
                <a:off x="6771429" y="1782234"/>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7" name="Freeform 1006">
                <a:extLst>
                  <a:ext uri="{FF2B5EF4-FFF2-40B4-BE49-F238E27FC236}">
                    <a16:creationId xmlns:a16="http://schemas.microsoft.com/office/drawing/2014/main" id="{D517FB7C-DBFB-97E6-296A-64B3A5C39D4A}"/>
                  </a:ext>
                </a:extLst>
              </p:cNvPr>
              <p:cNvSpPr/>
              <p:nvPr/>
            </p:nvSpPr>
            <p:spPr>
              <a:xfrm>
                <a:off x="6757024" y="1757262"/>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8" name="Freeform 1007">
                <a:extLst>
                  <a:ext uri="{FF2B5EF4-FFF2-40B4-BE49-F238E27FC236}">
                    <a16:creationId xmlns:a16="http://schemas.microsoft.com/office/drawing/2014/main" id="{89E9034A-F4F3-D357-2EB5-BE71A5505D04}"/>
                  </a:ext>
                </a:extLst>
              </p:cNvPr>
              <p:cNvSpPr/>
              <p:nvPr/>
            </p:nvSpPr>
            <p:spPr>
              <a:xfrm>
                <a:off x="6742619" y="1732289"/>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7 w 10268"/>
                  <a:gd name="connsiteY4" fmla="*/ 11719 h 14795"/>
                  <a:gd name="connsiteX5" fmla="*/ 3832 w 10268"/>
                  <a:gd name="connsiteY5" fmla="*/ 1031 h 14795"/>
                  <a:gd name="connsiteX6" fmla="*/ 1031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7"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09" name="Freeform 1008">
                <a:extLst>
                  <a:ext uri="{FF2B5EF4-FFF2-40B4-BE49-F238E27FC236}">
                    <a16:creationId xmlns:a16="http://schemas.microsoft.com/office/drawing/2014/main" id="{EBA91E9A-0CFC-B84A-7891-FE56D489617C}"/>
                  </a:ext>
                </a:extLst>
              </p:cNvPr>
              <p:cNvSpPr/>
              <p:nvPr/>
            </p:nvSpPr>
            <p:spPr>
              <a:xfrm>
                <a:off x="6728214" y="1707317"/>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1986"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10" name="Freeform 1009">
                <a:extLst>
                  <a:ext uri="{FF2B5EF4-FFF2-40B4-BE49-F238E27FC236}">
                    <a16:creationId xmlns:a16="http://schemas.microsoft.com/office/drawing/2014/main" id="{C96CBD38-38C3-7A9B-F25E-27E4DB2A4669}"/>
                  </a:ext>
                </a:extLst>
              </p:cNvPr>
              <p:cNvSpPr/>
              <p:nvPr/>
            </p:nvSpPr>
            <p:spPr>
              <a:xfrm>
                <a:off x="6713816" y="1682345"/>
                <a:ext cx="10261" cy="14795"/>
              </a:xfrm>
              <a:custGeom>
                <a:avLst/>
                <a:gdLst>
                  <a:gd name="connsiteX0" fmla="*/ 265 w 10261"/>
                  <a:gd name="connsiteY0" fmla="*/ 3077 h 14795"/>
                  <a:gd name="connsiteX1" fmla="*/ 6429 w 10261"/>
                  <a:gd name="connsiteY1" fmla="*/ 13765 h 14795"/>
                  <a:gd name="connsiteX2" fmla="*/ 9231 w 10261"/>
                  <a:gd name="connsiteY2" fmla="*/ 14523 h 14795"/>
                  <a:gd name="connsiteX3" fmla="*/ 9989 w 10261"/>
                  <a:gd name="connsiteY3" fmla="*/ 11719 h 14795"/>
                  <a:gd name="connsiteX4" fmla="*/ 3825 w 10261"/>
                  <a:gd name="connsiteY4" fmla="*/ 1031 h 14795"/>
                  <a:gd name="connsiteX5" fmla="*/ 1023 w 10261"/>
                  <a:gd name="connsiteY5" fmla="*/ 273 h 14795"/>
                  <a:gd name="connsiteX6" fmla="*/ 265 w 10261"/>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65" y="3077"/>
                    </a:moveTo>
                    <a:lnTo>
                      <a:pt x="6429" y="13765"/>
                    </a:lnTo>
                    <a:cubicBezTo>
                      <a:pt x="6990" y="14754"/>
                      <a:pt x="8242" y="15084"/>
                      <a:pt x="9231" y="14523"/>
                    </a:cubicBezTo>
                    <a:cubicBezTo>
                      <a:pt x="10220" y="13963"/>
                      <a:pt x="10550" y="12709"/>
                      <a:pt x="9989" y="11719"/>
                    </a:cubicBezTo>
                    <a:lnTo>
                      <a:pt x="3825" y="1031"/>
                    </a:lnTo>
                    <a:cubicBezTo>
                      <a:pt x="3265" y="42"/>
                      <a:pt x="1979" y="-288"/>
                      <a:pt x="1023" y="273"/>
                    </a:cubicBezTo>
                    <a:cubicBezTo>
                      <a:pt x="67" y="833"/>
                      <a:pt x="-295" y="2087"/>
                      <a:pt x="265" y="3077"/>
                    </a:cubicBezTo>
                    <a:close/>
                  </a:path>
                </a:pathLst>
              </a:custGeom>
              <a:solidFill>
                <a:srgbClr val="5856D6"/>
              </a:solidFill>
              <a:ln w="3283" cap="flat">
                <a:noFill/>
                <a:prstDash val="solid"/>
                <a:miter/>
              </a:ln>
            </p:spPr>
            <p:txBody>
              <a:bodyPr rtlCol="0" anchor="ctr"/>
              <a:lstStyle/>
              <a:p>
                <a:endParaRPr lang="en-US"/>
              </a:p>
            </p:txBody>
          </p:sp>
          <p:sp>
            <p:nvSpPr>
              <p:cNvPr id="1011" name="Freeform 1010">
                <a:extLst>
                  <a:ext uri="{FF2B5EF4-FFF2-40B4-BE49-F238E27FC236}">
                    <a16:creationId xmlns:a16="http://schemas.microsoft.com/office/drawing/2014/main" id="{DF5C4409-804C-440C-13E7-A106F2D5C160}"/>
                  </a:ext>
                </a:extLst>
              </p:cNvPr>
              <p:cNvSpPr/>
              <p:nvPr/>
            </p:nvSpPr>
            <p:spPr>
              <a:xfrm>
                <a:off x="6698352" y="1658095"/>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1"/>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012" name="Freeform 1011">
                <a:extLst>
                  <a:ext uri="{FF2B5EF4-FFF2-40B4-BE49-F238E27FC236}">
                    <a16:creationId xmlns:a16="http://schemas.microsoft.com/office/drawing/2014/main" id="{07A13368-0ED6-F679-E855-C7A0BA280C59}"/>
                  </a:ext>
                </a:extLst>
              </p:cNvPr>
              <p:cNvSpPr/>
              <p:nvPr/>
            </p:nvSpPr>
            <p:spPr>
              <a:xfrm>
                <a:off x="6678235" y="1637582"/>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2"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013" name="Freeform 1012">
                <a:extLst>
                  <a:ext uri="{FF2B5EF4-FFF2-40B4-BE49-F238E27FC236}">
                    <a16:creationId xmlns:a16="http://schemas.microsoft.com/office/drawing/2014/main" id="{79DFD82B-F973-7E21-A71B-1B97151B356A}"/>
                  </a:ext>
                </a:extLst>
              </p:cNvPr>
              <p:cNvSpPr/>
              <p:nvPr/>
            </p:nvSpPr>
            <p:spPr>
              <a:xfrm>
                <a:off x="6653876" y="1622300"/>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19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6" y="4007"/>
                      <a:pt x="8519" y="3050"/>
                    </a:cubicBezTo>
                    <a:cubicBezTo>
                      <a:pt x="6674" y="2093"/>
                      <a:pt x="4861" y="1005"/>
                      <a:pt x="2949" y="180"/>
                    </a:cubicBezTo>
                    <a:cubicBezTo>
                      <a:pt x="1894" y="-282"/>
                      <a:pt x="641"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014" name="Freeform 1013">
                <a:extLst>
                  <a:ext uri="{FF2B5EF4-FFF2-40B4-BE49-F238E27FC236}">
                    <a16:creationId xmlns:a16="http://schemas.microsoft.com/office/drawing/2014/main" id="{AE61B06F-1448-3F61-05EB-C86D73DFE613}"/>
                  </a:ext>
                </a:extLst>
              </p:cNvPr>
              <p:cNvSpPr/>
              <p:nvPr/>
            </p:nvSpPr>
            <p:spPr>
              <a:xfrm>
                <a:off x="6626719" y="1612890"/>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8" y="3718"/>
                      <a:pt x="14580" y="3355"/>
                    </a:cubicBezTo>
                    <a:lnTo>
                      <a:pt x="8580" y="1508"/>
                    </a:lnTo>
                    <a:lnTo>
                      <a:pt x="2482" y="56"/>
                    </a:lnTo>
                    <a:cubicBezTo>
                      <a:pt x="1361" y="-208"/>
                      <a:pt x="274"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015" name="Freeform 1014">
                <a:extLst>
                  <a:ext uri="{FF2B5EF4-FFF2-40B4-BE49-F238E27FC236}">
                    <a16:creationId xmlns:a16="http://schemas.microsoft.com/office/drawing/2014/main" id="{1BE5F4C2-5E7C-CD6E-6DEF-5791B407603F}"/>
                  </a:ext>
                </a:extLst>
              </p:cNvPr>
              <p:cNvSpPr/>
              <p:nvPr/>
            </p:nvSpPr>
            <p:spPr>
              <a:xfrm>
                <a:off x="6598084" y="1610043"/>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6" name="Freeform 1015">
                <a:extLst>
                  <a:ext uri="{FF2B5EF4-FFF2-40B4-BE49-F238E27FC236}">
                    <a16:creationId xmlns:a16="http://schemas.microsoft.com/office/drawing/2014/main" id="{1AEFD4FE-4F8A-8AE7-A2AB-7C3E6D2E54E2}"/>
                  </a:ext>
                </a:extLst>
              </p:cNvPr>
              <p:cNvSpPr/>
              <p:nvPr/>
            </p:nvSpPr>
            <p:spPr>
              <a:xfrm>
                <a:off x="6569274"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7" name="Freeform 1016">
                <a:extLst>
                  <a:ext uri="{FF2B5EF4-FFF2-40B4-BE49-F238E27FC236}">
                    <a16:creationId xmlns:a16="http://schemas.microsoft.com/office/drawing/2014/main" id="{0F3DEA70-921A-43EC-01F1-8006E07578A4}"/>
                  </a:ext>
                </a:extLst>
              </p:cNvPr>
              <p:cNvSpPr/>
              <p:nvPr/>
            </p:nvSpPr>
            <p:spPr>
              <a:xfrm>
                <a:off x="6540464"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8" name="Freeform 1017">
                <a:extLst>
                  <a:ext uri="{FF2B5EF4-FFF2-40B4-BE49-F238E27FC236}">
                    <a16:creationId xmlns:a16="http://schemas.microsoft.com/office/drawing/2014/main" id="{324A6DC0-7657-6E19-26C0-88EBFA814507}"/>
                  </a:ext>
                </a:extLst>
              </p:cNvPr>
              <p:cNvSpPr/>
              <p:nvPr/>
            </p:nvSpPr>
            <p:spPr>
              <a:xfrm>
                <a:off x="6511687"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19" name="Freeform 1018">
                <a:extLst>
                  <a:ext uri="{FF2B5EF4-FFF2-40B4-BE49-F238E27FC236}">
                    <a16:creationId xmlns:a16="http://schemas.microsoft.com/office/drawing/2014/main" id="{59364C66-2B5A-85AF-657B-97753C9C4266}"/>
                  </a:ext>
                </a:extLst>
              </p:cNvPr>
              <p:cNvSpPr/>
              <p:nvPr/>
            </p:nvSpPr>
            <p:spPr>
              <a:xfrm>
                <a:off x="6482877"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20" name="Freeform 1019">
                <a:extLst>
                  <a:ext uri="{FF2B5EF4-FFF2-40B4-BE49-F238E27FC236}">
                    <a16:creationId xmlns:a16="http://schemas.microsoft.com/office/drawing/2014/main" id="{E9809C79-1DC3-62C0-C090-75BAF00C1CE9}"/>
                  </a:ext>
                </a:extLst>
              </p:cNvPr>
              <p:cNvSpPr/>
              <p:nvPr/>
            </p:nvSpPr>
            <p:spPr>
              <a:xfrm>
                <a:off x="6454068" y="1610043"/>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21" name="Freeform 1020">
                <a:extLst>
                  <a:ext uri="{FF2B5EF4-FFF2-40B4-BE49-F238E27FC236}">
                    <a16:creationId xmlns:a16="http://schemas.microsoft.com/office/drawing/2014/main" id="{B4DAD74C-403A-05C9-DF19-CC4EC7341090}"/>
                  </a:ext>
                </a:extLst>
              </p:cNvPr>
              <p:cNvSpPr/>
              <p:nvPr/>
            </p:nvSpPr>
            <p:spPr>
              <a:xfrm>
                <a:off x="6425277" y="1610076"/>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3"/>
                      <a:pt x="10331" y="4255"/>
                      <a:pt x="14386" y="4091"/>
                    </a:cubicBezTo>
                    <a:cubicBezTo>
                      <a:pt x="15507" y="4091"/>
                      <a:pt x="16430" y="3167"/>
                      <a:pt x="16430" y="2045"/>
                    </a:cubicBezTo>
                    <a:cubicBezTo>
                      <a:pt x="16430" y="924"/>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022" name="Freeform 1021">
                <a:extLst>
                  <a:ext uri="{FF2B5EF4-FFF2-40B4-BE49-F238E27FC236}">
                    <a16:creationId xmlns:a16="http://schemas.microsoft.com/office/drawing/2014/main" id="{FF532275-3AEC-3F49-5DBD-0DFB84F765E8}"/>
                  </a:ext>
                </a:extLst>
              </p:cNvPr>
              <p:cNvSpPr/>
              <p:nvPr/>
            </p:nvSpPr>
            <p:spPr>
              <a:xfrm>
                <a:off x="6397178" y="1613451"/>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1023" name="Freeform 1022">
                <a:extLst>
                  <a:ext uri="{FF2B5EF4-FFF2-40B4-BE49-F238E27FC236}">
                    <a16:creationId xmlns:a16="http://schemas.microsoft.com/office/drawing/2014/main" id="{849F35B7-798B-DE23-8620-0FF9C4A55D37}"/>
                  </a:ext>
                </a:extLst>
              </p:cNvPr>
              <p:cNvSpPr/>
              <p:nvPr/>
            </p:nvSpPr>
            <p:spPr>
              <a:xfrm>
                <a:off x="6371265" y="1623255"/>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4CD5CFD0-7959-D19E-588B-24FC49C54912}"/>
                  </a:ext>
                </a:extLst>
              </p:cNvPr>
              <p:cNvSpPr/>
              <p:nvPr/>
            </p:nvSpPr>
            <p:spPr>
              <a:xfrm>
                <a:off x="6348935" y="1639053"/>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025" name="Freeform 1024">
                <a:extLst>
                  <a:ext uri="{FF2B5EF4-FFF2-40B4-BE49-F238E27FC236}">
                    <a16:creationId xmlns:a16="http://schemas.microsoft.com/office/drawing/2014/main" id="{1C0AD441-1D37-B258-5848-F3AC12BCA1B5}"/>
                  </a:ext>
                </a:extLst>
              </p:cNvPr>
              <p:cNvSpPr/>
              <p:nvPr/>
            </p:nvSpPr>
            <p:spPr>
              <a:xfrm>
                <a:off x="6331270" y="1659827"/>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2"/>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026" name="Freeform 1025">
                <a:extLst>
                  <a:ext uri="{FF2B5EF4-FFF2-40B4-BE49-F238E27FC236}">
                    <a16:creationId xmlns:a16="http://schemas.microsoft.com/office/drawing/2014/main" id="{977A96A7-218B-937C-C80D-A53BC9EC7C17}"/>
                  </a:ext>
                </a:extLst>
              </p:cNvPr>
              <p:cNvSpPr/>
              <p:nvPr/>
            </p:nvSpPr>
            <p:spPr>
              <a:xfrm>
                <a:off x="6316800" y="1684291"/>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27" name="Freeform 1026">
                <a:extLst>
                  <a:ext uri="{FF2B5EF4-FFF2-40B4-BE49-F238E27FC236}">
                    <a16:creationId xmlns:a16="http://schemas.microsoft.com/office/drawing/2014/main" id="{25D206C7-ADA1-0149-A4D7-DA483C915831}"/>
                  </a:ext>
                </a:extLst>
              </p:cNvPr>
              <p:cNvSpPr/>
              <p:nvPr/>
            </p:nvSpPr>
            <p:spPr>
              <a:xfrm>
                <a:off x="6302395" y="1709263"/>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CC5F6696-F22D-A9EB-6C18-DCF04C2D6BC7}"/>
                  </a:ext>
                </a:extLst>
              </p:cNvPr>
              <p:cNvSpPr/>
              <p:nvPr/>
            </p:nvSpPr>
            <p:spPr>
              <a:xfrm>
                <a:off x="6287990" y="1734236"/>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346F55D7-2AE6-F47A-9FCA-807AA49790F8}"/>
                  </a:ext>
                </a:extLst>
              </p:cNvPr>
              <p:cNvSpPr/>
              <p:nvPr/>
            </p:nvSpPr>
            <p:spPr>
              <a:xfrm>
                <a:off x="6273585" y="1759208"/>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008C632F-C855-DC6A-4CBD-E4D0927D2077}"/>
                  </a:ext>
                </a:extLst>
              </p:cNvPr>
              <p:cNvSpPr/>
              <p:nvPr/>
            </p:nvSpPr>
            <p:spPr>
              <a:xfrm>
                <a:off x="6259180" y="1784180"/>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031" name="Freeform 1030">
                <a:extLst>
                  <a:ext uri="{FF2B5EF4-FFF2-40B4-BE49-F238E27FC236}">
                    <a16:creationId xmlns:a16="http://schemas.microsoft.com/office/drawing/2014/main" id="{1B3DABDF-E12B-B108-2569-F7C6C86804BC}"/>
                  </a:ext>
                </a:extLst>
              </p:cNvPr>
              <p:cNvSpPr/>
              <p:nvPr/>
            </p:nvSpPr>
            <p:spPr>
              <a:xfrm>
                <a:off x="6244978" y="1809119"/>
                <a:ext cx="10065" cy="14916"/>
              </a:xfrm>
              <a:custGeom>
                <a:avLst/>
                <a:gdLst>
                  <a:gd name="connsiteX0" fmla="*/ 3893 w 10065"/>
                  <a:gd name="connsiteY0" fmla="*/ 13798 h 14916"/>
                  <a:gd name="connsiteX1" fmla="*/ 9794 w 10065"/>
                  <a:gd name="connsiteY1" fmla="*/ 3077 h 14916"/>
                  <a:gd name="connsiteX2" fmla="*/ 9035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3"/>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032" name="Freeform 1031">
                <a:extLst>
                  <a:ext uri="{FF2B5EF4-FFF2-40B4-BE49-F238E27FC236}">
                    <a16:creationId xmlns:a16="http://schemas.microsoft.com/office/drawing/2014/main" id="{30FE1768-71C7-52AA-E6AC-8367A0AAF288}"/>
                  </a:ext>
                </a:extLst>
              </p:cNvPr>
              <p:cNvSpPr/>
              <p:nvPr/>
            </p:nvSpPr>
            <p:spPr>
              <a:xfrm>
                <a:off x="6235267" y="1835131"/>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3"/>
                      <a:pt x="3913" y="321"/>
                      <a:pt x="3484" y="1377"/>
                    </a:cubicBezTo>
                    <a:cubicBezTo>
                      <a:pt x="2265" y="5369"/>
                      <a:pt x="913" y="9360"/>
                      <a:pt x="56" y="13451"/>
                    </a:cubicBezTo>
                    <a:cubicBezTo>
                      <a:pt x="-208" y="14572"/>
                      <a:pt x="485"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033" name="Freeform 1032">
                <a:extLst>
                  <a:ext uri="{FF2B5EF4-FFF2-40B4-BE49-F238E27FC236}">
                    <a16:creationId xmlns:a16="http://schemas.microsoft.com/office/drawing/2014/main" id="{03E37300-16DA-6B95-A467-386590279151}"/>
                  </a:ext>
                </a:extLst>
              </p:cNvPr>
              <p:cNvSpPr/>
              <p:nvPr/>
            </p:nvSpPr>
            <p:spPr>
              <a:xfrm>
                <a:off x="6231961" y="1863248"/>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6"/>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034" name="Freeform 1033">
                <a:extLst>
                  <a:ext uri="{FF2B5EF4-FFF2-40B4-BE49-F238E27FC236}">
                    <a16:creationId xmlns:a16="http://schemas.microsoft.com/office/drawing/2014/main" id="{FE83CC7D-4EEA-DE1A-FA5A-EC6900F1DDED}"/>
                  </a:ext>
                </a:extLst>
              </p:cNvPr>
              <p:cNvSpPr/>
              <p:nvPr/>
            </p:nvSpPr>
            <p:spPr>
              <a:xfrm>
                <a:off x="6233061" y="1891981"/>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1"/>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035" name="Freeform 1034">
                <a:extLst>
                  <a:ext uri="{FF2B5EF4-FFF2-40B4-BE49-F238E27FC236}">
                    <a16:creationId xmlns:a16="http://schemas.microsoft.com/office/drawing/2014/main" id="{76FD566F-AA15-0032-9154-CF13627C7C34}"/>
                  </a:ext>
                </a:extLst>
              </p:cNvPr>
              <p:cNvSpPr/>
              <p:nvPr/>
            </p:nvSpPr>
            <p:spPr>
              <a:xfrm>
                <a:off x="6240156" y="1919903"/>
                <a:ext cx="9048" cy="15440"/>
              </a:xfrm>
              <a:custGeom>
                <a:avLst/>
                <a:gdLst>
                  <a:gd name="connsiteX0" fmla="*/ 8814 w 9048"/>
                  <a:gd name="connsiteY0" fmla="*/ 12436 h 15440"/>
                  <a:gd name="connsiteX1" fmla="*/ 3969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036" name="Freeform 1035">
                <a:extLst>
                  <a:ext uri="{FF2B5EF4-FFF2-40B4-BE49-F238E27FC236}">
                    <a16:creationId xmlns:a16="http://schemas.microsoft.com/office/drawing/2014/main" id="{C04AC18A-5B7D-4DDC-9AFE-CF4C6751E752}"/>
                  </a:ext>
                </a:extLst>
              </p:cNvPr>
              <p:cNvSpPr/>
              <p:nvPr/>
            </p:nvSpPr>
            <p:spPr>
              <a:xfrm>
                <a:off x="6253115" y="1945592"/>
                <a:ext cx="10261" cy="14795"/>
              </a:xfrm>
              <a:custGeom>
                <a:avLst/>
                <a:gdLst>
                  <a:gd name="connsiteX0" fmla="*/ 9996 w 10261"/>
                  <a:gd name="connsiteY0" fmla="*/ 11719 h 14795"/>
                  <a:gd name="connsiteX1" fmla="*/ 3832 w 10261"/>
                  <a:gd name="connsiteY1" fmla="*/ 1031 h 14795"/>
                  <a:gd name="connsiteX2" fmla="*/ 1030 w 10261"/>
                  <a:gd name="connsiteY2" fmla="*/ 273 h 14795"/>
                  <a:gd name="connsiteX3" fmla="*/ 272 w 10261"/>
                  <a:gd name="connsiteY3" fmla="*/ 3076 h 14795"/>
                  <a:gd name="connsiteX4" fmla="*/ 6436 w 10261"/>
                  <a:gd name="connsiteY4" fmla="*/ 13765 h 14795"/>
                  <a:gd name="connsiteX5" fmla="*/ 9238 w 10261"/>
                  <a:gd name="connsiteY5" fmla="*/ 14523 h 14795"/>
                  <a:gd name="connsiteX6" fmla="*/ 9996 w 10261"/>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9996" y="11719"/>
                    </a:moveTo>
                    <a:lnTo>
                      <a:pt x="3832" y="1031"/>
                    </a:lnTo>
                    <a:cubicBezTo>
                      <a:pt x="3272" y="42"/>
                      <a:pt x="2019" y="-288"/>
                      <a:pt x="1030" y="273"/>
                    </a:cubicBezTo>
                    <a:cubicBezTo>
                      <a:pt x="42" y="833"/>
                      <a:pt x="-288" y="2087"/>
                      <a:pt x="272" y="3076"/>
                    </a:cubicBezTo>
                    <a:lnTo>
                      <a:pt x="6436" y="13765"/>
                    </a:lnTo>
                    <a:cubicBezTo>
                      <a:pt x="6997" y="14754"/>
                      <a:pt x="8282" y="15084"/>
                      <a:pt x="9238" y="14523"/>
                    </a:cubicBezTo>
                    <a:cubicBezTo>
                      <a:pt x="10194"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1F40FC49-6FFC-BA2F-9D4B-C2798050494E}"/>
                  </a:ext>
                </a:extLst>
              </p:cNvPr>
              <p:cNvSpPr/>
              <p:nvPr/>
            </p:nvSpPr>
            <p:spPr>
              <a:xfrm>
                <a:off x="6267487" y="1970564"/>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10EBFF6E-8BB1-1BC1-2877-F14DB0F71D50}"/>
                  </a:ext>
                </a:extLst>
              </p:cNvPr>
              <p:cNvSpPr/>
              <p:nvPr/>
            </p:nvSpPr>
            <p:spPr>
              <a:xfrm>
                <a:off x="6281892" y="1995536"/>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55C06135-E2E5-8A78-64A5-CC0884EC50D0}"/>
                  </a:ext>
                </a:extLst>
              </p:cNvPr>
              <p:cNvSpPr/>
              <p:nvPr/>
            </p:nvSpPr>
            <p:spPr>
              <a:xfrm>
                <a:off x="6296297" y="2020476"/>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96E2B8EE-C883-AFB8-7BBA-5D6433132E79}"/>
                  </a:ext>
                </a:extLst>
              </p:cNvPr>
              <p:cNvSpPr/>
              <p:nvPr/>
            </p:nvSpPr>
            <p:spPr>
              <a:xfrm>
                <a:off x="6310702" y="2045448"/>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041" name="Freeform 1040">
                <a:extLst>
                  <a:ext uri="{FF2B5EF4-FFF2-40B4-BE49-F238E27FC236}">
                    <a16:creationId xmlns:a16="http://schemas.microsoft.com/office/drawing/2014/main" id="{0CFE3DF7-E81A-F23D-03CD-1505E188820D}"/>
                  </a:ext>
                </a:extLst>
              </p:cNvPr>
              <p:cNvSpPr/>
              <p:nvPr/>
            </p:nvSpPr>
            <p:spPr>
              <a:xfrm>
                <a:off x="6325107" y="2070387"/>
                <a:ext cx="10335" cy="14762"/>
              </a:xfrm>
              <a:custGeom>
                <a:avLst/>
                <a:gdLst>
                  <a:gd name="connsiteX0" fmla="*/ 10062 w 10335"/>
                  <a:gd name="connsiteY0" fmla="*/ 11653 h 14762"/>
                  <a:gd name="connsiteX1" fmla="*/ 3832 w 10335"/>
                  <a:gd name="connsiteY1" fmla="*/ 1031 h 14762"/>
                  <a:gd name="connsiteX2" fmla="*/ 1030 w 10335"/>
                  <a:gd name="connsiteY2" fmla="*/ 273 h 14762"/>
                  <a:gd name="connsiteX3" fmla="*/ 272 w 10335"/>
                  <a:gd name="connsiteY3" fmla="*/ 3076 h 14762"/>
                  <a:gd name="connsiteX4" fmla="*/ 6535 w 10335"/>
                  <a:gd name="connsiteY4" fmla="*/ 13765 h 14762"/>
                  <a:gd name="connsiteX5" fmla="*/ 9370 w 10335"/>
                  <a:gd name="connsiteY5" fmla="*/ 14458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2"/>
                      <a:pt x="2019" y="-288"/>
                      <a:pt x="1030" y="273"/>
                    </a:cubicBezTo>
                    <a:cubicBezTo>
                      <a:pt x="42" y="833"/>
                      <a:pt x="-288" y="2087"/>
                      <a:pt x="272" y="3076"/>
                    </a:cubicBezTo>
                    <a:cubicBezTo>
                      <a:pt x="2382" y="6639"/>
                      <a:pt x="4294" y="10202"/>
                      <a:pt x="6535" y="13765"/>
                    </a:cubicBezTo>
                    <a:cubicBezTo>
                      <a:pt x="7129" y="14754"/>
                      <a:pt x="8414" y="15051"/>
                      <a:pt x="9370" y="14458"/>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1042" name="Freeform 1041">
                <a:extLst>
                  <a:ext uri="{FF2B5EF4-FFF2-40B4-BE49-F238E27FC236}">
                    <a16:creationId xmlns:a16="http://schemas.microsoft.com/office/drawing/2014/main" id="{00F2C4D4-3CAA-419F-B065-1877946D43E5}"/>
                  </a:ext>
                </a:extLst>
              </p:cNvPr>
              <p:cNvSpPr/>
              <p:nvPr/>
            </p:nvSpPr>
            <p:spPr>
              <a:xfrm>
                <a:off x="6340832" y="2094561"/>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043" name="Freeform 1042">
                <a:extLst>
                  <a:ext uri="{FF2B5EF4-FFF2-40B4-BE49-F238E27FC236}">
                    <a16:creationId xmlns:a16="http://schemas.microsoft.com/office/drawing/2014/main" id="{CE0BB62E-B57E-DBC8-5DC9-4A60C79AAE3B}"/>
                  </a:ext>
                </a:extLst>
              </p:cNvPr>
              <p:cNvSpPr/>
              <p:nvPr/>
            </p:nvSpPr>
            <p:spPr>
              <a:xfrm>
                <a:off x="6361348" y="2114686"/>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044" name="Freeform 1043">
                <a:extLst>
                  <a:ext uri="{FF2B5EF4-FFF2-40B4-BE49-F238E27FC236}">
                    <a16:creationId xmlns:a16="http://schemas.microsoft.com/office/drawing/2014/main" id="{BA695F76-4F6D-BE56-C401-AF97BD1AE975}"/>
                  </a:ext>
                </a:extLst>
              </p:cNvPr>
              <p:cNvSpPr/>
              <p:nvPr/>
            </p:nvSpPr>
            <p:spPr>
              <a:xfrm>
                <a:off x="6385904" y="2129595"/>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045" name="Freeform 1044">
                <a:extLst>
                  <a:ext uri="{FF2B5EF4-FFF2-40B4-BE49-F238E27FC236}">
                    <a16:creationId xmlns:a16="http://schemas.microsoft.com/office/drawing/2014/main" id="{FECEC93C-F8C0-675B-0D01-F58AA29ECD39}"/>
                  </a:ext>
                </a:extLst>
              </p:cNvPr>
              <p:cNvSpPr/>
              <p:nvPr/>
            </p:nvSpPr>
            <p:spPr>
              <a:xfrm>
                <a:off x="6413248" y="2138504"/>
                <a:ext cx="16336" cy="5865"/>
              </a:xfrm>
              <a:custGeom>
                <a:avLst/>
                <a:gdLst>
                  <a:gd name="connsiteX0" fmla="*/ 14449 w 16336"/>
                  <a:gd name="connsiteY0" fmla="*/ 1794 h 5865"/>
                  <a:gd name="connsiteX1" fmla="*/ 2450 w 16336"/>
                  <a:gd name="connsiteY1" fmla="*/ 46 h 5865"/>
                  <a:gd name="connsiteX2" fmla="*/ 44 w 16336"/>
                  <a:gd name="connsiteY2" fmla="*/ 1596 h 5865"/>
                  <a:gd name="connsiteX3" fmla="*/ 1659 w 16336"/>
                  <a:gd name="connsiteY3" fmla="*/ 4070 h 5865"/>
                  <a:gd name="connsiteX4" fmla="*/ 14086 w 16336"/>
                  <a:gd name="connsiteY4" fmla="*/ 5852 h 5865"/>
                  <a:gd name="connsiteX5" fmla="*/ 16328 w 16336"/>
                  <a:gd name="connsiteY5" fmla="*/ 4004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6"/>
                      <a:pt x="2450" y="46"/>
                    </a:cubicBezTo>
                    <a:cubicBezTo>
                      <a:pt x="1363" y="-185"/>
                      <a:pt x="275" y="475"/>
                      <a:pt x="44" y="1596"/>
                    </a:cubicBezTo>
                    <a:cubicBezTo>
                      <a:pt x="-187" y="2685"/>
                      <a:pt x="506" y="3840"/>
                      <a:pt x="1659" y="4070"/>
                    </a:cubicBezTo>
                    <a:cubicBezTo>
                      <a:pt x="5780" y="4763"/>
                      <a:pt x="9900" y="5555"/>
                      <a:pt x="14086" y="5852"/>
                    </a:cubicBezTo>
                    <a:cubicBezTo>
                      <a:pt x="15240" y="5984"/>
                      <a:pt x="16262" y="5126"/>
                      <a:pt x="16328" y="4004"/>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046" name="Freeform 1045">
                <a:extLst>
                  <a:ext uri="{FF2B5EF4-FFF2-40B4-BE49-F238E27FC236}">
                    <a16:creationId xmlns:a16="http://schemas.microsoft.com/office/drawing/2014/main" id="{E6418A54-2165-F6DC-39C8-A3CFAF152C1B}"/>
                  </a:ext>
                </a:extLst>
              </p:cNvPr>
              <p:cNvSpPr/>
              <p:nvPr/>
            </p:nvSpPr>
            <p:spPr>
              <a:xfrm>
                <a:off x="6441904" y="2140958"/>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047" name="Freeform 1046">
                <a:extLst>
                  <a:ext uri="{FF2B5EF4-FFF2-40B4-BE49-F238E27FC236}">
                    <a16:creationId xmlns:a16="http://schemas.microsoft.com/office/drawing/2014/main" id="{B068114A-AE30-B8B3-F5D9-DC409DFB1FEA}"/>
                  </a:ext>
                </a:extLst>
              </p:cNvPr>
              <p:cNvSpPr/>
              <p:nvPr/>
            </p:nvSpPr>
            <p:spPr>
              <a:xfrm>
                <a:off x="6470714" y="2140958"/>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048" name="Freeform 1047">
                <a:extLst>
                  <a:ext uri="{FF2B5EF4-FFF2-40B4-BE49-F238E27FC236}">
                    <a16:creationId xmlns:a16="http://schemas.microsoft.com/office/drawing/2014/main" id="{E1230CA5-47D2-597E-0F39-9B89225626A1}"/>
                  </a:ext>
                </a:extLst>
              </p:cNvPr>
              <p:cNvSpPr/>
              <p:nvPr/>
            </p:nvSpPr>
            <p:spPr>
              <a:xfrm>
                <a:off x="6499524" y="2140958"/>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049" name="Freeform 1048">
                <a:extLst>
                  <a:ext uri="{FF2B5EF4-FFF2-40B4-BE49-F238E27FC236}">
                    <a16:creationId xmlns:a16="http://schemas.microsoft.com/office/drawing/2014/main" id="{F0B17453-182E-9B53-A0BC-1F750BE55722}"/>
                  </a:ext>
                </a:extLst>
              </p:cNvPr>
              <p:cNvSpPr/>
              <p:nvPr/>
            </p:nvSpPr>
            <p:spPr>
              <a:xfrm>
                <a:off x="6528301" y="2140958"/>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050" name="Freeform 1049">
                <a:extLst>
                  <a:ext uri="{FF2B5EF4-FFF2-40B4-BE49-F238E27FC236}">
                    <a16:creationId xmlns:a16="http://schemas.microsoft.com/office/drawing/2014/main" id="{0950A0A8-2B17-F653-4A0D-53D312A11DB0}"/>
                  </a:ext>
                </a:extLst>
              </p:cNvPr>
              <p:cNvSpPr/>
              <p:nvPr/>
            </p:nvSpPr>
            <p:spPr>
              <a:xfrm>
                <a:off x="6557078" y="2140958"/>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051" name="Freeform 1050">
                <a:extLst>
                  <a:ext uri="{FF2B5EF4-FFF2-40B4-BE49-F238E27FC236}">
                    <a16:creationId xmlns:a16="http://schemas.microsoft.com/office/drawing/2014/main" id="{094C5417-F331-DBEB-261C-36A7073FB67F}"/>
                  </a:ext>
                </a:extLst>
              </p:cNvPr>
              <p:cNvSpPr/>
              <p:nvPr/>
            </p:nvSpPr>
            <p:spPr>
              <a:xfrm>
                <a:off x="6585888" y="2140958"/>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052" name="Freeform 1051">
            <a:extLst>
              <a:ext uri="{FF2B5EF4-FFF2-40B4-BE49-F238E27FC236}">
                <a16:creationId xmlns:a16="http://schemas.microsoft.com/office/drawing/2014/main" id="{F6F6F00C-F82B-2A4E-AEC2-EC6DA9B37EC7}"/>
              </a:ext>
            </a:extLst>
          </p:cNvPr>
          <p:cNvSpPr/>
          <p:nvPr/>
        </p:nvSpPr>
        <p:spPr>
          <a:xfrm>
            <a:off x="6509520" y="1712541"/>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2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2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2"/>
                </a:cubicBezTo>
                <a:lnTo>
                  <a:pt x="399498" y="41697"/>
                </a:lnTo>
                <a:cubicBezTo>
                  <a:pt x="384665" y="15966"/>
                  <a:pt x="357008" y="0"/>
                  <a:pt x="327342"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053" name="Freeform 1052">
            <a:extLst>
              <a:ext uri="{FF2B5EF4-FFF2-40B4-BE49-F238E27FC236}">
                <a16:creationId xmlns:a16="http://schemas.microsoft.com/office/drawing/2014/main" id="{34D877C9-C79C-3DD6-D321-CA6EE8502A16}"/>
              </a:ext>
            </a:extLst>
          </p:cNvPr>
          <p:cNvSpPr/>
          <p:nvPr/>
        </p:nvSpPr>
        <p:spPr>
          <a:xfrm>
            <a:off x="6550452" y="1753578"/>
            <a:ext cx="410046" cy="366764"/>
          </a:xfrm>
          <a:custGeom>
            <a:avLst/>
            <a:gdLst>
              <a:gd name="connsiteX0" fmla="*/ 123670 w 410046"/>
              <a:gd name="connsiteY0" fmla="*/ 0 h 366764"/>
              <a:gd name="connsiteX1" fmla="*/ 286376 w 410046"/>
              <a:gd name="connsiteY1" fmla="*/ 0 h 366764"/>
              <a:gd name="connsiteX2" fmla="*/ 323032 w 410046"/>
              <a:gd name="connsiteY2" fmla="*/ 21179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9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9"/>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9"/>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054" name="Freeform 1053">
            <a:extLst>
              <a:ext uri="{FF2B5EF4-FFF2-40B4-BE49-F238E27FC236}">
                <a16:creationId xmlns:a16="http://schemas.microsoft.com/office/drawing/2014/main" id="{82DE9C03-8EA9-6FD7-97CB-DB420656721D}"/>
              </a:ext>
            </a:extLst>
          </p:cNvPr>
          <p:cNvSpPr/>
          <p:nvPr/>
        </p:nvSpPr>
        <p:spPr>
          <a:xfrm>
            <a:off x="6703887" y="1831761"/>
            <a:ext cx="103207" cy="210465"/>
          </a:xfrm>
          <a:custGeom>
            <a:avLst/>
            <a:gdLst>
              <a:gd name="connsiteX0" fmla="*/ 0 w 103207"/>
              <a:gd name="connsiteY0" fmla="*/ 190838 h 210465"/>
              <a:gd name="connsiteX1" fmla="*/ 53005 w 103207"/>
              <a:gd name="connsiteY1" fmla="*/ 108169 h 210465"/>
              <a:gd name="connsiteX2" fmla="*/ 58147 w 103207"/>
              <a:gd name="connsiteY2" fmla="*/ 100450 h 210465"/>
              <a:gd name="connsiteX3" fmla="*/ 71267 w 103207"/>
              <a:gd name="connsiteY3" fmla="*/ 76500 h 210465"/>
              <a:gd name="connsiteX4" fmla="*/ 75387 w 103207"/>
              <a:gd name="connsiteY4" fmla="*/ 53573 h 210465"/>
              <a:gd name="connsiteX5" fmla="*/ 70508 w 103207"/>
              <a:gd name="connsiteY5" fmla="*/ 30646 h 210465"/>
              <a:gd name="connsiteX6" fmla="*/ 54554 w 103207"/>
              <a:gd name="connsiteY6" fmla="*/ 22663 h 210465"/>
              <a:gd name="connsiteX7" fmla="*/ 29832 w 103207"/>
              <a:gd name="connsiteY7" fmla="*/ 61061 h 210465"/>
              <a:gd name="connsiteX8" fmla="*/ 29832 w 103207"/>
              <a:gd name="connsiteY8" fmla="*/ 68022 h 210465"/>
              <a:gd name="connsiteX9" fmla="*/ 2307 w 103207"/>
              <a:gd name="connsiteY9" fmla="*/ 68022 h 210465"/>
              <a:gd name="connsiteX10" fmla="*/ 2307 w 103207"/>
              <a:gd name="connsiteY10" fmla="*/ 60798 h 210465"/>
              <a:gd name="connsiteX11" fmla="*/ 14405 w 103207"/>
              <a:gd name="connsiteY11" fmla="*/ 15702 h 210465"/>
              <a:gd name="connsiteX12" fmla="*/ 53269 w 103207"/>
              <a:gd name="connsiteY12" fmla="*/ 0 h 210465"/>
              <a:gd name="connsiteX13" fmla="*/ 90583 w 103207"/>
              <a:gd name="connsiteY13" fmla="*/ 14020 h 210465"/>
              <a:gd name="connsiteX14" fmla="*/ 103208 w 103207"/>
              <a:gd name="connsiteY14" fmla="*/ 53837 h 210465"/>
              <a:gd name="connsiteX15" fmla="*/ 100241 w 103207"/>
              <a:gd name="connsiteY15" fmla="*/ 76368 h 210465"/>
              <a:gd name="connsiteX16" fmla="*/ 93154 w 103207"/>
              <a:gd name="connsiteY16" fmla="*/ 93489 h 210465"/>
              <a:gd name="connsiteX17" fmla="*/ 80299 w 103207"/>
              <a:gd name="connsiteY17" fmla="*/ 114107 h 210465"/>
              <a:gd name="connsiteX18" fmla="*/ 32436 w 103207"/>
              <a:gd name="connsiteY18" fmla="*/ 187275 h 210465"/>
              <a:gd name="connsiteX19" fmla="*/ 98329 w 103207"/>
              <a:gd name="connsiteY19" fmla="*/ 187275 h 210465"/>
              <a:gd name="connsiteX20" fmla="*/ 98329 w 103207"/>
              <a:gd name="connsiteY20" fmla="*/ 210466 h 210465"/>
              <a:gd name="connsiteX21" fmla="*/ 0 w 103207"/>
              <a:gd name="connsiteY21" fmla="*/ 210466 h 210465"/>
              <a:gd name="connsiteX22" fmla="*/ 0 w 103207"/>
              <a:gd name="connsiteY22" fmla="*/ 190871 h 21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3207" h="210465">
                <a:moveTo>
                  <a:pt x="0" y="190838"/>
                </a:moveTo>
                <a:lnTo>
                  <a:pt x="53005" y="108169"/>
                </a:lnTo>
                <a:cubicBezTo>
                  <a:pt x="55576" y="104045"/>
                  <a:pt x="57290" y="101472"/>
                  <a:pt x="58147" y="100450"/>
                </a:cubicBezTo>
                <a:cubicBezTo>
                  <a:pt x="64146" y="90817"/>
                  <a:pt x="68531" y="82834"/>
                  <a:pt x="71267" y="76500"/>
                </a:cubicBezTo>
                <a:cubicBezTo>
                  <a:pt x="74003" y="70133"/>
                  <a:pt x="75387" y="62513"/>
                  <a:pt x="75387" y="53573"/>
                </a:cubicBezTo>
                <a:cubicBezTo>
                  <a:pt x="75387" y="43611"/>
                  <a:pt x="73739" y="35957"/>
                  <a:pt x="70508" y="30646"/>
                </a:cubicBezTo>
                <a:cubicBezTo>
                  <a:pt x="67245" y="25335"/>
                  <a:pt x="61938" y="22663"/>
                  <a:pt x="54554" y="22663"/>
                </a:cubicBezTo>
                <a:cubicBezTo>
                  <a:pt x="38073" y="22663"/>
                  <a:pt x="29832" y="35462"/>
                  <a:pt x="29832" y="61061"/>
                </a:cubicBezTo>
                <a:lnTo>
                  <a:pt x="29832" y="68022"/>
                </a:lnTo>
                <a:lnTo>
                  <a:pt x="2307" y="68022"/>
                </a:lnTo>
                <a:lnTo>
                  <a:pt x="2307" y="60798"/>
                </a:lnTo>
                <a:cubicBezTo>
                  <a:pt x="2307" y="41202"/>
                  <a:pt x="6329" y="26193"/>
                  <a:pt x="14405" y="15702"/>
                </a:cubicBezTo>
                <a:cubicBezTo>
                  <a:pt x="22481" y="5245"/>
                  <a:pt x="35435" y="0"/>
                  <a:pt x="53269" y="0"/>
                </a:cubicBezTo>
                <a:cubicBezTo>
                  <a:pt x="69750" y="0"/>
                  <a:pt x="82177" y="4684"/>
                  <a:pt x="90583" y="14020"/>
                </a:cubicBezTo>
                <a:cubicBezTo>
                  <a:pt x="98989" y="23389"/>
                  <a:pt x="103208" y="36650"/>
                  <a:pt x="103208" y="53837"/>
                </a:cubicBezTo>
                <a:cubicBezTo>
                  <a:pt x="103208" y="62249"/>
                  <a:pt x="102219" y="69770"/>
                  <a:pt x="100241" y="76368"/>
                </a:cubicBezTo>
                <a:cubicBezTo>
                  <a:pt x="98263" y="82999"/>
                  <a:pt x="95890" y="88706"/>
                  <a:pt x="93154" y="93489"/>
                </a:cubicBezTo>
                <a:cubicBezTo>
                  <a:pt x="90418" y="98305"/>
                  <a:pt x="86100" y="105167"/>
                  <a:pt x="80299" y="114107"/>
                </a:cubicBezTo>
                <a:lnTo>
                  <a:pt x="32436" y="187275"/>
                </a:lnTo>
                <a:lnTo>
                  <a:pt x="98329" y="187275"/>
                </a:lnTo>
                <a:cubicBezTo>
                  <a:pt x="98329" y="187275"/>
                  <a:pt x="98329" y="210466"/>
                  <a:pt x="98329" y="210466"/>
                </a:cubicBezTo>
                <a:lnTo>
                  <a:pt x="0" y="210466"/>
                </a:lnTo>
                <a:lnTo>
                  <a:pt x="0" y="190871"/>
                </a:lnTo>
                <a:close/>
              </a:path>
            </a:pathLst>
          </a:custGeom>
          <a:solidFill>
            <a:srgbClr val="5856D6"/>
          </a:solidFill>
          <a:ln w="3283" cap="flat">
            <a:noFill/>
            <a:prstDash val="solid"/>
            <a:miter/>
          </a:ln>
        </p:spPr>
        <p:txBody>
          <a:bodyPr rtlCol="0" anchor="ctr"/>
          <a:lstStyle/>
          <a:p>
            <a:endParaRPr lang="en-US"/>
          </a:p>
        </p:txBody>
      </p:sp>
      <p:grpSp>
        <p:nvGrpSpPr>
          <p:cNvPr id="1055" name="Graphic 776">
            <a:extLst>
              <a:ext uri="{FF2B5EF4-FFF2-40B4-BE49-F238E27FC236}">
                <a16:creationId xmlns:a16="http://schemas.microsoft.com/office/drawing/2014/main" id="{C19AA93F-2F21-37C2-C10F-E8B2D721FBB6}"/>
              </a:ext>
            </a:extLst>
          </p:cNvPr>
          <p:cNvGrpSpPr/>
          <p:nvPr/>
        </p:nvGrpSpPr>
        <p:grpSpPr>
          <a:xfrm>
            <a:off x="6031347" y="2456396"/>
            <a:ext cx="113571" cy="103352"/>
            <a:chOff x="6157563" y="2350830"/>
            <a:chExt cx="113571" cy="103352"/>
          </a:xfrm>
        </p:grpSpPr>
        <p:grpSp>
          <p:nvGrpSpPr>
            <p:cNvPr id="1056" name="Graphic 776">
              <a:extLst>
                <a:ext uri="{FF2B5EF4-FFF2-40B4-BE49-F238E27FC236}">
                  <a16:creationId xmlns:a16="http://schemas.microsoft.com/office/drawing/2014/main" id="{CC908BF5-0BAE-DE72-42AF-CCE705D9BF3C}"/>
                </a:ext>
              </a:extLst>
            </p:cNvPr>
            <p:cNvGrpSpPr/>
            <p:nvPr/>
          </p:nvGrpSpPr>
          <p:grpSpPr>
            <a:xfrm>
              <a:off x="6157563" y="2350830"/>
              <a:ext cx="113571" cy="103352"/>
              <a:chOff x="6157563" y="2350830"/>
              <a:chExt cx="113571" cy="103352"/>
            </a:xfrm>
          </p:grpSpPr>
          <p:sp>
            <p:nvSpPr>
              <p:cNvPr id="1057" name="Freeform 1056">
                <a:extLst>
                  <a:ext uri="{FF2B5EF4-FFF2-40B4-BE49-F238E27FC236}">
                    <a16:creationId xmlns:a16="http://schemas.microsoft.com/office/drawing/2014/main" id="{62AE98AF-E6F5-DE8A-CB4D-FA277B83A28E}"/>
                  </a:ext>
                </a:extLst>
              </p:cNvPr>
              <p:cNvSpPr/>
              <p:nvPr/>
            </p:nvSpPr>
            <p:spPr>
              <a:xfrm>
                <a:off x="6158807" y="2353601"/>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3 h 97843"/>
                  <a:gd name="connsiteX9" fmla="*/ 76714 w 109586"/>
                  <a:gd name="connsiteY9" fmla="*/ 97843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3"/>
                      <a:pt x="32873" y="97843"/>
                    </a:cubicBezTo>
                    <a:lnTo>
                      <a:pt x="76714" y="97843"/>
                    </a:lnTo>
                    <a:cubicBezTo>
                      <a:pt x="80636" y="97843"/>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1058" name="Graphic 776">
                <a:extLst>
                  <a:ext uri="{FF2B5EF4-FFF2-40B4-BE49-F238E27FC236}">
                    <a16:creationId xmlns:a16="http://schemas.microsoft.com/office/drawing/2014/main" id="{DD3340C1-61E4-C244-B809-BBDF2C767A7C}"/>
                  </a:ext>
                </a:extLst>
              </p:cNvPr>
              <p:cNvGrpSpPr/>
              <p:nvPr/>
            </p:nvGrpSpPr>
            <p:grpSpPr>
              <a:xfrm>
                <a:off x="6157563" y="2350830"/>
                <a:ext cx="113571" cy="103352"/>
                <a:chOff x="6157563" y="2350830"/>
                <a:chExt cx="113571" cy="103352"/>
              </a:xfrm>
              <a:solidFill>
                <a:srgbClr val="5856D6"/>
              </a:solidFill>
            </p:grpSpPr>
            <p:sp>
              <p:nvSpPr>
                <p:cNvPr id="1059" name="Freeform 1058">
                  <a:extLst>
                    <a:ext uri="{FF2B5EF4-FFF2-40B4-BE49-F238E27FC236}">
                      <a16:creationId xmlns:a16="http://schemas.microsoft.com/office/drawing/2014/main" id="{E1601032-71CC-A240-C7ED-EC05463A9649}"/>
                    </a:ext>
                  </a:extLst>
                </p:cNvPr>
                <p:cNvSpPr/>
                <p:nvPr/>
              </p:nvSpPr>
              <p:spPr>
                <a:xfrm>
                  <a:off x="6247111" y="2364704"/>
                  <a:ext cx="13342" cy="19028"/>
                </a:xfrm>
                <a:custGeom>
                  <a:avLst/>
                  <a:gdLst>
                    <a:gd name="connsiteX0" fmla="*/ 5089 w 13342"/>
                    <a:gd name="connsiteY0" fmla="*/ 1300 h 19028"/>
                    <a:gd name="connsiteX1" fmla="*/ 13000 w 13342"/>
                    <a:gd name="connsiteY1" fmla="*/ 14990 h 19028"/>
                    <a:gd name="connsiteX2" fmla="*/ 11946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6" y="18652"/>
                      </a:cubicBezTo>
                      <a:cubicBezTo>
                        <a:pt x="10627" y="19411"/>
                        <a:pt x="8979" y="18982"/>
                        <a:pt x="8254" y="17728"/>
                      </a:cubicBezTo>
                      <a:lnTo>
                        <a:pt x="342" y="4038"/>
                      </a:lnTo>
                      <a:cubicBezTo>
                        <a:pt x="-383" y="2784"/>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060" name="Freeform 1059">
                  <a:extLst>
                    <a:ext uri="{FF2B5EF4-FFF2-40B4-BE49-F238E27FC236}">
                      <a16:creationId xmlns:a16="http://schemas.microsoft.com/office/drawing/2014/main" id="{9002E34E-A6DF-F922-1903-E4F5F3928544}"/>
                    </a:ext>
                  </a:extLst>
                </p:cNvPr>
                <p:cNvSpPr/>
                <p:nvPr/>
              </p:nvSpPr>
              <p:spPr>
                <a:xfrm>
                  <a:off x="6217128" y="2350830"/>
                  <a:ext cx="21119" cy="5475"/>
                </a:xfrm>
                <a:custGeom>
                  <a:avLst/>
                  <a:gdLst>
                    <a:gd name="connsiteX0" fmla="*/ 2637 w 21119"/>
                    <a:gd name="connsiteY0" fmla="*/ 0 h 5475"/>
                    <a:gd name="connsiteX1" fmla="*/ 18426 w 21119"/>
                    <a:gd name="connsiteY1" fmla="*/ 0 h 5475"/>
                    <a:gd name="connsiteX2" fmla="*/ 21031 w 21119"/>
                    <a:gd name="connsiteY2" fmla="*/ 3068 h 5475"/>
                    <a:gd name="connsiteX3" fmla="*/ 18426 w 21119"/>
                    <a:gd name="connsiteY3" fmla="*/ 5476 h 5475"/>
                    <a:gd name="connsiteX4" fmla="*/ 2637 w 21119"/>
                    <a:gd name="connsiteY4" fmla="*/ 5476 h 5475"/>
                    <a:gd name="connsiteX5" fmla="*/ 0 w 21119"/>
                    <a:gd name="connsiteY5" fmla="*/ 2738 h 5475"/>
                    <a:gd name="connsiteX6" fmla="*/ 2637 w 21119"/>
                    <a:gd name="connsiteY6" fmla="*/ 0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5">
                      <a:moveTo>
                        <a:pt x="2637" y="0"/>
                      </a:moveTo>
                      <a:lnTo>
                        <a:pt x="18426" y="0"/>
                      </a:lnTo>
                      <a:cubicBezTo>
                        <a:pt x="20305" y="0"/>
                        <a:pt x="21459" y="1616"/>
                        <a:pt x="21031" y="3068"/>
                      </a:cubicBezTo>
                      <a:cubicBezTo>
                        <a:pt x="20602" y="4519"/>
                        <a:pt x="19448" y="5476"/>
                        <a:pt x="18426" y="5476"/>
                      </a:cubicBezTo>
                      <a:lnTo>
                        <a:pt x="2637" y="5476"/>
                      </a:lnTo>
                      <a:cubicBezTo>
                        <a:pt x="1187" y="5476"/>
                        <a:pt x="0" y="4255"/>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061" name="Freeform 1060">
                  <a:extLst>
                    <a:ext uri="{FF2B5EF4-FFF2-40B4-BE49-F238E27FC236}">
                      <a16:creationId xmlns:a16="http://schemas.microsoft.com/office/drawing/2014/main" id="{2AF51BBC-818E-E0C0-8663-A1DCD266592B}"/>
                    </a:ext>
                  </a:extLst>
                </p:cNvPr>
                <p:cNvSpPr/>
                <p:nvPr/>
              </p:nvSpPr>
              <p:spPr>
                <a:xfrm>
                  <a:off x="6181044" y="2350830"/>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297"/>
                        <a:pt x="9515" y="66"/>
                      </a:cubicBezTo>
                      <a:cubicBezTo>
                        <a:pt x="12614" y="-33"/>
                        <a:pt x="14921" y="66"/>
                        <a:pt x="17657" y="0"/>
                      </a:cubicBezTo>
                      <a:cubicBezTo>
                        <a:pt x="19108" y="0"/>
                        <a:pt x="20294" y="1221"/>
                        <a:pt x="20294" y="2738"/>
                      </a:cubicBezTo>
                      <a:cubicBezTo>
                        <a:pt x="20294" y="4255"/>
                        <a:pt x="19108" y="5476"/>
                        <a:pt x="17657" y="5476"/>
                      </a:cubicBezTo>
                      <a:lnTo>
                        <a:pt x="9977" y="5476"/>
                      </a:lnTo>
                      <a:cubicBezTo>
                        <a:pt x="7999" y="5674"/>
                        <a:pt x="6120" y="6598"/>
                        <a:pt x="4769" y="8016"/>
                      </a:cubicBezTo>
                      <a:cubicBezTo>
                        <a:pt x="4043" y="8742"/>
                        <a:pt x="2560" y="8940"/>
                        <a:pt x="1209" y="8214"/>
                      </a:cubicBezTo>
                      <a:cubicBezTo>
                        <a:pt x="-110" y="7521"/>
                        <a:pt x="-506" y="5575"/>
                        <a:pt x="813" y="4223"/>
                      </a:cubicBezTo>
                      <a:close/>
                    </a:path>
                  </a:pathLst>
                </a:custGeom>
                <a:solidFill>
                  <a:srgbClr val="5856D6"/>
                </a:solidFill>
                <a:ln w="3283" cap="flat">
                  <a:noFill/>
                  <a:prstDash val="solid"/>
                  <a:miter/>
                </a:ln>
              </p:spPr>
              <p:txBody>
                <a:bodyPr rtlCol="0" anchor="ctr"/>
                <a:lstStyle/>
                <a:p>
                  <a:endParaRPr lang="en-US"/>
                </a:p>
              </p:txBody>
            </p:sp>
            <p:sp>
              <p:nvSpPr>
                <p:cNvPr id="1062" name="Freeform 1061">
                  <a:extLst>
                    <a:ext uri="{FF2B5EF4-FFF2-40B4-BE49-F238E27FC236}">
                      <a16:creationId xmlns:a16="http://schemas.microsoft.com/office/drawing/2014/main" id="{89E5E397-C022-F3F6-4989-9E82C59DF05B}"/>
                    </a:ext>
                  </a:extLst>
                </p:cNvPr>
                <p:cNvSpPr/>
                <p:nvPr/>
              </p:nvSpPr>
              <p:spPr>
                <a:xfrm>
                  <a:off x="6162429" y="2372372"/>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063" name="Freeform 1062">
                  <a:extLst>
                    <a:ext uri="{FF2B5EF4-FFF2-40B4-BE49-F238E27FC236}">
                      <a16:creationId xmlns:a16="http://schemas.microsoft.com/office/drawing/2014/main" id="{DBD276C1-C132-F374-2118-A7F9017453B8}"/>
                    </a:ext>
                  </a:extLst>
                </p:cNvPr>
                <p:cNvSpPr/>
                <p:nvPr/>
              </p:nvSpPr>
              <p:spPr>
                <a:xfrm>
                  <a:off x="6157563" y="2405441"/>
                  <a:ext cx="13395" cy="18899"/>
                </a:xfrm>
                <a:custGeom>
                  <a:avLst/>
                  <a:gdLst>
                    <a:gd name="connsiteX0" fmla="*/ 8307 w 13395"/>
                    <a:gd name="connsiteY0" fmla="*/ 17600 h 18899"/>
                    <a:gd name="connsiteX1" fmla="*/ 396 w 13395"/>
                    <a:gd name="connsiteY1" fmla="*/ 3909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09"/>
                      </a:lnTo>
                      <a:cubicBezTo>
                        <a:pt x="-527" y="2260"/>
                        <a:pt x="264" y="479"/>
                        <a:pt x="1747" y="116"/>
                      </a:cubicBezTo>
                      <a:cubicBezTo>
                        <a:pt x="3197" y="-247"/>
                        <a:pt x="4648"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064" name="Freeform 1063">
                  <a:extLst>
                    <a:ext uri="{FF2B5EF4-FFF2-40B4-BE49-F238E27FC236}">
                      <a16:creationId xmlns:a16="http://schemas.microsoft.com/office/drawing/2014/main" id="{22B227B4-41E5-E53C-FDF0-BAA89C8BB950}"/>
                    </a:ext>
                  </a:extLst>
                </p:cNvPr>
                <p:cNvSpPr/>
                <p:nvPr/>
              </p:nvSpPr>
              <p:spPr>
                <a:xfrm>
                  <a:off x="6176010" y="2437245"/>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6"/>
                        <a:pt x="1727" y="6413"/>
                        <a:pt x="342" y="4038"/>
                      </a:cubicBezTo>
                      <a:cubicBezTo>
                        <a:pt x="-383" y="2784"/>
                        <a:pt x="79" y="1135"/>
                        <a:pt x="1397" y="376"/>
                      </a:cubicBezTo>
                      <a:cubicBezTo>
                        <a:pt x="2716" y="-382"/>
                        <a:pt x="4364" y="46"/>
                        <a:pt x="5089" y="1300"/>
                      </a:cubicBezTo>
                      <a:lnTo>
                        <a:pt x="8946" y="7931"/>
                      </a:lnTo>
                      <a:cubicBezTo>
                        <a:pt x="10067" y="9580"/>
                        <a:pt x="11814" y="10735"/>
                        <a:pt x="13726" y="11197"/>
                      </a:cubicBezTo>
                      <a:cubicBezTo>
                        <a:pt x="14714" y="11460"/>
                        <a:pt x="15604" y="12648"/>
                        <a:pt x="15670" y="14165"/>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1065" name="Freeform 1064">
                  <a:extLst>
                    <a:ext uri="{FF2B5EF4-FFF2-40B4-BE49-F238E27FC236}">
                      <a16:creationId xmlns:a16="http://schemas.microsoft.com/office/drawing/2014/main" id="{4ED9AE02-0382-58CF-1051-492A689A9D78}"/>
                    </a:ext>
                  </a:extLst>
                </p:cNvPr>
                <p:cNvSpPr/>
                <p:nvPr/>
              </p:nvSpPr>
              <p:spPr>
                <a:xfrm>
                  <a:off x="6207502" y="2448706"/>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4" y="1221"/>
                        <a:pt x="21064" y="2738"/>
                      </a:cubicBezTo>
                      <a:cubicBezTo>
                        <a:pt x="21064"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066" name="Freeform 1065">
                  <a:extLst>
                    <a:ext uri="{FF2B5EF4-FFF2-40B4-BE49-F238E27FC236}">
                      <a16:creationId xmlns:a16="http://schemas.microsoft.com/office/drawing/2014/main" id="{DA6E24F0-AA11-21B4-F8C8-B9E9D24C1320}"/>
                    </a:ext>
                  </a:extLst>
                </p:cNvPr>
                <p:cNvSpPr/>
                <p:nvPr/>
              </p:nvSpPr>
              <p:spPr>
                <a:xfrm>
                  <a:off x="6242392" y="2429640"/>
                  <a:ext cx="13249" cy="19120"/>
                </a:xfrm>
                <a:custGeom>
                  <a:avLst/>
                  <a:gdLst>
                    <a:gd name="connsiteX0" fmla="*/ 12907 w 13249"/>
                    <a:gd name="connsiteY0" fmla="*/ 4023 h 19120"/>
                    <a:gd name="connsiteX1" fmla="*/ 4996 w 13249"/>
                    <a:gd name="connsiteY1" fmla="*/ 17713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3"/>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067" name="Freeform 1066">
                  <a:extLst>
                    <a:ext uri="{FF2B5EF4-FFF2-40B4-BE49-F238E27FC236}">
                      <a16:creationId xmlns:a16="http://schemas.microsoft.com/office/drawing/2014/main" id="{1B281F14-11F9-097B-F52E-C4DEB024C450}"/>
                    </a:ext>
                  </a:extLst>
                </p:cNvPr>
                <p:cNvSpPr/>
                <p:nvPr/>
              </p:nvSpPr>
              <p:spPr>
                <a:xfrm>
                  <a:off x="6260725" y="2396677"/>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09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09"/>
                      </a:lnTo>
                      <a:cubicBezTo>
                        <a:pt x="4990" y="7528"/>
                        <a:pt x="5122" y="5417"/>
                        <a:pt x="4595" y="3537"/>
                      </a:cubicBezTo>
                      <a:cubicBezTo>
                        <a:pt x="4331" y="2547"/>
                        <a:pt x="4924" y="1161"/>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068" name="Freeform 1067">
              <a:extLst>
                <a:ext uri="{FF2B5EF4-FFF2-40B4-BE49-F238E27FC236}">
                  <a16:creationId xmlns:a16="http://schemas.microsoft.com/office/drawing/2014/main" id="{A430109B-44C5-7AF7-B65A-57886C6E0F3C}"/>
                </a:ext>
              </a:extLst>
            </p:cNvPr>
            <p:cNvSpPr/>
            <p:nvPr/>
          </p:nvSpPr>
          <p:spPr>
            <a:xfrm>
              <a:off x="6186192" y="2378045"/>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069" name="Graphic 776">
            <a:extLst>
              <a:ext uri="{FF2B5EF4-FFF2-40B4-BE49-F238E27FC236}">
                <a16:creationId xmlns:a16="http://schemas.microsoft.com/office/drawing/2014/main" id="{BF54B416-1CBE-F622-522E-3E7C294A1DA3}"/>
              </a:ext>
            </a:extLst>
          </p:cNvPr>
          <p:cNvGrpSpPr/>
          <p:nvPr/>
        </p:nvGrpSpPr>
        <p:grpSpPr>
          <a:xfrm>
            <a:off x="7058964" y="2215450"/>
            <a:ext cx="578011" cy="534972"/>
            <a:chOff x="6755022" y="2133535"/>
            <a:chExt cx="578011" cy="534972"/>
          </a:xfrm>
        </p:grpSpPr>
        <p:sp>
          <p:nvSpPr>
            <p:cNvPr id="1070" name="Freeform 1069">
              <a:extLst>
                <a:ext uri="{FF2B5EF4-FFF2-40B4-BE49-F238E27FC236}">
                  <a16:creationId xmlns:a16="http://schemas.microsoft.com/office/drawing/2014/main" id="{45C60B2D-2E8F-D23F-5839-590114A030A0}"/>
                </a:ext>
              </a:extLst>
            </p:cNvPr>
            <p:cNvSpPr/>
            <p:nvPr/>
          </p:nvSpPr>
          <p:spPr>
            <a:xfrm>
              <a:off x="6757066" y="2135514"/>
              <a:ext cx="573989" cy="530947"/>
            </a:xfrm>
            <a:custGeom>
              <a:avLst/>
              <a:gdLst>
                <a:gd name="connsiteX0" fmla="*/ 368364 w 573989"/>
                <a:gd name="connsiteY0" fmla="*/ 530948 h 530947"/>
                <a:gd name="connsiteX1" fmla="*/ 476022 w 573989"/>
                <a:gd name="connsiteY1" fmla="*/ 468731 h 530947"/>
                <a:gd name="connsiteX2" fmla="*/ 557376 w 573989"/>
                <a:gd name="connsiteY2" fmla="*/ 327673 h 530947"/>
                <a:gd name="connsiteX3" fmla="*/ 557376 w 573989"/>
                <a:gd name="connsiteY3" fmla="*/ 203241 h 530947"/>
                <a:gd name="connsiteX4" fmla="*/ 476022 w 573989"/>
                <a:gd name="connsiteY4" fmla="*/ 62216 h 530947"/>
                <a:gd name="connsiteX5" fmla="*/ 368331 w 573989"/>
                <a:gd name="connsiteY5" fmla="*/ 0 h 530947"/>
                <a:gd name="connsiteX6" fmla="*/ 205625 w 573989"/>
                <a:gd name="connsiteY6" fmla="*/ 0 h 530947"/>
                <a:gd name="connsiteX7" fmla="*/ 97967 w 573989"/>
                <a:gd name="connsiteY7" fmla="*/ 62216 h 530947"/>
                <a:gd name="connsiteX8" fmla="*/ 16613 w 573989"/>
                <a:gd name="connsiteY8" fmla="*/ 203241 h 530947"/>
                <a:gd name="connsiteX9" fmla="*/ 16613 w 573989"/>
                <a:gd name="connsiteY9" fmla="*/ 327673 h 530947"/>
                <a:gd name="connsiteX10" fmla="*/ 97967 w 573989"/>
                <a:gd name="connsiteY10" fmla="*/ 468699 h 530947"/>
                <a:gd name="connsiteX11" fmla="*/ 205625 w 573989"/>
                <a:gd name="connsiteY11" fmla="*/ 530915 h 530947"/>
                <a:gd name="connsiteX12" fmla="*/ 368331 w 573989"/>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47">
                  <a:moveTo>
                    <a:pt x="368364" y="530948"/>
                  </a:moveTo>
                  <a:cubicBezTo>
                    <a:pt x="412634" y="530948"/>
                    <a:pt x="453904" y="507130"/>
                    <a:pt x="476022" y="468731"/>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1071" name="Graphic 776">
              <a:extLst>
                <a:ext uri="{FF2B5EF4-FFF2-40B4-BE49-F238E27FC236}">
                  <a16:creationId xmlns:a16="http://schemas.microsoft.com/office/drawing/2014/main" id="{E07C5847-FCF1-17CF-1264-00318D08958B}"/>
                </a:ext>
              </a:extLst>
            </p:cNvPr>
            <p:cNvGrpSpPr/>
            <p:nvPr/>
          </p:nvGrpSpPr>
          <p:grpSpPr>
            <a:xfrm>
              <a:off x="6755022" y="2133535"/>
              <a:ext cx="578011" cy="534972"/>
              <a:chOff x="6755022" y="2133535"/>
              <a:chExt cx="578011" cy="534972"/>
            </a:xfrm>
            <a:solidFill>
              <a:srgbClr val="5856D6"/>
            </a:solidFill>
          </p:grpSpPr>
          <p:sp>
            <p:nvSpPr>
              <p:cNvPr id="1072" name="Freeform 1071">
                <a:extLst>
                  <a:ext uri="{FF2B5EF4-FFF2-40B4-BE49-F238E27FC236}">
                    <a16:creationId xmlns:a16="http://schemas.microsoft.com/office/drawing/2014/main" id="{5AA35C36-5EB2-A2A2-940D-B0E71BE84277}"/>
                  </a:ext>
                </a:extLst>
              </p:cNvPr>
              <p:cNvSpPr/>
              <p:nvPr/>
            </p:nvSpPr>
            <p:spPr>
              <a:xfrm>
                <a:off x="7137750" y="2661491"/>
                <a:ext cx="16249" cy="6134"/>
              </a:xfrm>
              <a:custGeom>
                <a:avLst/>
                <a:gdLst>
                  <a:gd name="connsiteX0" fmla="*/ 13787 w 16249"/>
                  <a:gd name="connsiteY0" fmla="*/ 23 h 6134"/>
                  <a:gd name="connsiteX1" fmla="*/ 7820 w 16249"/>
                  <a:gd name="connsiteY1" fmla="*/ 1178 h 6134"/>
                  <a:gd name="connsiteX2" fmla="*/ 1821 w 16249"/>
                  <a:gd name="connsiteY2" fmla="*/ 2035 h 6134"/>
                  <a:gd name="connsiteX3" fmla="*/ 8 w 16249"/>
                  <a:gd name="connsiteY3" fmla="*/ 4279 h 6134"/>
                  <a:gd name="connsiteX4" fmla="*/ 2283 w 16249"/>
                  <a:gd name="connsiteY4" fmla="*/ 6126 h 6134"/>
                  <a:gd name="connsiteX5" fmla="*/ 8480 w 16249"/>
                  <a:gd name="connsiteY5" fmla="*/ 5235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61"/>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073" name="Freeform 1072">
                <a:extLst>
                  <a:ext uri="{FF2B5EF4-FFF2-40B4-BE49-F238E27FC236}">
                    <a16:creationId xmlns:a16="http://schemas.microsoft.com/office/drawing/2014/main" id="{D8C30D4E-FB34-BA1D-1828-F65BC9E73CA2}"/>
                  </a:ext>
                </a:extLst>
              </p:cNvPr>
              <p:cNvSpPr/>
              <p:nvPr/>
            </p:nvSpPr>
            <p:spPr>
              <a:xfrm>
                <a:off x="7165699" y="2652124"/>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0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0"/>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074" name="Freeform 1073">
                <a:extLst>
                  <a:ext uri="{FF2B5EF4-FFF2-40B4-BE49-F238E27FC236}">
                    <a16:creationId xmlns:a16="http://schemas.microsoft.com/office/drawing/2014/main" id="{5CB98879-2721-5376-DAAA-50C72E249058}"/>
                  </a:ext>
                </a:extLst>
              </p:cNvPr>
              <p:cNvSpPr/>
              <p:nvPr/>
            </p:nvSpPr>
            <p:spPr>
              <a:xfrm>
                <a:off x="7191404" y="2636724"/>
                <a:ext cx="14067" cy="11396"/>
              </a:xfrm>
              <a:custGeom>
                <a:avLst/>
                <a:gdLst>
                  <a:gd name="connsiteX0" fmla="*/ 10732 w 14067"/>
                  <a:gd name="connsiteY0" fmla="*/ 477 h 11396"/>
                  <a:gd name="connsiteX1" fmla="*/ 5919 w 14067"/>
                  <a:gd name="connsiteY1" fmla="*/ 4172 h 11396"/>
                  <a:gd name="connsiteX2" fmla="*/ 942 w 14067"/>
                  <a:gd name="connsiteY2" fmla="*/ 7635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5"/>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075" name="Freeform 1074">
                <a:extLst>
                  <a:ext uri="{FF2B5EF4-FFF2-40B4-BE49-F238E27FC236}">
                    <a16:creationId xmlns:a16="http://schemas.microsoft.com/office/drawing/2014/main" id="{D6707386-C2AC-8DEB-C194-E6AD26114372}"/>
                  </a:ext>
                </a:extLst>
              </p:cNvPr>
              <p:cNvSpPr/>
              <p:nvPr/>
            </p:nvSpPr>
            <p:spPr>
              <a:xfrm>
                <a:off x="7213520" y="2616276"/>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8 h 13446"/>
                  <a:gd name="connsiteX5" fmla="*/ 11756 w 12186"/>
                  <a:gd name="connsiteY5" fmla="*/ 3310 h 13446"/>
                  <a:gd name="connsiteX6" fmla="*/ 11360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09" y="10765"/>
                      <a:pt x="-177" y="12085"/>
                      <a:pt x="615" y="12877"/>
                    </a:cubicBezTo>
                    <a:lnTo>
                      <a:pt x="615" y="12877"/>
                    </a:lnTo>
                    <a:cubicBezTo>
                      <a:pt x="1406" y="13668"/>
                      <a:pt x="2724" y="13635"/>
                      <a:pt x="3515" y="12778"/>
                    </a:cubicBezTo>
                    <a:cubicBezTo>
                      <a:pt x="6482" y="9809"/>
                      <a:pt x="9086" y="6543"/>
                      <a:pt x="11756" y="3310"/>
                    </a:cubicBezTo>
                    <a:cubicBezTo>
                      <a:pt x="12481" y="2419"/>
                      <a:pt x="12251" y="1067"/>
                      <a:pt x="11360"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076" name="Freeform 1075">
                <a:extLst>
                  <a:ext uri="{FF2B5EF4-FFF2-40B4-BE49-F238E27FC236}">
                    <a16:creationId xmlns:a16="http://schemas.microsoft.com/office/drawing/2014/main" id="{A714F0CF-CB99-4488-F344-B17BC328DD6E}"/>
                  </a:ext>
                </a:extLst>
              </p:cNvPr>
              <p:cNvSpPr/>
              <p:nvPr/>
            </p:nvSpPr>
            <p:spPr>
              <a:xfrm>
                <a:off x="7230748" y="2591966"/>
                <a:ext cx="10326" cy="14786"/>
              </a:xfrm>
              <a:custGeom>
                <a:avLst/>
                <a:gdLst>
                  <a:gd name="connsiteX0" fmla="*/ 6494 w 10326"/>
                  <a:gd name="connsiteY0" fmla="*/ 1031 h 14786"/>
                  <a:gd name="connsiteX1" fmla="*/ 297 w 10326"/>
                  <a:gd name="connsiteY1" fmla="*/ 11719 h 14786"/>
                  <a:gd name="connsiteX2" fmla="*/ 989 w 10326"/>
                  <a:gd name="connsiteY2" fmla="*/ 14491 h 14786"/>
                  <a:gd name="connsiteX3" fmla="*/ 3857 w 10326"/>
                  <a:gd name="connsiteY3" fmla="*/ 13765 h 14786"/>
                  <a:gd name="connsiteX4" fmla="*/ 10054 w 10326"/>
                  <a:gd name="connsiteY4" fmla="*/ 3077 h 14786"/>
                  <a:gd name="connsiteX5" fmla="*/ 9296 w 10326"/>
                  <a:gd name="connsiteY5" fmla="*/ 273 h 14786"/>
                  <a:gd name="connsiteX6" fmla="*/ 9296 w 10326"/>
                  <a:gd name="connsiteY6" fmla="*/ 273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19"/>
                    </a:lnTo>
                    <a:cubicBezTo>
                      <a:pt x="-297" y="12676"/>
                      <a:pt x="33" y="13930"/>
                      <a:pt x="989" y="14491"/>
                    </a:cubicBezTo>
                    <a:cubicBezTo>
                      <a:pt x="1945" y="15084"/>
                      <a:pt x="3230" y="14754"/>
                      <a:pt x="3857" y="13765"/>
                    </a:cubicBezTo>
                    <a:lnTo>
                      <a:pt x="10054" y="3077"/>
                    </a:lnTo>
                    <a:cubicBezTo>
                      <a:pt x="10614" y="2087"/>
                      <a:pt x="10285" y="833"/>
                      <a:pt x="9296" y="273"/>
                    </a:cubicBezTo>
                    <a:lnTo>
                      <a:pt x="9296" y="273"/>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077" name="Freeform 1076">
                <a:extLst>
                  <a:ext uri="{FF2B5EF4-FFF2-40B4-BE49-F238E27FC236}">
                    <a16:creationId xmlns:a16="http://schemas.microsoft.com/office/drawing/2014/main" id="{36C1321C-5505-8DEA-DBBB-5F86C1CD2EEA}"/>
                  </a:ext>
                </a:extLst>
              </p:cNvPr>
              <p:cNvSpPr/>
              <p:nvPr/>
            </p:nvSpPr>
            <p:spPr>
              <a:xfrm>
                <a:off x="7245210" y="2566994"/>
                <a:ext cx="10268" cy="14795"/>
              </a:xfrm>
              <a:custGeom>
                <a:avLst/>
                <a:gdLst>
                  <a:gd name="connsiteX0" fmla="*/ 6437 w 10268"/>
                  <a:gd name="connsiteY0" fmla="*/ 1031 h 14795"/>
                  <a:gd name="connsiteX1" fmla="*/ 272 w 10268"/>
                  <a:gd name="connsiteY1" fmla="*/ 11719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7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7" y="1031"/>
                    </a:moveTo>
                    <a:lnTo>
                      <a:pt x="272" y="11719"/>
                    </a:lnTo>
                    <a:cubicBezTo>
                      <a:pt x="-288" y="12709"/>
                      <a:pt x="42" y="13963"/>
                      <a:pt x="1031" y="14523"/>
                    </a:cubicBezTo>
                    <a:cubicBezTo>
                      <a:pt x="2019" y="15084"/>
                      <a:pt x="3272" y="14754"/>
                      <a:pt x="3832" y="13765"/>
                    </a:cubicBezTo>
                    <a:lnTo>
                      <a:pt x="9996" y="3077"/>
                    </a:lnTo>
                    <a:cubicBezTo>
                      <a:pt x="10557" y="2087"/>
                      <a:pt x="10227" y="833"/>
                      <a:pt x="9238" y="272"/>
                    </a:cubicBezTo>
                    <a:cubicBezTo>
                      <a:pt x="8249" y="-288"/>
                      <a:pt x="6997" y="42"/>
                      <a:pt x="6437" y="1031"/>
                    </a:cubicBezTo>
                    <a:close/>
                  </a:path>
                </a:pathLst>
              </a:custGeom>
              <a:solidFill>
                <a:srgbClr val="5856D6"/>
              </a:solidFill>
              <a:ln w="3283" cap="flat">
                <a:noFill/>
                <a:prstDash val="solid"/>
                <a:miter/>
              </a:ln>
            </p:spPr>
            <p:txBody>
              <a:bodyPr rtlCol="0" anchor="ctr"/>
              <a:lstStyle/>
              <a:p>
                <a:endParaRPr lang="en-US"/>
              </a:p>
            </p:txBody>
          </p:sp>
          <p:sp>
            <p:nvSpPr>
              <p:cNvPr id="1078" name="Freeform 1077">
                <a:extLst>
                  <a:ext uri="{FF2B5EF4-FFF2-40B4-BE49-F238E27FC236}">
                    <a16:creationId xmlns:a16="http://schemas.microsoft.com/office/drawing/2014/main" id="{AE4E5835-25F8-66F2-8A84-5E8E6252E7F8}"/>
                  </a:ext>
                </a:extLst>
              </p:cNvPr>
              <p:cNvSpPr/>
              <p:nvPr/>
            </p:nvSpPr>
            <p:spPr>
              <a:xfrm>
                <a:off x="7259615" y="2542021"/>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6"/>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79" name="Freeform 1078">
                <a:extLst>
                  <a:ext uri="{FF2B5EF4-FFF2-40B4-BE49-F238E27FC236}">
                    <a16:creationId xmlns:a16="http://schemas.microsoft.com/office/drawing/2014/main" id="{EE31B6FD-816C-BE27-0CF0-FBCB72E580C9}"/>
                  </a:ext>
                </a:extLst>
              </p:cNvPr>
              <p:cNvSpPr/>
              <p:nvPr/>
            </p:nvSpPr>
            <p:spPr>
              <a:xfrm>
                <a:off x="7274020" y="2517049"/>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6"/>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80" name="Freeform 1079">
                <a:extLst>
                  <a:ext uri="{FF2B5EF4-FFF2-40B4-BE49-F238E27FC236}">
                    <a16:creationId xmlns:a16="http://schemas.microsoft.com/office/drawing/2014/main" id="{37D2E4A3-147D-3A32-D906-AE4896738023}"/>
                  </a:ext>
                </a:extLst>
              </p:cNvPr>
              <p:cNvSpPr/>
              <p:nvPr/>
            </p:nvSpPr>
            <p:spPr>
              <a:xfrm>
                <a:off x="7288425" y="2492077"/>
                <a:ext cx="10268" cy="14795"/>
              </a:xfrm>
              <a:custGeom>
                <a:avLst/>
                <a:gdLst>
                  <a:gd name="connsiteX0" fmla="*/ 6436 w 10268"/>
                  <a:gd name="connsiteY0" fmla="*/ 1031 h 14795"/>
                  <a:gd name="connsiteX1" fmla="*/ 272 w 10268"/>
                  <a:gd name="connsiteY1" fmla="*/ 11719 h 14795"/>
                  <a:gd name="connsiteX2" fmla="*/ 1030 w 10268"/>
                  <a:gd name="connsiteY2" fmla="*/ 14524 h 14795"/>
                  <a:gd name="connsiteX3" fmla="*/ 1030 w 10268"/>
                  <a:gd name="connsiteY3" fmla="*/ 14524 h 14795"/>
                  <a:gd name="connsiteX4" fmla="*/ 3832 w 10268"/>
                  <a:gd name="connsiteY4" fmla="*/ 13765 h 14795"/>
                  <a:gd name="connsiteX5" fmla="*/ 9997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4"/>
                    </a:cubicBezTo>
                    <a:lnTo>
                      <a:pt x="1030" y="14524"/>
                    </a:lnTo>
                    <a:cubicBezTo>
                      <a:pt x="2019" y="15084"/>
                      <a:pt x="3272" y="14754"/>
                      <a:pt x="3832" y="13765"/>
                    </a:cubicBezTo>
                    <a:lnTo>
                      <a:pt x="9997"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81" name="Freeform 1080">
                <a:extLst>
                  <a:ext uri="{FF2B5EF4-FFF2-40B4-BE49-F238E27FC236}">
                    <a16:creationId xmlns:a16="http://schemas.microsoft.com/office/drawing/2014/main" id="{A1F52582-843A-CB43-C353-7B2BAB19CBA9}"/>
                  </a:ext>
                </a:extLst>
              </p:cNvPr>
              <p:cNvSpPr/>
              <p:nvPr/>
            </p:nvSpPr>
            <p:spPr>
              <a:xfrm>
                <a:off x="7302830" y="2467105"/>
                <a:ext cx="10268" cy="14796"/>
              </a:xfrm>
              <a:custGeom>
                <a:avLst/>
                <a:gdLst>
                  <a:gd name="connsiteX0" fmla="*/ 6436 w 10268"/>
                  <a:gd name="connsiteY0" fmla="*/ 1031 h 14796"/>
                  <a:gd name="connsiteX1" fmla="*/ 272 w 10268"/>
                  <a:gd name="connsiteY1" fmla="*/ 11719 h 14796"/>
                  <a:gd name="connsiteX2" fmla="*/ 1030 w 10268"/>
                  <a:gd name="connsiteY2" fmla="*/ 14524 h 14796"/>
                  <a:gd name="connsiteX3" fmla="*/ 3832 w 10268"/>
                  <a:gd name="connsiteY3" fmla="*/ 13765 h 14796"/>
                  <a:gd name="connsiteX4" fmla="*/ 9996 w 10268"/>
                  <a:gd name="connsiteY4" fmla="*/ 3077 h 14796"/>
                  <a:gd name="connsiteX5" fmla="*/ 9238 w 10268"/>
                  <a:gd name="connsiteY5" fmla="*/ 273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19"/>
                    </a:lnTo>
                    <a:cubicBezTo>
                      <a:pt x="-288" y="12709"/>
                      <a:pt x="42" y="13963"/>
                      <a:pt x="1030" y="14524"/>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082" name="Freeform 1081">
                <a:extLst>
                  <a:ext uri="{FF2B5EF4-FFF2-40B4-BE49-F238E27FC236}">
                    <a16:creationId xmlns:a16="http://schemas.microsoft.com/office/drawing/2014/main" id="{533692ED-562B-E00C-4F6A-0F93B613ADA0}"/>
                  </a:ext>
                </a:extLst>
              </p:cNvPr>
              <p:cNvSpPr/>
              <p:nvPr/>
            </p:nvSpPr>
            <p:spPr>
              <a:xfrm>
                <a:off x="7316874" y="2441239"/>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8" y="14824"/>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083" name="Freeform 1082">
                <a:extLst>
                  <a:ext uri="{FF2B5EF4-FFF2-40B4-BE49-F238E27FC236}">
                    <a16:creationId xmlns:a16="http://schemas.microsoft.com/office/drawing/2014/main" id="{6EE5A136-847B-8D53-B4F4-9EC8DD770B8E}"/>
                  </a:ext>
                </a:extLst>
              </p:cNvPr>
              <p:cNvSpPr/>
              <p:nvPr/>
            </p:nvSpPr>
            <p:spPr>
              <a:xfrm>
                <a:off x="7326155" y="2413268"/>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19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6"/>
                      <a:pt x="4076" y="14655"/>
                    </a:cubicBezTo>
                    <a:cubicBezTo>
                      <a:pt x="4603" y="12610"/>
                      <a:pt x="4900" y="10564"/>
                      <a:pt x="5230" y="8486"/>
                    </a:cubicBezTo>
                    <a:cubicBezTo>
                      <a:pt x="5526" y="6408"/>
                      <a:pt x="5988" y="4363"/>
                      <a:pt x="6119"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084" name="Freeform 1083">
                <a:extLst>
                  <a:ext uri="{FF2B5EF4-FFF2-40B4-BE49-F238E27FC236}">
                    <a16:creationId xmlns:a16="http://schemas.microsoft.com/office/drawing/2014/main" id="{AD89B93F-A73C-8E4D-3372-C10DCDDF5B05}"/>
                  </a:ext>
                </a:extLst>
              </p:cNvPr>
              <p:cNvSpPr/>
              <p:nvPr/>
            </p:nvSpPr>
            <p:spPr>
              <a:xfrm>
                <a:off x="7328113" y="2384463"/>
                <a:ext cx="4920" cy="16442"/>
              </a:xfrm>
              <a:custGeom>
                <a:avLst/>
                <a:gdLst>
                  <a:gd name="connsiteX0" fmla="*/ 41 w 4920"/>
                  <a:gd name="connsiteY0" fmla="*/ 2324 h 16442"/>
                  <a:gd name="connsiteX1" fmla="*/ 634 w 4920"/>
                  <a:gd name="connsiteY1" fmla="*/ 8360 h 16442"/>
                  <a:gd name="connsiteX2" fmla="*/ 832 w 4920"/>
                  <a:gd name="connsiteY2" fmla="*/ 14430 h 16442"/>
                  <a:gd name="connsiteX3" fmla="*/ 2942 w 4920"/>
                  <a:gd name="connsiteY3" fmla="*/ 16443 h 16442"/>
                  <a:gd name="connsiteX4" fmla="*/ 2942 w 4920"/>
                  <a:gd name="connsiteY4" fmla="*/ 16443 h 16442"/>
                  <a:gd name="connsiteX5" fmla="*/ 4920 w 4920"/>
                  <a:gd name="connsiteY5" fmla="*/ 14364 h 16442"/>
                  <a:gd name="connsiteX6" fmla="*/ 4689 w 4920"/>
                  <a:gd name="connsiteY6" fmla="*/ 8097 h 16442"/>
                  <a:gd name="connsiteX7" fmla="*/ 4096 w 4920"/>
                  <a:gd name="connsiteY7" fmla="*/ 1829 h 16442"/>
                  <a:gd name="connsiteX8" fmla="*/ 1821 w 4920"/>
                  <a:gd name="connsiteY8" fmla="*/ 14 h 16442"/>
                  <a:gd name="connsiteX9" fmla="*/ 1821 w 4920"/>
                  <a:gd name="connsiteY9" fmla="*/ 14 h 16442"/>
                  <a:gd name="connsiteX10" fmla="*/ 8 w 4920"/>
                  <a:gd name="connsiteY10" fmla="*/ 2291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42">
                    <a:moveTo>
                      <a:pt x="41" y="2324"/>
                    </a:moveTo>
                    <a:lnTo>
                      <a:pt x="634" y="8360"/>
                    </a:lnTo>
                    <a:lnTo>
                      <a:pt x="832" y="14430"/>
                    </a:lnTo>
                    <a:cubicBezTo>
                      <a:pt x="865" y="15552"/>
                      <a:pt x="1821" y="16443"/>
                      <a:pt x="2942" y="16443"/>
                    </a:cubicBezTo>
                    <a:lnTo>
                      <a:pt x="2942" y="16443"/>
                    </a:lnTo>
                    <a:cubicBezTo>
                      <a:pt x="4063" y="16443"/>
                      <a:pt x="4953" y="15519"/>
                      <a:pt x="4920" y="14364"/>
                    </a:cubicBezTo>
                    <a:lnTo>
                      <a:pt x="4689" y="8097"/>
                    </a:lnTo>
                    <a:lnTo>
                      <a:pt x="4096" y="1829"/>
                    </a:lnTo>
                    <a:cubicBezTo>
                      <a:pt x="3997" y="674"/>
                      <a:pt x="2975" y="-118"/>
                      <a:pt x="1821" y="14"/>
                    </a:cubicBezTo>
                    <a:lnTo>
                      <a:pt x="1821" y="14"/>
                    </a:lnTo>
                    <a:cubicBezTo>
                      <a:pt x="733" y="179"/>
                      <a:pt x="-91" y="1202"/>
                      <a:pt x="8" y="2291"/>
                    </a:cubicBezTo>
                    <a:close/>
                  </a:path>
                </a:pathLst>
              </a:custGeom>
              <a:solidFill>
                <a:srgbClr val="5856D6"/>
              </a:solidFill>
              <a:ln w="3283" cap="flat">
                <a:noFill/>
                <a:prstDash val="solid"/>
                <a:miter/>
              </a:ln>
            </p:spPr>
            <p:txBody>
              <a:bodyPr rtlCol="0" anchor="ctr"/>
              <a:lstStyle/>
              <a:p>
                <a:endParaRPr lang="en-US"/>
              </a:p>
            </p:txBody>
          </p:sp>
          <p:sp>
            <p:nvSpPr>
              <p:cNvPr id="1085" name="Freeform 1084">
                <a:extLst>
                  <a:ext uri="{FF2B5EF4-FFF2-40B4-BE49-F238E27FC236}">
                    <a16:creationId xmlns:a16="http://schemas.microsoft.com/office/drawing/2014/main" id="{F38101D3-34F0-50B2-C299-740469B2F334}"/>
                  </a:ext>
                </a:extLst>
              </p:cNvPr>
              <p:cNvSpPr/>
              <p:nvPr/>
            </p:nvSpPr>
            <p:spPr>
              <a:xfrm>
                <a:off x="7321513" y="2356557"/>
                <a:ext cx="7718" cy="15892"/>
              </a:xfrm>
              <a:custGeom>
                <a:avLst/>
                <a:gdLst>
                  <a:gd name="connsiteX0" fmla="*/ 147 w 7718"/>
                  <a:gd name="connsiteY0" fmla="*/ 2718 h 15892"/>
                  <a:gd name="connsiteX1" fmla="*/ 2059 w 7718"/>
                  <a:gd name="connsiteY1" fmla="*/ 8491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1" y="6544"/>
                      <a:pt x="2059" y="8491"/>
                    </a:cubicBezTo>
                    <a:cubicBezTo>
                      <a:pt x="2586" y="10437"/>
                      <a:pt x="3311" y="12350"/>
                      <a:pt x="3707" y="14329"/>
                    </a:cubicBezTo>
                    <a:cubicBezTo>
                      <a:pt x="3971" y="15418"/>
                      <a:pt x="5059" y="16078"/>
                      <a:pt x="6146" y="15847"/>
                    </a:cubicBezTo>
                    <a:lnTo>
                      <a:pt x="6146" y="15847"/>
                    </a:lnTo>
                    <a:cubicBezTo>
                      <a:pt x="7234" y="15583"/>
                      <a:pt x="7926" y="14461"/>
                      <a:pt x="7663" y="13340"/>
                    </a:cubicBezTo>
                    <a:cubicBezTo>
                      <a:pt x="7234" y="11294"/>
                      <a:pt x="6509" y="9315"/>
                      <a:pt x="5949" y="7303"/>
                    </a:cubicBezTo>
                    <a:cubicBezTo>
                      <a:pt x="5388" y="5291"/>
                      <a:pt x="4729" y="3278"/>
                      <a:pt x="3971" y="1365"/>
                    </a:cubicBezTo>
                    <a:cubicBezTo>
                      <a:pt x="3575" y="276"/>
                      <a:pt x="2389" y="-284"/>
                      <a:pt x="1334" y="144"/>
                    </a:cubicBezTo>
                    <a:lnTo>
                      <a:pt x="1334" y="144"/>
                    </a:lnTo>
                    <a:cubicBezTo>
                      <a:pt x="279" y="540"/>
                      <a:pt x="-248" y="1728"/>
                      <a:pt x="114" y="2784"/>
                    </a:cubicBezTo>
                    <a:close/>
                  </a:path>
                </a:pathLst>
              </a:custGeom>
              <a:solidFill>
                <a:srgbClr val="5856D6"/>
              </a:solidFill>
              <a:ln w="3283" cap="flat">
                <a:noFill/>
                <a:prstDash val="solid"/>
                <a:miter/>
              </a:ln>
            </p:spPr>
            <p:txBody>
              <a:bodyPr rtlCol="0" anchor="ctr"/>
              <a:lstStyle/>
              <a:p>
                <a:endParaRPr lang="en-US"/>
              </a:p>
            </p:txBody>
          </p:sp>
          <p:sp>
            <p:nvSpPr>
              <p:cNvPr id="1086" name="Freeform 1085">
                <a:extLst>
                  <a:ext uri="{FF2B5EF4-FFF2-40B4-BE49-F238E27FC236}">
                    <a16:creationId xmlns:a16="http://schemas.microsoft.com/office/drawing/2014/main" id="{B1ABFD97-8FEC-37A9-62EC-71B4E10DAB8D}"/>
                  </a:ext>
                </a:extLst>
              </p:cNvPr>
              <p:cNvSpPr/>
              <p:nvPr/>
            </p:nvSpPr>
            <p:spPr>
              <a:xfrm>
                <a:off x="7308895" y="2330665"/>
                <a:ext cx="10138" cy="14889"/>
              </a:xfrm>
              <a:custGeom>
                <a:avLst/>
                <a:gdLst>
                  <a:gd name="connsiteX0" fmla="*/ 272 w 10138"/>
                  <a:gd name="connsiteY0" fmla="*/ 3076 h 14889"/>
                  <a:gd name="connsiteX1" fmla="*/ 6239 w 10138"/>
                  <a:gd name="connsiteY1" fmla="*/ 13798 h 14889"/>
                  <a:gd name="connsiteX2" fmla="*/ 9041 w 10138"/>
                  <a:gd name="connsiteY2" fmla="*/ 14655 h 14889"/>
                  <a:gd name="connsiteX3" fmla="*/ 9041 w 10138"/>
                  <a:gd name="connsiteY3" fmla="*/ 14655 h 14889"/>
                  <a:gd name="connsiteX4" fmla="*/ 9898 w 10138"/>
                  <a:gd name="connsiteY4" fmla="*/ 11884 h 14889"/>
                  <a:gd name="connsiteX5" fmla="*/ 3832 w 10138"/>
                  <a:gd name="connsiteY5" fmla="*/ 1031 h 14889"/>
                  <a:gd name="connsiteX6" fmla="*/ 1031 w 10138"/>
                  <a:gd name="connsiteY6" fmla="*/ 273 h 14889"/>
                  <a:gd name="connsiteX7" fmla="*/ 272 w 10138"/>
                  <a:gd name="connsiteY7" fmla="*/ 3076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6"/>
                    </a:moveTo>
                    <a:cubicBezTo>
                      <a:pt x="2349" y="6639"/>
                      <a:pt x="4393" y="10202"/>
                      <a:pt x="6239" y="13798"/>
                    </a:cubicBezTo>
                    <a:cubicBezTo>
                      <a:pt x="6766" y="14787"/>
                      <a:pt x="8019" y="15183"/>
                      <a:pt x="9041" y="14655"/>
                    </a:cubicBezTo>
                    <a:lnTo>
                      <a:pt x="9041" y="14655"/>
                    </a:lnTo>
                    <a:cubicBezTo>
                      <a:pt x="10062" y="14161"/>
                      <a:pt x="10425" y="12907"/>
                      <a:pt x="9898" y="11884"/>
                    </a:cubicBezTo>
                    <a:cubicBezTo>
                      <a:pt x="7953" y="8157"/>
                      <a:pt x="5909" y="4561"/>
                      <a:pt x="3832" y="1031"/>
                    </a:cubicBezTo>
                    <a:cubicBezTo>
                      <a:pt x="3272" y="42"/>
                      <a:pt x="2019" y="-288"/>
                      <a:pt x="1031"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087" name="Freeform 1086">
                <a:extLst>
                  <a:ext uri="{FF2B5EF4-FFF2-40B4-BE49-F238E27FC236}">
                    <a16:creationId xmlns:a16="http://schemas.microsoft.com/office/drawing/2014/main" id="{32B202F5-3F4F-F6B5-65E7-194CFE54564F}"/>
                  </a:ext>
                </a:extLst>
              </p:cNvPr>
              <p:cNvSpPr/>
              <p:nvPr/>
            </p:nvSpPr>
            <p:spPr>
              <a:xfrm>
                <a:off x="7294490" y="2305693"/>
                <a:ext cx="10268" cy="14795"/>
              </a:xfrm>
              <a:custGeom>
                <a:avLst/>
                <a:gdLst>
                  <a:gd name="connsiteX0" fmla="*/ 272 w 10268"/>
                  <a:gd name="connsiteY0" fmla="*/ 3077 h 14795"/>
                  <a:gd name="connsiteX1" fmla="*/ 6436 w 10268"/>
                  <a:gd name="connsiteY1" fmla="*/ 13765 h 14795"/>
                  <a:gd name="connsiteX2" fmla="*/ 9238 w 10268"/>
                  <a:gd name="connsiteY2" fmla="*/ 14524 h 14795"/>
                  <a:gd name="connsiteX3" fmla="*/ 9996 w 10268"/>
                  <a:gd name="connsiteY3" fmla="*/ 11719 h 14795"/>
                  <a:gd name="connsiteX4" fmla="*/ 3832 w 10268"/>
                  <a:gd name="connsiteY4" fmla="*/ 1031 h 14795"/>
                  <a:gd name="connsiteX5" fmla="*/ 1031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50" y="15084"/>
                      <a:pt x="9238" y="14524"/>
                    </a:cubicBez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88" name="Freeform 1087">
                <a:extLst>
                  <a:ext uri="{FF2B5EF4-FFF2-40B4-BE49-F238E27FC236}">
                    <a16:creationId xmlns:a16="http://schemas.microsoft.com/office/drawing/2014/main" id="{164ECCFD-A65D-FA73-E220-91EF8B9E0266}"/>
                  </a:ext>
                </a:extLst>
              </p:cNvPr>
              <p:cNvSpPr/>
              <p:nvPr/>
            </p:nvSpPr>
            <p:spPr>
              <a:xfrm>
                <a:off x="7280085" y="2280721"/>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1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4"/>
                    </a:cubicBezTo>
                    <a:lnTo>
                      <a:pt x="9238" y="14524"/>
                    </a:ln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89" name="Freeform 1088">
                <a:extLst>
                  <a:ext uri="{FF2B5EF4-FFF2-40B4-BE49-F238E27FC236}">
                    <a16:creationId xmlns:a16="http://schemas.microsoft.com/office/drawing/2014/main" id="{0A35246D-C589-AF6E-D419-DF351678DFE8}"/>
                  </a:ext>
                </a:extLst>
              </p:cNvPr>
              <p:cNvSpPr/>
              <p:nvPr/>
            </p:nvSpPr>
            <p:spPr>
              <a:xfrm>
                <a:off x="7265713" y="2255748"/>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2 h 14795"/>
                  <a:gd name="connsiteX7" fmla="*/ 272 w 10268"/>
                  <a:gd name="connsiteY7"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6"/>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090" name="Freeform 1089">
                <a:extLst>
                  <a:ext uri="{FF2B5EF4-FFF2-40B4-BE49-F238E27FC236}">
                    <a16:creationId xmlns:a16="http://schemas.microsoft.com/office/drawing/2014/main" id="{004C74E9-F160-912E-81DC-C88296B95E6D}"/>
                  </a:ext>
                </a:extLst>
              </p:cNvPr>
              <p:cNvSpPr/>
              <p:nvPr/>
            </p:nvSpPr>
            <p:spPr>
              <a:xfrm>
                <a:off x="7251308" y="2230809"/>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2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091" name="Freeform 1090">
                <a:extLst>
                  <a:ext uri="{FF2B5EF4-FFF2-40B4-BE49-F238E27FC236}">
                    <a16:creationId xmlns:a16="http://schemas.microsoft.com/office/drawing/2014/main" id="{B50D5589-8BD5-A771-B296-8162EE0852C9}"/>
                  </a:ext>
                </a:extLst>
              </p:cNvPr>
              <p:cNvSpPr/>
              <p:nvPr/>
            </p:nvSpPr>
            <p:spPr>
              <a:xfrm>
                <a:off x="7236903" y="2205837"/>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092" name="Freeform 1091">
                <a:extLst>
                  <a:ext uri="{FF2B5EF4-FFF2-40B4-BE49-F238E27FC236}">
                    <a16:creationId xmlns:a16="http://schemas.microsoft.com/office/drawing/2014/main" id="{A19DE604-9846-C4C0-BDBC-EAEE8BB406AD}"/>
                  </a:ext>
                </a:extLst>
              </p:cNvPr>
              <p:cNvSpPr/>
              <p:nvPr/>
            </p:nvSpPr>
            <p:spPr>
              <a:xfrm>
                <a:off x="7221413" y="2181554"/>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093" name="Freeform 1092">
                <a:extLst>
                  <a:ext uri="{FF2B5EF4-FFF2-40B4-BE49-F238E27FC236}">
                    <a16:creationId xmlns:a16="http://schemas.microsoft.com/office/drawing/2014/main" id="{530A7C72-1F46-E7B1-8B3F-6E0035E9A6C2}"/>
                  </a:ext>
                </a:extLst>
              </p:cNvPr>
              <p:cNvSpPr/>
              <p:nvPr/>
            </p:nvSpPr>
            <p:spPr>
              <a:xfrm>
                <a:off x="7201296" y="2161041"/>
                <a:ext cx="13324" cy="12286"/>
              </a:xfrm>
              <a:custGeom>
                <a:avLst/>
                <a:gdLst>
                  <a:gd name="connsiteX0" fmla="*/ 708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8"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1"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094" name="Freeform 1093">
                <a:extLst>
                  <a:ext uri="{FF2B5EF4-FFF2-40B4-BE49-F238E27FC236}">
                    <a16:creationId xmlns:a16="http://schemas.microsoft.com/office/drawing/2014/main" id="{2CD7AB30-7296-EF0A-0426-E59DF73945B2}"/>
                  </a:ext>
                </a:extLst>
              </p:cNvPr>
              <p:cNvSpPr/>
              <p:nvPr/>
            </p:nvSpPr>
            <p:spPr>
              <a:xfrm>
                <a:off x="7176937" y="2145759"/>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20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5"/>
                      <a:pt x="14651" y="8988"/>
                    </a:cubicBezTo>
                    <a:cubicBezTo>
                      <a:pt x="15244" y="8031"/>
                      <a:pt x="14947" y="6745"/>
                      <a:pt x="13958" y="6151"/>
                    </a:cubicBezTo>
                    <a:cubicBezTo>
                      <a:pt x="12211" y="4996"/>
                      <a:pt x="10365" y="4007"/>
                      <a:pt x="8520" y="3050"/>
                    </a:cubicBezTo>
                    <a:cubicBezTo>
                      <a:pt x="6674" y="2093"/>
                      <a:pt x="4861" y="1005"/>
                      <a:pt x="2949" y="180"/>
                    </a:cubicBezTo>
                    <a:cubicBezTo>
                      <a:pt x="1894" y="-282"/>
                      <a:pt x="674"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095" name="Freeform 1094">
                <a:extLst>
                  <a:ext uri="{FF2B5EF4-FFF2-40B4-BE49-F238E27FC236}">
                    <a16:creationId xmlns:a16="http://schemas.microsoft.com/office/drawing/2014/main" id="{E0FAC504-32F6-EFD8-7D87-235FEF34428B}"/>
                  </a:ext>
                </a:extLst>
              </p:cNvPr>
              <p:cNvSpPr/>
              <p:nvPr/>
            </p:nvSpPr>
            <p:spPr>
              <a:xfrm>
                <a:off x="7149780" y="2136349"/>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096" name="Freeform 1095">
                <a:extLst>
                  <a:ext uri="{FF2B5EF4-FFF2-40B4-BE49-F238E27FC236}">
                    <a16:creationId xmlns:a16="http://schemas.microsoft.com/office/drawing/2014/main" id="{021CF065-C04C-AAA0-74D3-13FA12AE7581}"/>
                  </a:ext>
                </a:extLst>
              </p:cNvPr>
              <p:cNvSpPr/>
              <p:nvPr/>
            </p:nvSpPr>
            <p:spPr>
              <a:xfrm>
                <a:off x="7121178" y="2133535"/>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97" name="Freeform 1096">
                <a:extLst>
                  <a:ext uri="{FF2B5EF4-FFF2-40B4-BE49-F238E27FC236}">
                    <a16:creationId xmlns:a16="http://schemas.microsoft.com/office/drawing/2014/main" id="{00FF97A0-22AD-66F9-B535-C05D641DE115}"/>
                  </a:ext>
                </a:extLst>
              </p:cNvPr>
              <p:cNvSpPr/>
              <p:nvPr/>
            </p:nvSpPr>
            <p:spPr>
              <a:xfrm>
                <a:off x="709236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98" name="Freeform 1097">
                <a:extLst>
                  <a:ext uri="{FF2B5EF4-FFF2-40B4-BE49-F238E27FC236}">
                    <a16:creationId xmlns:a16="http://schemas.microsoft.com/office/drawing/2014/main" id="{4C3937E3-BBA1-234C-7CB4-8AA6238C191B}"/>
                  </a:ext>
                </a:extLst>
              </p:cNvPr>
              <p:cNvSpPr/>
              <p:nvPr/>
            </p:nvSpPr>
            <p:spPr>
              <a:xfrm>
                <a:off x="706355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099" name="Freeform 1098">
                <a:extLst>
                  <a:ext uri="{FF2B5EF4-FFF2-40B4-BE49-F238E27FC236}">
                    <a16:creationId xmlns:a16="http://schemas.microsoft.com/office/drawing/2014/main" id="{5C43032B-8910-26FD-5B4B-99657478F33D}"/>
                  </a:ext>
                </a:extLst>
              </p:cNvPr>
              <p:cNvSpPr/>
              <p:nvPr/>
            </p:nvSpPr>
            <p:spPr>
              <a:xfrm>
                <a:off x="703474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00" name="Freeform 1099">
                <a:extLst>
                  <a:ext uri="{FF2B5EF4-FFF2-40B4-BE49-F238E27FC236}">
                    <a16:creationId xmlns:a16="http://schemas.microsoft.com/office/drawing/2014/main" id="{0F8BABA3-764C-8C47-0E7D-F0BC4445BB2E}"/>
                  </a:ext>
                </a:extLst>
              </p:cNvPr>
              <p:cNvSpPr/>
              <p:nvPr/>
            </p:nvSpPr>
            <p:spPr>
              <a:xfrm>
                <a:off x="700593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01" name="Freeform 1100">
                <a:extLst>
                  <a:ext uri="{FF2B5EF4-FFF2-40B4-BE49-F238E27FC236}">
                    <a16:creationId xmlns:a16="http://schemas.microsoft.com/office/drawing/2014/main" id="{0A4A4A56-0D92-029E-FE02-CA22EEE21D6B}"/>
                  </a:ext>
                </a:extLst>
              </p:cNvPr>
              <p:cNvSpPr/>
              <p:nvPr/>
            </p:nvSpPr>
            <p:spPr>
              <a:xfrm>
                <a:off x="6977128" y="2133535"/>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02" name="Freeform 1101">
                <a:extLst>
                  <a:ext uri="{FF2B5EF4-FFF2-40B4-BE49-F238E27FC236}">
                    <a16:creationId xmlns:a16="http://schemas.microsoft.com/office/drawing/2014/main" id="{AB29F15F-9E27-F925-3C57-A3B2E056087A}"/>
                  </a:ext>
                </a:extLst>
              </p:cNvPr>
              <p:cNvSpPr/>
              <p:nvPr/>
            </p:nvSpPr>
            <p:spPr>
              <a:xfrm>
                <a:off x="6948338" y="2133535"/>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3"/>
                      <a:pt x="10331" y="4255"/>
                      <a:pt x="14386" y="4091"/>
                    </a:cubicBezTo>
                    <a:cubicBezTo>
                      <a:pt x="15507" y="4091"/>
                      <a:pt x="16430" y="3167"/>
                      <a:pt x="16430" y="2045"/>
                    </a:cubicBezTo>
                    <a:cubicBezTo>
                      <a:pt x="16430" y="924"/>
                      <a:pt x="15507" y="0"/>
                      <a:pt x="14386" y="0"/>
                    </a:cubicBezTo>
                    <a:cubicBezTo>
                      <a:pt x="10200"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103" name="Freeform 1102">
                <a:extLst>
                  <a:ext uri="{FF2B5EF4-FFF2-40B4-BE49-F238E27FC236}">
                    <a16:creationId xmlns:a16="http://schemas.microsoft.com/office/drawing/2014/main" id="{F142E333-F734-F7CE-1B5E-938C4FF8D88C}"/>
                  </a:ext>
                </a:extLst>
              </p:cNvPr>
              <p:cNvSpPr/>
              <p:nvPr/>
            </p:nvSpPr>
            <p:spPr>
              <a:xfrm>
                <a:off x="6920239" y="2136910"/>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5"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1104" name="Freeform 1103">
                <a:extLst>
                  <a:ext uri="{FF2B5EF4-FFF2-40B4-BE49-F238E27FC236}">
                    <a16:creationId xmlns:a16="http://schemas.microsoft.com/office/drawing/2014/main" id="{4B520498-1521-F256-A15B-CD4FBB65A0B4}"/>
                  </a:ext>
                </a:extLst>
              </p:cNvPr>
              <p:cNvSpPr/>
              <p:nvPr/>
            </p:nvSpPr>
            <p:spPr>
              <a:xfrm>
                <a:off x="6894326" y="2146714"/>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105" name="Freeform 1104">
                <a:extLst>
                  <a:ext uri="{FF2B5EF4-FFF2-40B4-BE49-F238E27FC236}">
                    <a16:creationId xmlns:a16="http://schemas.microsoft.com/office/drawing/2014/main" id="{5033F1FD-3DF8-3037-B836-9784FCB279BC}"/>
                  </a:ext>
                </a:extLst>
              </p:cNvPr>
              <p:cNvSpPr/>
              <p:nvPr/>
            </p:nvSpPr>
            <p:spPr>
              <a:xfrm>
                <a:off x="6871996" y="2162512"/>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106" name="Freeform 1105">
                <a:extLst>
                  <a:ext uri="{FF2B5EF4-FFF2-40B4-BE49-F238E27FC236}">
                    <a16:creationId xmlns:a16="http://schemas.microsoft.com/office/drawing/2014/main" id="{9C42454C-80DA-7810-EEF8-6F649E639892}"/>
                  </a:ext>
                </a:extLst>
              </p:cNvPr>
              <p:cNvSpPr/>
              <p:nvPr/>
            </p:nvSpPr>
            <p:spPr>
              <a:xfrm>
                <a:off x="6854364" y="2183286"/>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2"/>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107" name="Freeform 1106">
                <a:extLst>
                  <a:ext uri="{FF2B5EF4-FFF2-40B4-BE49-F238E27FC236}">
                    <a16:creationId xmlns:a16="http://schemas.microsoft.com/office/drawing/2014/main" id="{14611C39-506A-F15A-4B37-9ED25AD73CFC}"/>
                  </a:ext>
                </a:extLst>
              </p:cNvPr>
              <p:cNvSpPr/>
              <p:nvPr/>
            </p:nvSpPr>
            <p:spPr>
              <a:xfrm>
                <a:off x="6839861" y="2207783"/>
                <a:ext cx="10268" cy="14795"/>
              </a:xfrm>
              <a:custGeom>
                <a:avLst/>
                <a:gdLst>
                  <a:gd name="connsiteX0" fmla="*/ 3832 w 10268"/>
                  <a:gd name="connsiteY0" fmla="*/ 13765 h 14795"/>
                  <a:gd name="connsiteX1" fmla="*/ 9997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1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7" y="3077"/>
                    </a:lnTo>
                    <a:cubicBezTo>
                      <a:pt x="10557" y="2087"/>
                      <a:pt x="10227" y="833"/>
                      <a:pt x="9238" y="273"/>
                    </a:cubicBezTo>
                    <a:cubicBezTo>
                      <a:pt x="8249" y="-288"/>
                      <a:pt x="6997" y="42"/>
                      <a:pt x="6436" y="1031"/>
                    </a:cubicBezTo>
                    <a:lnTo>
                      <a:pt x="272" y="11719"/>
                    </a:lnTo>
                    <a:cubicBezTo>
                      <a:pt x="-288" y="12709"/>
                      <a:pt x="42" y="13963"/>
                      <a:pt x="1031"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08" name="Freeform 1107">
                <a:extLst>
                  <a:ext uri="{FF2B5EF4-FFF2-40B4-BE49-F238E27FC236}">
                    <a16:creationId xmlns:a16="http://schemas.microsoft.com/office/drawing/2014/main" id="{9D0C00AB-DC70-F680-896E-111727C1FB1C}"/>
                  </a:ext>
                </a:extLst>
              </p:cNvPr>
              <p:cNvSpPr/>
              <p:nvPr/>
            </p:nvSpPr>
            <p:spPr>
              <a:xfrm>
                <a:off x="6825456" y="2232723"/>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09" name="Freeform 1108">
                <a:extLst>
                  <a:ext uri="{FF2B5EF4-FFF2-40B4-BE49-F238E27FC236}">
                    <a16:creationId xmlns:a16="http://schemas.microsoft.com/office/drawing/2014/main" id="{51689826-DAB4-E32B-E0DB-5EBA7D59A8FC}"/>
                  </a:ext>
                </a:extLst>
              </p:cNvPr>
              <p:cNvSpPr/>
              <p:nvPr/>
            </p:nvSpPr>
            <p:spPr>
              <a:xfrm>
                <a:off x="6811051" y="2257695"/>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10" name="Freeform 1109">
                <a:extLst>
                  <a:ext uri="{FF2B5EF4-FFF2-40B4-BE49-F238E27FC236}">
                    <a16:creationId xmlns:a16="http://schemas.microsoft.com/office/drawing/2014/main" id="{CFA8B3AC-12C3-75FE-AD0D-EB8F120C978B}"/>
                  </a:ext>
                </a:extLst>
              </p:cNvPr>
              <p:cNvSpPr/>
              <p:nvPr/>
            </p:nvSpPr>
            <p:spPr>
              <a:xfrm>
                <a:off x="6796646" y="2282667"/>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11" name="Freeform 1110">
                <a:extLst>
                  <a:ext uri="{FF2B5EF4-FFF2-40B4-BE49-F238E27FC236}">
                    <a16:creationId xmlns:a16="http://schemas.microsoft.com/office/drawing/2014/main" id="{9C012B09-9DF4-BE18-EEEF-267CA4780779}"/>
                  </a:ext>
                </a:extLst>
              </p:cNvPr>
              <p:cNvSpPr/>
              <p:nvPr/>
            </p:nvSpPr>
            <p:spPr>
              <a:xfrm>
                <a:off x="6782241" y="2307639"/>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4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4"/>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12" name="Freeform 1111">
                <a:extLst>
                  <a:ext uri="{FF2B5EF4-FFF2-40B4-BE49-F238E27FC236}">
                    <a16:creationId xmlns:a16="http://schemas.microsoft.com/office/drawing/2014/main" id="{3C5BC835-FEA3-63B7-0FAA-1933DFECF549}"/>
                  </a:ext>
                </a:extLst>
              </p:cNvPr>
              <p:cNvSpPr/>
              <p:nvPr/>
            </p:nvSpPr>
            <p:spPr>
              <a:xfrm>
                <a:off x="6768072" y="2332578"/>
                <a:ext cx="10065" cy="14916"/>
              </a:xfrm>
              <a:custGeom>
                <a:avLst/>
                <a:gdLst>
                  <a:gd name="connsiteX0" fmla="*/ 3893 w 10065"/>
                  <a:gd name="connsiteY0" fmla="*/ 13798 h 14916"/>
                  <a:gd name="connsiteX1" fmla="*/ 9794 w 10065"/>
                  <a:gd name="connsiteY1" fmla="*/ 3077 h 14916"/>
                  <a:gd name="connsiteX2" fmla="*/ 9036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6" y="273"/>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113" name="Freeform 1112">
                <a:extLst>
                  <a:ext uri="{FF2B5EF4-FFF2-40B4-BE49-F238E27FC236}">
                    <a16:creationId xmlns:a16="http://schemas.microsoft.com/office/drawing/2014/main" id="{DDDD6EE7-A0DC-1283-2F3F-E4207ECE498D}"/>
                  </a:ext>
                </a:extLst>
              </p:cNvPr>
              <p:cNvSpPr/>
              <p:nvPr/>
            </p:nvSpPr>
            <p:spPr>
              <a:xfrm>
                <a:off x="6758328" y="2358590"/>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4" y="15694"/>
                      <a:pt x="1605" y="15925"/>
                    </a:cubicBezTo>
                    <a:cubicBezTo>
                      <a:pt x="2726"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114" name="Freeform 1113">
                <a:extLst>
                  <a:ext uri="{FF2B5EF4-FFF2-40B4-BE49-F238E27FC236}">
                    <a16:creationId xmlns:a16="http://schemas.microsoft.com/office/drawing/2014/main" id="{2B4C30B9-8E87-7BFE-8C26-5779CEBB740C}"/>
                  </a:ext>
                </a:extLst>
              </p:cNvPr>
              <p:cNvSpPr/>
              <p:nvPr/>
            </p:nvSpPr>
            <p:spPr>
              <a:xfrm>
                <a:off x="6755022" y="2386707"/>
                <a:ext cx="4754" cy="16442"/>
              </a:xfrm>
              <a:custGeom>
                <a:avLst/>
                <a:gdLst>
                  <a:gd name="connsiteX0" fmla="*/ 4088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8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8" y="14397"/>
                    </a:moveTo>
                    <a:cubicBezTo>
                      <a:pt x="4219" y="10339"/>
                      <a:pt x="4219" y="6282"/>
                      <a:pt x="4747" y="2257"/>
                    </a:cubicBezTo>
                    <a:cubicBezTo>
                      <a:pt x="4846" y="1136"/>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8" y="14397"/>
                    </a:cubicBezTo>
                    <a:close/>
                  </a:path>
                </a:pathLst>
              </a:custGeom>
              <a:solidFill>
                <a:srgbClr val="5856D6"/>
              </a:solidFill>
              <a:ln w="3283" cap="flat">
                <a:noFill/>
                <a:prstDash val="solid"/>
                <a:miter/>
              </a:ln>
            </p:spPr>
            <p:txBody>
              <a:bodyPr rtlCol="0" anchor="ctr"/>
              <a:lstStyle/>
              <a:p>
                <a:endParaRPr lang="en-US"/>
              </a:p>
            </p:txBody>
          </p:sp>
          <p:sp>
            <p:nvSpPr>
              <p:cNvPr id="1115" name="Freeform 1114">
                <a:extLst>
                  <a:ext uri="{FF2B5EF4-FFF2-40B4-BE49-F238E27FC236}">
                    <a16:creationId xmlns:a16="http://schemas.microsoft.com/office/drawing/2014/main" id="{A3867233-A1BE-0186-D505-0B2F81D550D0}"/>
                  </a:ext>
                </a:extLst>
              </p:cNvPr>
              <p:cNvSpPr/>
              <p:nvPr/>
            </p:nvSpPr>
            <p:spPr>
              <a:xfrm>
                <a:off x="6756122" y="2415440"/>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1"/>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116" name="Freeform 1115">
                <a:extLst>
                  <a:ext uri="{FF2B5EF4-FFF2-40B4-BE49-F238E27FC236}">
                    <a16:creationId xmlns:a16="http://schemas.microsoft.com/office/drawing/2014/main" id="{240A927A-5024-E3CE-113F-F916D7726102}"/>
                  </a:ext>
                </a:extLst>
              </p:cNvPr>
              <p:cNvSpPr/>
              <p:nvPr/>
            </p:nvSpPr>
            <p:spPr>
              <a:xfrm>
                <a:off x="6763217" y="2443362"/>
                <a:ext cx="9048" cy="15440"/>
              </a:xfrm>
              <a:custGeom>
                <a:avLst/>
                <a:gdLst>
                  <a:gd name="connsiteX0" fmla="*/ 8814 w 9048"/>
                  <a:gd name="connsiteY0" fmla="*/ 12436 h 15440"/>
                  <a:gd name="connsiteX1" fmla="*/ 3969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117" name="Freeform 1116">
                <a:extLst>
                  <a:ext uri="{FF2B5EF4-FFF2-40B4-BE49-F238E27FC236}">
                    <a16:creationId xmlns:a16="http://schemas.microsoft.com/office/drawing/2014/main" id="{829BE93D-B7C4-E704-7A3F-04183917C6D5}"/>
                  </a:ext>
                </a:extLst>
              </p:cNvPr>
              <p:cNvSpPr/>
              <p:nvPr/>
            </p:nvSpPr>
            <p:spPr>
              <a:xfrm>
                <a:off x="6776176" y="2469051"/>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1986" y="-288"/>
                      <a:pt x="1030" y="272"/>
                    </a:cubicBezTo>
                    <a:cubicBezTo>
                      <a:pt x="42" y="833"/>
                      <a:pt x="-288" y="2087"/>
                      <a:pt x="272" y="3077"/>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18" name="Freeform 1117">
                <a:extLst>
                  <a:ext uri="{FF2B5EF4-FFF2-40B4-BE49-F238E27FC236}">
                    <a16:creationId xmlns:a16="http://schemas.microsoft.com/office/drawing/2014/main" id="{668663CE-9380-DB58-068B-5954E933CA08}"/>
                  </a:ext>
                </a:extLst>
              </p:cNvPr>
              <p:cNvSpPr/>
              <p:nvPr/>
            </p:nvSpPr>
            <p:spPr>
              <a:xfrm>
                <a:off x="6790581" y="2494023"/>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7 h 14795"/>
                  <a:gd name="connsiteX4" fmla="*/ 6436 w 10268"/>
                  <a:gd name="connsiteY4" fmla="*/ 13765 h 14795"/>
                  <a:gd name="connsiteX5" fmla="*/ 9238 w 10268"/>
                  <a:gd name="connsiteY5" fmla="*/ 14524 h 14795"/>
                  <a:gd name="connsiteX6" fmla="*/ 9238 w 10268"/>
                  <a:gd name="connsiteY6" fmla="*/ 14524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7"/>
                    </a:cubicBezTo>
                    <a:lnTo>
                      <a:pt x="6436" y="13765"/>
                    </a:lnTo>
                    <a:cubicBezTo>
                      <a:pt x="6997" y="14754"/>
                      <a:pt x="8249" y="15084"/>
                      <a:pt x="9238" y="14524"/>
                    </a:cubicBezTo>
                    <a:lnTo>
                      <a:pt x="9238" y="14524"/>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19" name="Freeform 1118">
                <a:extLst>
                  <a:ext uri="{FF2B5EF4-FFF2-40B4-BE49-F238E27FC236}">
                    <a16:creationId xmlns:a16="http://schemas.microsoft.com/office/drawing/2014/main" id="{5CA41B5D-E8FF-45A9-F63D-34F56B9367AA}"/>
                  </a:ext>
                </a:extLst>
              </p:cNvPr>
              <p:cNvSpPr/>
              <p:nvPr/>
            </p:nvSpPr>
            <p:spPr>
              <a:xfrm>
                <a:off x="6804986" y="2518995"/>
                <a:ext cx="10268" cy="14795"/>
              </a:xfrm>
              <a:custGeom>
                <a:avLst/>
                <a:gdLst>
                  <a:gd name="connsiteX0" fmla="*/ 9996 w 10268"/>
                  <a:gd name="connsiteY0" fmla="*/ 11719 h 14795"/>
                  <a:gd name="connsiteX1" fmla="*/ 3832 w 10268"/>
                  <a:gd name="connsiteY1" fmla="*/ 1031 h 14795"/>
                  <a:gd name="connsiteX2" fmla="*/ 1030 w 10268"/>
                  <a:gd name="connsiteY2" fmla="*/ 273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3"/>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20" name="Freeform 1119">
                <a:extLst>
                  <a:ext uri="{FF2B5EF4-FFF2-40B4-BE49-F238E27FC236}">
                    <a16:creationId xmlns:a16="http://schemas.microsoft.com/office/drawing/2014/main" id="{E9A4E82D-4605-4CA7-62E7-0FC75FFC5B05}"/>
                  </a:ext>
                </a:extLst>
              </p:cNvPr>
              <p:cNvSpPr/>
              <p:nvPr/>
            </p:nvSpPr>
            <p:spPr>
              <a:xfrm>
                <a:off x="6819391" y="2543968"/>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21" name="Freeform 1120">
                <a:extLst>
                  <a:ext uri="{FF2B5EF4-FFF2-40B4-BE49-F238E27FC236}">
                    <a16:creationId xmlns:a16="http://schemas.microsoft.com/office/drawing/2014/main" id="{B82B6E5C-B50F-E5EF-F1C1-B6EDD51B9E55}"/>
                  </a:ext>
                </a:extLst>
              </p:cNvPr>
              <p:cNvSpPr/>
              <p:nvPr/>
            </p:nvSpPr>
            <p:spPr>
              <a:xfrm>
                <a:off x="6833796" y="2568940"/>
                <a:ext cx="10261" cy="14796"/>
              </a:xfrm>
              <a:custGeom>
                <a:avLst/>
                <a:gdLst>
                  <a:gd name="connsiteX0" fmla="*/ 9996 w 10261"/>
                  <a:gd name="connsiteY0" fmla="*/ 11719 h 14796"/>
                  <a:gd name="connsiteX1" fmla="*/ 3832 w 10261"/>
                  <a:gd name="connsiteY1" fmla="*/ 1031 h 14796"/>
                  <a:gd name="connsiteX2" fmla="*/ 1031 w 10261"/>
                  <a:gd name="connsiteY2" fmla="*/ 272 h 14796"/>
                  <a:gd name="connsiteX3" fmla="*/ 272 w 10261"/>
                  <a:gd name="connsiteY3" fmla="*/ 3077 h 14796"/>
                  <a:gd name="connsiteX4" fmla="*/ 6436 w 10261"/>
                  <a:gd name="connsiteY4" fmla="*/ 13765 h 14796"/>
                  <a:gd name="connsiteX5" fmla="*/ 9238 w 10261"/>
                  <a:gd name="connsiteY5" fmla="*/ 14523 h 14796"/>
                  <a:gd name="connsiteX6" fmla="*/ 9996 w 10261"/>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6">
                    <a:moveTo>
                      <a:pt x="9996" y="11719"/>
                    </a:moveTo>
                    <a:lnTo>
                      <a:pt x="3832" y="1031"/>
                    </a:lnTo>
                    <a:cubicBezTo>
                      <a:pt x="3272" y="42"/>
                      <a:pt x="2019" y="-288"/>
                      <a:pt x="1031" y="272"/>
                    </a:cubicBezTo>
                    <a:cubicBezTo>
                      <a:pt x="42" y="833"/>
                      <a:pt x="-288" y="2087"/>
                      <a:pt x="272" y="3077"/>
                    </a:cubicBezTo>
                    <a:lnTo>
                      <a:pt x="6436" y="13765"/>
                    </a:lnTo>
                    <a:cubicBezTo>
                      <a:pt x="6997" y="14754"/>
                      <a:pt x="8282" y="15084"/>
                      <a:pt x="9238" y="14523"/>
                    </a:cubicBezTo>
                    <a:cubicBezTo>
                      <a:pt x="10194"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122" name="Freeform 1121">
                <a:extLst>
                  <a:ext uri="{FF2B5EF4-FFF2-40B4-BE49-F238E27FC236}">
                    <a16:creationId xmlns:a16="http://schemas.microsoft.com/office/drawing/2014/main" id="{C55DB0E4-4DAB-64A9-251B-D3A52042012F}"/>
                  </a:ext>
                </a:extLst>
              </p:cNvPr>
              <p:cNvSpPr/>
              <p:nvPr/>
            </p:nvSpPr>
            <p:spPr>
              <a:xfrm>
                <a:off x="6848168" y="2593879"/>
                <a:ext cx="10335" cy="14762"/>
              </a:xfrm>
              <a:custGeom>
                <a:avLst/>
                <a:gdLst>
                  <a:gd name="connsiteX0" fmla="*/ 10062 w 10335"/>
                  <a:gd name="connsiteY0" fmla="*/ 11653 h 14762"/>
                  <a:gd name="connsiteX1" fmla="*/ 3832 w 10335"/>
                  <a:gd name="connsiteY1" fmla="*/ 1031 h 14762"/>
                  <a:gd name="connsiteX2" fmla="*/ 1030 w 10335"/>
                  <a:gd name="connsiteY2" fmla="*/ 272 h 14762"/>
                  <a:gd name="connsiteX3" fmla="*/ 272 w 10335"/>
                  <a:gd name="connsiteY3" fmla="*/ 3076 h 14762"/>
                  <a:gd name="connsiteX4" fmla="*/ 6535 w 10335"/>
                  <a:gd name="connsiteY4" fmla="*/ 13765 h 14762"/>
                  <a:gd name="connsiteX5" fmla="*/ 9370 w 10335"/>
                  <a:gd name="connsiteY5" fmla="*/ 14458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2"/>
                      <a:pt x="2019" y="-288"/>
                      <a:pt x="1030" y="272"/>
                    </a:cubicBezTo>
                    <a:cubicBezTo>
                      <a:pt x="42" y="833"/>
                      <a:pt x="-288" y="2087"/>
                      <a:pt x="272" y="3076"/>
                    </a:cubicBezTo>
                    <a:cubicBezTo>
                      <a:pt x="2382" y="6639"/>
                      <a:pt x="4294" y="10202"/>
                      <a:pt x="6535" y="13765"/>
                    </a:cubicBezTo>
                    <a:cubicBezTo>
                      <a:pt x="7129" y="14754"/>
                      <a:pt x="8414" y="15051"/>
                      <a:pt x="9370" y="14458"/>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1123" name="Freeform 1122">
                <a:extLst>
                  <a:ext uri="{FF2B5EF4-FFF2-40B4-BE49-F238E27FC236}">
                    <a16:creationId xmlns:a16="http://schemas.microsoft.com/office/drawing/2014/main" id="{6D87E65C-490E-52C4-411D-F6B46ECB8067}"/>
                  </a:ext>
                </a:extLst>
              </p:cNvPr>
              <p:cNvSpPr/>
              <p:nvPr/>
            </p:nvSpPr>
            <p:spPr>
              <a:xfrm>
                <a:off x="6863893" y="2618020"/>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8"/>
                      <a:pt x="11708" y="9813"/>
                    </a:cubicBezTo>
                    <a:close/>
                  </a:path>
                </a:pathLst>
              </a:custGeom>
              <a:solidFill>
                <a:srgbClr val="5856D6"/>
              </a:solidFill>
              <a:ln w="3283" cap="flat">
                <a:noFill/>
                <a:prstDash val="solid"/>
                <a:miter/>
              </a:ln>
            </p:spPr>
            <p:txBody>
              <a:bodyPr rtlCol="0" anchor="ctr"/>
              <a:lstStyle/>
              <a:p>
                <a:endParaRPr lang="en-US"/>
              </a:p>
            </p:txBody>
          </p:sp>
          <p:sp>
            <p:nvSpPr>
              <p:cNvPr id="1124" name="Freeform 1123">
                <a:extLst>
                  <a:ext uri="{FF2B5EF4-FFF2-40B4-BE49-F238E27FC236}">
                    <a16:creationId xmlns:a16="http://schemas.microsoft.com/office/drawing/2014/main" id="{2CD45CE4-E3E6-990F-28D1-67B5A59D1F8A}"/>
                  </a:ext>
                </a:extLst>
              </p:cNvPr>
              <p:cNvSpPr/>
              <p:nvPr/>
            </p:nvSpPr>
            <p:spPr>
              <a:xfrm>
                <a:off x="6884409" y="2638145"/>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82"/>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125" name="Freeform 1124">
                <a:extLst>
                  <a:ext uri="{FF2B5EF4-FFF2-40B4-BE49-F238E27FC236}">
                    <a16:creationId xmlns:a16="http://schemas.microsoft.com/office/drawing/2014/main" id="{CB921739-4D86-DCF5-0512-0A70153394EF}"/>
                  </a:ext>
                </a:extLst>
              </p:cNvPr>
              <p:cNvSpPr/>
              <p:nvPr/>
            </p:nvSpPr>
            <p:spPr>
              <a:xfrm>
                <a:off x="6908965" y="2653054"/>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2"/>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126" name="Freeform 1125">
                <a:extLst>
                  <a:ext uri="{FF2B5EF4-FFF2-40B4-BE49-F238E27FC236}">
                    <a16:creationId xmlns:a16="http://schemas.microsoft.com/office/drawing/2014/main" id="{1A0223B7-4070-077B-9ACB-598365C74CDD}"/>
                  </a:ext>
                </a:extLst>
              </p:cNvPr>
              <p:cNvSpPr/>
              <p:nvPr/>
            </p:nvSpPr>
            <p:spPr>
              <a:xfrm>
                <a:off x="6936309" y="2661963"/>
                <a:ext cx="16336" cy="5865"/>
              </a:xfrm>
              <a:custGeom>
                <a:avLst/>
                <a:gdLst>
                  <a:gd name="connsiteX0" fmla="*/ 14449 w 16336"/>
                  <a:gd name="connsiteY0" fmla="*/ 1794 h 5865"/>
                  <a:gd name="connsiteX1" fmla="*/ 2451 w 16336"/>
                  <a:gd name="connsiteY1" fmla="*/ 46 h 5865"/>
                  <a:gd name="connsiteX2" fmla="*/ 44 w 16336"/>
                  <a:gd name="connsiteY2" fmla="*/ 1596 h 5865"/>
                  <a:gd name="connsiteX3" fmla="*/ 1659 w 16336"/>
                  <a:gd name="connsiteY3" fmla="*/ 4070 h 5865"/>
                  <a:gd name="connsiteX4" fmla="*/ 14087 w 16336"/>
                  <a:gd name="connsiteY4" fmla="*/ 5852 h 5865"/>
                  <a:gd name="connsiteX5" fmla="*/ 16328 w 16336"/>
                  <a:gd name="connsiteY5" fmla="*/ 4005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6"/>
                      <a:pt x="2451" y="46"/>
                    </a:cubicBezTo>
                    <a:cubicBezTo>
                      <a:pt x="1363" y="-185"/>
                      <a:pt x="275" y="475"/>
                      <a:pt x="44" y="1596"/>
                    </a:cubicBezTo>
                    <a:cubicBezTo>
                      <a:pt x="-187" y="2685"/>
                      <a:pt x="506" y="3840"/>
                      <a:pt x="1659" y="4070"/>
                    </a:cubicBezTo>
                    <a:cubicBezTo>
                      <a:pt x="5780" y="4730"/>
                      <a:pt x="9900" y="5555"/>
                      <a:pt x="14087" y="5852"/>
                    </a:cubicBezTo>
                    <a:cubicBezTo>
                      <a:pt x="15240" y="5984"/>
                      <a:pt x="16262" y="5126"/>
                      <a:pt x="16328" y="4005"/>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127" name="Freeform 1126">
                <a:extLst>
                  <a:ext uri="{FF2B5EF4-FFF2-40B4-BE49-F238E27FC236}">
                    <a16:creationId xmlns:a16="http://schemas.microsoft.com/office/drawing/2014/main" id="{7AC12BA2-C9F7-3154-1D2D-FB79BA8A91C5}"/>
                  </a:ext>
                </a:extLst>
              </p:cNvPr>
              <p:cNvSpPr/>
              <p:nvPr/>
            </p:nvSpPr>
            <p:spPr>
              <a:xfrm>
                <a:off x="696496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28" name="Freeform 1127">
                <a:extLst>
                  <a:ext uri="{FF2B5EF4-FFF2-40B4-BE49-F238E27FC236}">
                    <a16:creationId xmlns:a16="http://schemas.microsoft.com/office/drawing/2014/main" id="{3A19B89E-B9B1-7C54-3600-7DCF2A677B28}"/>
                  </a:ext>
                </a:extLst>
              </p:cNvPr>
              <p:cNvSpPr/>
              <p:nvPr/>
            </p:nvSpPr>
            <p:spPr>
              <a:xfrm>
                <a:off x="699377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29" name="Freeform 1128">
                <a:extLst>
                  <a:ext uri="{FF2B5EF4-FFF2-40B4-BE49-F238E27FC236}">
                    <a16:creationId xmlns:a16="http://schemas.microsoft.com/office/drawing/2014/main" id="{26BDE89B-F022-1909-F520-AB9FEDB97DAC}"/>
                  </a:ext>
                </a:extLst>
              </p:cNvPr>
              <p:cNvSpPr/>
              <p:nvPr/>
            </p:nvSpPr>
            <p:spPr>
              <a:xfrm>
                <a:off x="702258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30" name="Freeform 1129">
                <a:extLst>
                  <a:ext uri="{FF2B5EF4-FFF2-40B4-BE49-F238E27FC236}">
                    <a16:creationId xmlns:a16="http://schemas.microsoft.com/office/drawing/2014/main" id="{C9537015-8C92-3AEB-38F6-D6E55D8F3BE6}"/>
                  </a:ext>
                </a:extLst>
              </p:cNvPr>
              <p:cNvSpPr/>
              <p:nvPr/>
            </p:nvSpPr>
            <p:spPr>
              <a:xfrm>
                <a:off x="7051395"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31" name="Freeform 1130">
                <a:extLst>
                  <a:ext uri="{FF2B5EF4-FFF2-40B4-BE49-F238E27FC236}">
                    <a16:creationId xmlns:a16="http://schemas.microsoft.com/office/drawing/2014/main" id="{58A55E1D-04EC-C6E8-CB57-7E4B58009BD7}"/>
                  </a:ext>
                </a:extLst>
              </p:cNvPr>
              <p:cNvSpPr/>
              <p:nvPr/>
            </p:nvSpPr>
            <p:spPr>
              <a:xfrm>
                <a:off x="7080204" y="2664417"/>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132" name="Freeform 1131">
                <a:extLst>
                  <a:ext uri="{FF2B5EF4-FFF2-40B4-BE49-F238E27FC236}">
                    <a16:creationId xmlns:a16="http://schemas.microsoft.com/office/drawing/2014/main" id="{5BB804DD-FC2F-0900-0D4D-2A39094BB531}"/>
                  </a:ext>
                </a:extLst>
              </p:cNvPr>
              <p:cNvSpPr/>
              <p:nvPr/>
            </p:nvSpPr>
            <p:spPr>
              <a:xfrm>
                <a:off x="7108981" y="2664417"/>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133" name="Freeform 1132">
            <a:extLst>
              <a:ext uri="{FF2B5EF4-FFF2-40B4-BE49-F238E27FC236}">
                <a16:creationId xmlns:a16="http://schemas.microsoft.com/office/drawing/2014/main" id="{4EF56BEA-6786-F1CA-103F-41B78F7FDD8C}"/>
              </a:ext>
            </a:extLst>
          </p:cNvPr>
          <p:cNvSpPr/>
          <p:nvPr/>
        </p:nvSpPr>
        <p:spPr>
          <a:xfrm>
            <a:off x="7102030" y="2258500"/>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2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2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2"/>
                </a:cubicBezTo>
                <a:lnTo>
                  <a:pt x="399498" y="41697"/>
                </a:lnTo>
                <a:cubicBezTo>
                  <a:pt x="384665" y="15966"/>
                  <a:pt x="357008" y="0"/>
                  <a:pt x="327342"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134" name="Freeform 1133">
            <a:extLst>
              <a:ext uri="{FF2B5EF4-FFF2-40B4-BE49-F238E27FC236}">
                <a16:creationId xmlns:a16="http://schemas.microsoft.com/office/drawing/2014/main" id="{4B89DD86-399D-D193-0F80-A85D9858E323}"/>
              </a:ext>
            </a:extLst>
          </p:cNvPr>
          <p:cNvSpPr/>
          <p:nvPr/>
        </p:nvSpPr>
        <p:spPr>
          <a:xfrm>
            <a:off x="7142996" y="2299538"/>
            <a:ext cx="410046" cy="366764"/>
          </a:xfrm>
          <a:custGeom>
            <a:avLst/>
            <a:gdLst>
              <a:gd name="connsiteX0" fmla="*/ 123670 w 410046"/>
              <a:gd name="connsiteY0" fmla="*/ 0 h 366764"/>
              <a:gd name="connsiteX1" fmla="*/ 286376 w 410046"/>
              <a:gd name="connsiteY1" fmla="*/ 0 h 366764"/>
              <a:gd name="connsiteX2" fmla="*/ 323032 w 410046"/>
              <a:gd name="connsiteY2" fmla="*/ 21179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9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9"/>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9"/>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135" name="Freeform 1134">
            <a:extLst>
              <a:ext uri="{FF2B5EF4-FFF2-40B4-BE49-F238E27FC236}">
                <a16:creationId xmlns:a16="http://schemas.microsoft.com/office/drawing/2014/main" id="{AC50FBFE-9DD9-A118-8F2C-A9E99E23F560}"/>
              </a:ext>
            </a:extLst>
          </p:cNvPr>
          <p:cNvSpPr/>
          <p:nvPr/>
        </p:nvSpPr>
        <p:spPr>
          <a:xfrm>
            <a:off x="7296794" y="2376499"/>
            <a:ext cx="102449" cy="212807"/>
          </a:xfrm>
          <a:custGeom>
            <a:avLst/>
            <a:gdLst>
              <a:gd name="connsiteX0" fmla="*/ 12988 w 102449"/>
              <a:gd name="connsiteY0" fmla="*/ 198788 h 212807"/>
              <a:gd name="connsiteX1" fmla="*/ 0 w 102449"/>
              <a:gd name="connsiteY1" fmla="*/ 159235 h 212807"/>
              <a:gd name="connsiteX2" fmla="*/ 0 w 102449"/>
              <a:gd name="connsiteY2" fmla="*/ 152274 h 212807"/>
              <a:gd name="connsiteX3" fmla="*/ 27294 w 102449"/>
              <a:gd name="connsiteY3" fmla="*/ 152274 h 212807"/>
              <a:gd name="connsiteX4" fmla="*/ 27294 w 102449"/>
              <a:gd name="connsiteY4" fmla="*/ 156893 h 212807"/>
              <a:gd name="connsiteX5" fmla="*/ 32831 w 102449"/>
              <a:gd name="connsiteY5" fmla="*/ 181370 h 212807"/>
              <a:gd name="connsiteX6" fmla="*/ 50994 w 102449"/>
              <a:gd name="connsiteY6" fmla="*/ 189881 h 212807"/>
              <a:gd name="connsiteX7" fmla="*/ 69915 w 102449"/>
              <a:gd name="connsiteY7" fmla="*/ 180215 h 212807"/>
              <a:gd name="connsiteX8" fmla="*/ 74926 w 102449"/>
              <a:gd name="connsiteY8" fmla="*/ 151483 h 212807"/>
              <a:gd name="connsiteX9" fmla="*/ 68498 w 102449"/>
              <a:gd name="connsiteY9" fmla="*/ 124036 h 212807"/>
              <a:gd name="connsiteX10" fmla="*/ 47665 w 102449"/>
              <a:gd name="connsiteY10" fmla="*/ 113084 h 212807"/>
              <a:gd name="connsiteX11" fmla="*/ 43808 w 102449"/>
              <a:gd name="connsiteY11" fmla="*/ 112820 h 212807"/>
              <a:gd name="connsiteX12" fmla="*/ 43808 w 102449"/>
              <a:gd name="connsiteY12" fmla="*/ 85242 h 212807"/>
              <a:gd name="connsiteX13" fmla="*/ 47401 w 102449"/>
              <a:gd name="connsiteY13" fmla="*/ 85242 h 212807"/>
              <a:gd name="connsiteX14" fmla="*/ 68498 w 102449"/>
              <a:gd name="connsiteY14" fmla="*/ 77523 h 212807"/>
              <a:gd name="connsiteX15" fmla="*/ 74926 w 102449"/>
              <a:gd name="connsiteY15" fmla="*/ 53573 h 212807"/>
              <a:gd name="connsiteX16" fmla="*/ 69783 w 102449"/>
              <a:gd name="connsiteY16" fmla="*/ 30250 h 212807"/>
              <a:gd name="connsiteX17" fmla="*/ 51258 w 102449"/>
              <a:gd name="connsiteY17" fmla="*/ 22399 h 212807"/>
              <a:gd name="connsiteX18" fmla="*/ 32831 w 102449"/>
              <a:gd name="connsiteY18" fmla="*/ 30877 h 212807"/>
              <a:gd name="connsiteX19" fmla="*/ 27294 w 102449"/>
              <a:gd name="connsiteY19" fmla="*/ 55882 h 212807"/>
              <a:gd name="connsiteX20" fmla="*/ 27294 w 102449"/>
              <a:gd name="connsiteY20" fmla="*/ 60270 h 212807"/>
              <a:gd name="connsiteX21" fmla="*/ 0 w 102449"/>
              <a:gd name="connsiteY21" fmla="*/ 60270 h 212807"/>
              <a:gd name="connsiteX22" fmla="*/ 0 w 102449"/>
              <a:gd name="connsiteY22" fmla="*/ 53309 h 212807"/>
              <a:gd name="connsiteX23" fmla="*/ 12988 w 102449"/>
              <a:gd name="connsiteY23" fmla="*/ 13888 h 212807"/>
              <a:gd name="connsiteX24" fmla="*/ 51225 w 102449"/>
              <a:gd name="connsiteY24" fmla="*/ 0 h 212807"/>
              <a:gd name="connsiteX25" fmla="*/ 89462 w 102449"/>
              <a:gd name="connsiteY25" fmla="*/ 14020 h 212807"/>
              <a:gd name="connsiteX26" fmla="*/ 102450 w 102449"/>
              <a:gd name="connsiteY26" fmla="*/ 53573 h 212807"/>
              <a:gd name="connsiteX27" fmla="*/ 94473 w 102449"/>
              <a:gd name="connsiteY27" fmla="*/ 83461 h 212807"/>
              <a:gd name="connsiteX28" fmla="*/ 72585 w 102449"/>
              <a:gd name="connsiteY28" fmla="*/ 99196 h 212807"/>
              <a:gd name="connsiteX29" fmla="*/ 94605 w 102449"/>
              <a:gd name="connsiteY29" fmla="*/ 116944 h 212807"/>
              <a:gd name="connsiteX30" fmla="*/ 102450 w 102449"/>
              <a:gd name="connsiteY30" fmla="*/ 151483 h 212807"/>
              <a:gd name="connsiteX31" fmla="*/ 89957 w 102449"/>
              <a:gd name="connsiteY31" fmla="*/ 196710 h 212807"/>
              <a:gd name="connsiteX32" fmla="*/ 50961 w 102449"/>
              <a:gd name="connsiteY32" fmla="*/ 212808 h 212807"/>
              <a:gd name="connsiteX33" fmla="*/ 12988 w 102449"/>
              <a:gd name="connsiteY33" fmla="*/ 198755 h 2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2449" h="212807">
                <a:moveTo>
                  <a:pt x="12988" y="198788"/>
                </a:moveTo>
                <a:cubicBezTo>
                  <a:pt x="4318" y="189419"/>
                  <a:pt x="0" y="176257"/>
                  <a:pt x="0" y="159235"/>
                </a:cubicBezTo>
                <a:lnTo>
                  <a:pt x="0" y="152274"/>
                </a:lnTo>
                <a:lnTo>
                  <a:pt x="27294" y="152274"/>
                </a:lnTo>
                <a:lnTo>
                  <a:pt x="27294" y="156893"/>
                </a:lnTo>
                <a:cubicBezTo>
                  <a:pt x="27623" y="167548"/>
                  <a:pt x="29469" y="175696"/>
                  <a:pt x="32831" y="181370"/>
                </a:cubicBezTo>
                <a:cubicBezTo>
                  <a:pt x="36194" y="187044"/>
                  <a:pt x="42226" y="189881"/>
                  <a:pt x="50994" y="189881"/>
                </a:cubicBezTo>
                <a:cubicBezTo>
                  <a:pt x="60257" y="189881"/>
                  <a:pt x="66553" y="186648"/>
                  <a:pt x="69915" y="180215"/>
                </a:cubicBezTo>
                <a:cubicBezTo>
                  <a:pt x="73277" y="173783"/>
                  <a:pt x="74926" y="164183"/>
                  <a:pt x="74926" y="151483"/>
                </a:cubicBezTo>
                <a:cubicBezTo>
                  <a:pt x="74926" y="139805"/>
                  <a:pt x="72783" y="130667"/>
                  <a:pt x="68498" y="124036"/>
                </a:cubicBezTo>
                <a:cubicBezTo>
                  <a:pt x="64212" y="117439"/>
                  <a:pt x="57257" y="113777"/>
                  <a:pt x="47665" y="113084"/>
                </a:cubicBezTo>
                <a:cubicBezTo>
                  <a:pt x="46973" y="112919"/>
                  <a:pt x="45687" y="112820"/>
                  <a:pt x="43808" y="112820"/>
                </a:cubicBezTo>
                <a:lnTo>
                  <a:pt x="43808" y="85242"/>
                </a:lnTo>
                <a:lnTo>
                  <a:pt x="47401" y="85242"/>
                </a:lnTo>
                <a:cubicBezTo>
                  <a:pt x="57191" y="84912"/>
                  <a:pt x="64212" y="82339"/>
                  <a:pt x="68498" y="77523"/>
                </a:cubicBezTo>
                <a:cubicBezTo>
                  <a:pt x="72783" y="72706"/>
                  <a:pt x="74926" y="64723"/>
                  <a:pt x="74926" y="53573"/>
                </a:cubicBezTo>
                <a:cubicBezTo>
                  <a:pt x="74926" y="43248"/>
                  <a:pt x="73211" y="35495"/>
                  <a:pt x="69783" y="30250"/>
                </a:cubicBezTo>
                <a:cubicBezTo>
                  <a:pt x="66355" y="25005"/>
                  <a:pt x="60158" y="22399"/>
                  <a:pt x="51258" y="22399"/>
                </a:cubicBezTo>
                <a:cubicBezTo>
                  <a:pt x="42358" y="22399"/>
                  <a:pt x="36194" y="25236"/>
                  <a:pt x="32831" y="30877"/>
                </a:cubicBezTo>
                <a:cubicBezTo>
                  <a:pt x="29502" y="36551"/>
                  <a:pt x="27656" y="44864"/>
                  <a:pt x="27294" y="55882"/>
                </a:cubicBezTo>
                <a:lnTo>
                  <a:pt x="27294" y="60270"/>
                </a:lnTo>
                <a:lnTo>
                  <a:pt x="0" y="60270"/>
                </a:lnTo>
                <a:lnTo>
                  <a:pt x="0" y="53309"/>
                </a:lnTo>
                <a:cubicBezTo>
                  <a:pt x="0" y="36320"/>
                  <a:pt x="4351" y="23191"/>
                  <a:pt x="12988" y="13888"/>
                </a:cubicBezTo>
                <a:cubicBezTo>
                  <a:pt x="21657" y="4618"/>
                  <a:pt x="34414" y="0"/>
                  <a:pt x="51225" y="0"/>
                </a:cubicBezTo>
                <a:cubicBezTo>
                  <a:pt x="68036" y="0"/>
                  <a:pt x="80793" y="4684"/>
                  <a:pt x="89462" y="14020"/>
                </a:cubicBezTo>
                <a:cubicBezTo>
                  <a:pt x="98132" y="23389"/>
                  <a:pt x="102450" y="36584"/>
                  <a:pt x="102450" y="53573"/>
                </a:cubicBezTo>
                <a:cubicBezTo>
                  <a:pt x="102450" y="65746"/>
                  <a:pt x="99780" y="75708"/>
                  <a:pt x="94473" y="83461"/>
                </a:cubicBezTo>
                <a:cubicBezTo>
                  <a:pt x="89166" y="91213"/>
                  <a:pt x="81848" y="96425"/>
                  <a:pt x="72585" y="99196"/>
                </a:cubicBezTo>
                <a:cubicBezTo>
                  <a:pt x="82013" y="102099"/>
                  <a:pt x="89363" y="108037"/>
                  <a:pt x="94605" y="116944"/>
                </a:cubicBezTo>
                <a:cubicBezTo>
                  <a:pt x="99846" y="125884"/>
                  <a:pt x="102450" y="137396"/>
                  <a:pt x="102450" y="151483"/>
                </a:cubicBezTo>
                <a:cubicBezTo>
                  <a:pt x="102450" y="170880"/>
                  <a:pt x="98296" y="185955"/>
                  <a:pt x="89957" y="196710"/>
                </a:cubicBezTo>
                <a:cubicBezTo>
                  <a:pt x="81617" y="207431"/>
                  <a:pt x="68630" y="212808"/>
                  <a:pt x="50961" y="212808"/>
                </a:cubicBezTo>
                <a:cubicBezTo>
                  <a:pt x="34315" y="212808"/>
                  <a:pt x="21657" y="208123"/>
                  <a:pt x="12988" y="198755"/>
                </a:cubicBezTo>
                <a:close/>
              </a:path>
            </a:pathLst>
          </a:custGeom>
          <a:solidFill>
            <a:srgbClr val="5856D6"/>
          </a:solidFill>
          <a:ln w="3283" cap="flat">
            <a:noFill/>
            <a:prstDash val="solid"/>
            <a:miter/>
          </a:ln>
        </p:spPr>
        <p:txBody>
          <a:bodyPr rtlCol="0" anchor="ctr"/>
          <a:lstStyle/>
          <a:p>
            <a:endParaRPr lang="en-US"/>
          </a:p>
        </p:txBody>
      </p:sp>
      <p:grpSp>
        <p:nvGrpSpPr>
          <p:cNvPr id="1136" name="Graphic 776">
            <a:extLst>
              <a:ext uri="{FF2B5EF4-FFF2-40B4-BE49-F238E27FC236}">
                <a16:creationId xmlns:a16="http://schemas.microsoft.com/office/drawing/2014/main" id="{E1D3821B-DB1B-82C5-244F-284A458689F3}"/>
              </a:ext>
            </a:extLst>
          </p:cNvPr>
          <p:cNvGrpSpPr/>
          <p:nvPr/>
        </p:nvGrpSpPr>
        <p:grpSpPr>
          <a:xfrm>
            <a:off x="6315110" y="2723352"/>
            <a:ext cx="113571" cy="103352"/>
            <a:chOff x="6462671" y="2656203"/>
            <a:chExt cx="113571" cy="103352"/>
          </a:xfrm>
        </p:grpSpPr>
        <p:grpSp>
          <p:nvGrpSpPr>
            <p:cNvPr id="1137" name="Graphic 776">
              <a:extLst>
                <a:ext uri="{FF2B5EF4-FFF2-40B4-BE49-F238E27FC236}">
                  <a16:creationId xmlns:a16="http://schemas.microsoft.com/office/drawing/2014/main" id="{B8277D7B-25EF-F7F7-8298-0E42392F2A20}"/>
                </a:ext>
              </a:extLst>
            </p:cNvPr>
            <p:cNvGrpSpPr/>
            <p:nvPr/>
          </p:nvGrpSpPr>
          <p:grpSpPr>
            <a:xfrm>
              <a:off x="6462671" y="2656203"/>
              <a:ext cx="113571" cy="103352"/>
              <a:chOff x="6462671" y="2656203"/>
              <a:chExt cx="113571" cy="103352"/>
            </a:xfrm>
          </p:grpSpPr>
          <p:sp>
            <p:nvSpPr>
              <p:cNvPr id="1138" name="Freeform 1137">
                <a:extLst>
                  <a:ext uri="{FF2B5EF4-FFF2-40B4-BE49-F238E27FC236}">
                    <a16:creationId xmlns:a16="http://schemas.microsoft.com/office/drawing/2014/main" id="{EDB39355-0780-2C63-F10C-F28DF46207E2}"/>
                  </a:ext>
                </a:extLst>
              </p:cNvPr>
              <p:cNvSpPr/>
              <p:nvPr/>
            </p:nvSpPr>
            <p:spPr>
              <a:xfrm>
                <a:off x="6463981" y="2658941"/>
                <a:ext cx="109520" cy="97843"/>
              </a:xfrm>
              <a:custGeom>
                <a:avLst/>
                <a:gdLst>
                  <a:gd name="connsiteX0" fmla="*/ 108062 w 109520"/>
                  <a:gd name="connsiteY0" fmla="*/ 43446 h 97843"/>
                  <a:gd name="connsiteX1" fmla="*/ 86141 w 109520"/>
                  <a:gd name="connsiteY1" fmla="*/ 5476 h 97843"/>
                  <a:gd name="connsiteX2" fmla="*/ 76681 w 109520"/>
                  <a:gd name="connsiteY2" fmla="*/ 0 h 97843"/>
                  <a:gd name="connsiteX3" fmla="*/ 32840 w 109520"/>
                  <a:gd name="connsiteY3" fmla="*/ 0 h 97843"/>
                  <a:gd name="connsiteX4" fmla="*/ 23379 w 109520"/>
                  <a:gd name="connsiteY4" fmla="*/ 5476 h 97843"/>
                  <a:gd name="connsiteX5" fmla="*/ 1459 w 109520"/>
                  <a:gd name="connsiteY5" fmla="*/ 43446 h 97843"/>
                  <a:gd name="connsiteX6" fmla="*/ 1459 w 109520"/>
                  <a:gd name="connsiteY6" fmla="*/ 54398 h 97843"/>
                  <a:gd name="connsiteX7" fmla="*/ 23379 w 109520"/>
                  <a:gd name="connsiteY7" fmla="*/ 92367 h 97843"/>
                  <a:gd name="connsiteX8" fmla="*/ 32840 w 109520"/>
                  <a:gd name="connsiteY8" fmla="*/ 97843 h 97843"/>
                  <a:gd name="connsiteX9" fmla="*/ 76681 w 109520"/>
                  <a:gd name="connsiteY9" fmla="*/ 97843 h 97843"/>
                  <a:gd name="connsiteX10" fmla="*/ 86141 w 109520"/>
                  <a:gd name="connsiteY10" fmla="*/ 92367 h 97843"/>
                  <a:gd name="connsiteX11" fmla="*/ 108062 w 109520"/>
                  <a:gd name="connsiteY11" fmla="*/ 54398 h 97843"/>
                  <a:gd name="connsiteX12" fmla="*/ 108062 w 109520"/>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20" h="97843">
                    <a:moveTo>
                      <a:pt x="108062" y="43446"/>
                    </a:moveTo>
                    <a:lnTo>
                      <a:pt x="86141" y="5476"/>
                    </a:lnTo>
                    <a:cubicBezTo>
                      <a:pt x="84196" y="2078"/>
                      <a:pt x="80570" y="0"/>
                      <a:pt x="76681" y="0"/>
                    </a:cubicBezTo>
                    <a:lnTo>
                      <a:pt x="32840" y="0"/>
                    </a:lnTo>
                    <a:cubicBezTo>
                      <a:pt x="28917" y="0"/>
                      <a:pt x="25324" y="2078"/>
                      <a:pt x="23379" y="5476"/>
                    </a:cubicBezTo>
                    <a:lnTo>
                      <a:pt x="1459" y="43446"/>
                    </a:lnTo>
                    <a:cubicBezTo>
                      <a:pt x="-486" y="46843"/>
                      <a:pt x="-486" y="51000"/>
                      <a:pt x="1459" y="54398"/>
                    </a:cubicBezTo>
                    <a:lnTo>
                      <a:pt x="23379" y="92367"/>
                    </a:lnTo>
                    <a:cubicBezTo>
                      <a:pt x="25324" y="95765"/>
                      <a:pt x="28950" y="97843"/>
                      <a:pt x="32840" y="97843"/>
                    </a:cubicBezTo>
                    <a:lnTo>
                      <a:pt x="76681" y="97843"/>
                    </a:lnTo>
                    <a:cubicBezTo>
                      <a:pt x="80603" y="97843"/>
                      <a:pt x="84196" y="95765"/>
                      <a:pt x="86141" y="92367"/>
                    </a:cubicBezTo>
                    <a:lnTo>
                      <a:pt x="108062" y="54398"/>
                    </a:lnTo>
                    <a:cubicBezTo>
                      <a:pt x="110007" y="51000"/>
                      <a:pt x="110007" y="46843"/>
                      <a:pt x="108062" y="43446"/>
                    </a:cubicBezTo>
                    <a:close/>
                  </a:path>
                </a:pathLst>
              </a:custGeom>
              <a:solidFill>
                <a:srgbClr val="FFFFFF"/>
              </a:solidFill>
              <a:ln w="3283" cap="flat">
                <a:noFill/>
                <a:prstDash val="solid"/>
                <a:miter/>
              </a:ln>
            </p:spPr>
            <p:txBody>
              <a:bodyPr rtlCol="0" anchor="ctr"/>
              <a:lstStyle/>
              <a:p>
                <a:endParaRPr lang="en-US"/>
              </a:p>
            </p:txBody>
          </p:sp>
          <p:grpSp>
            <p:nvGrpSpPr>
              <p:cNvPr id="1139" name="Graphic 776">
                <a:extLst>
                  <a:ext uri="{FF2B5EF4-FFF2-40B4-BE49-F238E27FC236}">
                    <a16:creationId xmlns:a16="http://schemas.microsoft.com/office/drawing/2014/main" id="{706E49B3-C680-2467-D7D1-A9E30B033606}"/>
                  </a:ext>
                </a:extLst>
              </p:cNvPr>
              <p:cNvGrpSpPr/>
              <p:nvPr/>
            </p:nvGrpSpPr>
            <p:grpSpPr>
              <a:xfrm>
                <a:off x="6462671" y="2656203"/>
                <a:ext cx="113571" cy="103352"/>
                <a:chOff x="6462671" y="2656203"/>
                <a:chExt cx="113571" cy="103352"/>
              </a:xfrm>
              <a:solidFill>
                <a:srgbClr val="5856D6"/>
              </a:solidFill>
            </p:grpSpPr>
            <p:sp>
              <p:nvSpPr>
                <p:cNvPr id="1140" name="Freeform 1139">
                  <a:extLst>
                    <a:ext uri="{FF2B5EF4-FFF2-40B4-BE49-F238E27FC236}">
                      <a16:creationId xmlns:a16="http://schemas.microsoft.com/office/drawing/2014/main" id="{F2E18020-9DC1-C61A-3447-D9548009CACB}"/>
                    </a:ext>
                  </a:extLst>
                </p:cNvPr>
                <p:cNvSpPr/>
                <p:nvPr/>
              </p:nvSpPr>
              <p:spPr>
                <a:xfrm>
                  <a:off x="6552219" y="2670077"/>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141" name="Freeform 1140">
                  <a:extLst>
                    <a:ext uri="{FF2B5EF4-FFF2-40B4-BE49-F238E27FC236}">
                      <a16:creationId xmlns:a16="http://schemas.microsoft.com/office/drawing/2014/main" id="{B2E1D383-106E-808D-AF4D-2F8188E09820}"/>
                    </a:ext>
                  </a:extLst>
                </p:cNvPr>
                <p:cNvSpPr/>
                <p:nvPr/>
              </p:nvSpPr>
              <p:spPr>
                <a:xfrm>
                  <a:off x="6522236" y="2656203"/>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6"/>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142" name="Freeform 1141">
                  <a:extLst>
                    <a:ext uri="{FF2B5EF4-FFF2-40B4-BE49-F238E27FC236}">
                      <a16:creationId xmlns:a16="http://schemas.microsoft.com/office/drawing/2014/main" id="{ACFE2A97-5E66-C10F-D691-6B63965D2BE0}"/>
                    </a:ext>
                  </a:extLst>
                </p:cNvPr>
                <p:cNvSpPr/>
                <p:nvPr/>
              </p:nvSpPr>
              <p:spPr>
                <a:xfrm>
                  <a:off x="6486152" y="2656203"/>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297"/>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40"/>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1143" name="Freeform 1142">
                  <a:extLst>
                    <a:ext uri="{FF2B5EF4-FFF2-40B4-BE49-F238E27FC236}">
                      <a16:creationId xmlns:a16="http://schemas.microsoft.com/office/drawing/2014/main" id="{F02B42E6-7FA3-17C2-ED28-C9CCCC90AE31}"/>
                    </a:ext>
                  </a:extLst>
                </p:cNvPr>
                <p:cNvSpPr/>
                <p:nvPr/>
              </p:nvSpPr>
              <p:spPr>
                <a:xfrm>
                  <a:off x="6467537" y="2677712"/>
                  <a:ext cx="13342" cy="18998"/>
                </a:xfrm>
                <a:custGeom>
                  <a:avLst/>
                  <a:gdLst>
                    <a:gd name="connsiteX0" fmla="*/ 342 w 13342"/>
                    <a:gd name="connsiteY0" fmla="*/ 14976 h 18998"/>
                    <a:gd name="connsiteX1" fmla="*/ 8254 w 13342"/>
                    <a:gd name="connsiteY1" fmla="*/ 1285 h 18998"/>
                    <a:gd name="connsiteX2" fmla="*/ 11945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5"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144" name="Freeform 1143">
                  <a:extLst>
                    <a:ext uri="{FF2B5EF4-FFF2-40B4-BE49-F238E27FC236}">
                      <a16:creationId xmlns:a16="http://schemas.microsoft.com/office/drawing/2014/main" id="{9ABE39EA-C206-E54E-1DB2-E86F53218225}"/>
                    </a:ext>
                  </a:extLst>
                </p:cNvPr>
                <p:cNvSpPr/>
                <p:nvPr/>
              </p:nvSpPr>
              <p:spPr>
                <a:xfrm>
                  <a:off x="6462671" y="2710814"/>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4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15" y="281"/>
                        <a:pt x="5142" y="1171"/>
                      </a:cubicBezTo>
                      <a:lnTo>
                        <a:pt x="13054"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145" name="Freeform 1144">
                  <a:extLst>
                    <a:ext uri="{FF2B5EF4-FFF2-40B4-BE49-F238E27FC236}">
                      <a16:creationId xmlns:a16="http://schemas.microsoft.com/office/drawing/2014/main" id="{7E33847C-C0DD-63B5-F40A-A74C40F2503B}"/>
                    </a:ext>
                  </a:extLst>
                </p:cNvPr>
                <p:cNvSpPr/>
                <p:nvPr/>
              </p:nvSpPr>
              <p:spPr>
                <a:xfrm>
                  <a:off x="6481151" y="2742619"/>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6 h 16601"/>
                    <a:gd name="connsiteX7" fmla="*/ 15670 w 15672"/>
                    <a:gd name="connsiteY7" fmla="*/ 14166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2" y="15749"/>
                        <a:pt x="6342" y="13803"/>
                        <a:pt x="4463" y="11065"/>
                      </a:cubicBezTo>
                      <a:cubicBezTo>
                        <a:pt x="2815" y="8425"/>
                        <a:pt x="1727" y="6413"/>
                        <a:pt x="342" y="4038"/>
                      </a:cubicBezTo>
                      <a:cubicBezTo>
                        <a:pt x="-383" y="2784"/>
                        <a:pt x="79" y="1135"/>
                        <a:pt x="1397" y="376"/>
                      </a:cubicBezTo>
                      <a:cubicBezTo>
                        <a:pt x="2716" y="-382"/>
                        <a:pt x="4364" y="46"/>
                        <a:pt x="5089" y="1300"/>
                      </a:cubicBezTo>
                      <a:lnTo>
                        <a:pt x="8946" y="7931"/>
                      </a:lnTo>
                      <a:cubicBezTo>
                        <a:pt x="10067" y="9580"/>
                        <a:pt x="11814" y="10735"/>
                        <a:pt x="13726" y="11196"/>
                      </a:cubicBezTo>
                      <a:cubicBezTo>
                        <a:pt x="14714" y="11460"/>
                        <a:pt x="15604" y="12648"/>
                        <a:pt x="15670" y="14166"/>
                      </a:cubicBezTo>
                      <a:cubicBezTo>
                        <a:pt x="15736" y="15650"/>
                        <a:pt x="14253" y="16969"/>
                        <a:pt x="12407" y="16508"/>
                      </a:cubicBezTo>
                      <a:close/>
                    </a:path>
                  </a:pathLst>
                </a:custGeom>
                <a:solidFill>
                  <a:srgbClr val="5856D6"/>
                </a:solidFill>
                <a:ln w="3283" cap="flat">
                  <a:noFill/>
                  <a:prstDash val="solid"/>
                  <a:miter/>
                </a:ln>
              </p:spPr>
              <p:txBody>
                <a:bodyPr rtlCol="0" anchor="ctr"/>
                <a:lstStyle/>
                <a:p>
                  <a:endParaRPr lang="en-US"/>
                </a:p>
              </p:txBody>
            </p:sp>
            <p:sp>
              <p:nvSpPr>
                <p:cNvPr id="1146" name="Freeform 1145">
                  <a:extLst>
                    <a:ext uri="{FF2B5EF4-FFF2-40B4-BE49-F238E27FC236}">
                      <a16:creationId xmlns:a16="http://schemas.microsoft.com/office/drawing/2014/main" id="{9F04485A-9442-6120-DE47-B6F66B6478E7}"/>
                    </a:ext>
                  </a:extLst>
                </p:cNvPr>
                <p:cNvSpPr/>
                <p:nvPr/>
              </p:nvSpPr>
              <p:spPr>
                <a:xfrm>
                  <a:off x="6512643" y="2754079"/>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4" y="1221"/>
                        <a:pt x="21064" y="2738"/>
                      </a:cubicBezTo>
                      <a:cubicBezTo>
                        <a:pt x="21064"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147" name="Freeform 1146">
                  <a:extLst>
                    <a:ext uri="{FF2B5EF4-FFF2-40B4-BE49-F238E27FC236}">
                      <a16:creationId xmlns:a16="http://schemas.microsoft.com/office/drawing/2014/main" id="{95C363D7-8B6B-B0D3-08C1-B6C4501F9915}"/>
                    </a:ext>
                  </a:extLst>
                </p:cNvPr>
                <p:cNvSpPr/>
                <p:nvPr/>
              </p:nvSpPr>
              <p:spPr>
                <a:xfrm>
                  <a:off x="6547500" y="2734980"/>
                  <a:ext cx="13249" cy="19120"/>
                </a:xfrm>
                <a:custGeom>
                  <a:avLst/>
                  <a:gdLst>
                    <a:gd name="connsiteX0" fmla="*/ 12907 w 13249"/>
                    <a:gd name="connsiteY0" fmla="*/ 4023 h 19120"/>
                    <a:gd name="connsiteX1" fmla="*/ 4996 w 13249"/>
                    <a:gd name="connsiteY1" fmla="*/ 17713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3"/>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148" name="Freeform 1147">
                  <a:extLst>
                    <a:ext uri="{FF2B5EF4-FFF2-40B4-BE49-F238E27FC236}">
                      <a16:creationId xmlns:a16="http://schemas.microsoft.com/office/drawing/2014/main" id="{59CB1EDC-6CC1-4C59-6A79-B98AA9B1A036}"/>
                    </a:ext>
                  </a:extLst>
                </p:cNvPr>
                <p:cNvSpPr/>
                <p:nvPr/>
              </p:nvSpPr>
              <p:spPr>
                <a:xfrm>
                  <a:off x="6565833" y="2702017"/>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09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09"/>
                      </a:lnTo>
                      <a:cubicBezTo>
                        <a:pt x="4990" y="7528"/>
                        <a:pt x="5122" y="5417"/>
                        <a:pt x="4595" y="3537"/>
                      </a:cubicBezTo>
                      <a:cubicBezTo>
                        <a:pt x="4331" y="2547"/>
                        <a:pt x="4924" y="1161"/>
                        <a:pt x="6210" y="337"/>
                      </a:cubicBezTo>
                      <a:cubicBezTo>
                        <a:pt x="7462"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149" name="Freeform 1148">
              <a:extLst>
                <a:ext uri="{FF2B5EF4-FFF2-40B4-BE49-F238E27FC236}">
                  <a16:creationId xmlns:a16="http://schemas.microsoft.com/office/drawing/2014/main" id="{875B2386-A046-FE99-72A4-F700D06EFA8C}"/>
                </a:ext>
              </a:extLst>
            </p:cNvPr>
            <p:cNvSpPr/>
            <p:nvPr/>
          </p:nvSpPr>
          <p:spPr>
            <a:xfrm>
              <a:off x="6491332" y="2683385"/>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150" name="Graphic 776">
            <a:extLst>
              <a:ext uri="{FF2B5EF4-FFF2-40B4-BE49-F238E27FC236}">
                <a16:creationId xmlns:a16="http://schemas.microsoft.com/office/drawing/2014/main" id="{BB5100A0-1E41-5D47-35BB-795AE7EB8D39}"/>
              </a:ext>
            </a:extLst>
          </p:cNvPr>
          <p:cNvGrpSpPr/>
          <p:nvPr/>
        </p:nvGrpSpPr>
        <p:grpSpPr>
          <a:xfrm>
            <a:off x="7358092" y="2910586"/>
            <a:ext cx="578011" cy="535005"/>
            <a:chOff x="6954087" y="2869967"/>
            <a:chExt cx="578011" cy="535005"/>
          </a:xfrm>
        </p:grpSpPr>
        <p:sp>
          <p:nvSpPr>
            <p:cNvPr id="1151" name="Freeform 1150">
              <a:extLst>
                <a:ext uri="{FF2B5EF4-FFF2-40B4-BE49-F238E27FC236}">
                  <a16:creationId xmlns:a16="http://schemas.microsoft.com/office/drawing/2014/main" id="{C789C437-38A4-E544-9F4E-49B9F483FEE4}"/>
                </a:ext>
              </a:extLst>
            </p:cNvPr>
            <p:cNvSpPr/>
            <p:nvPr/>
          </p:nvSpPr>
          <p:spPr>
            <a:xfrm>
              <a:off x="6956098" y="2871979"/>
              <a:ext cx="574022" cy="530947"/>
            </a:xfrm>
            <a:custGeom>
              <a:avLst/>
              <a:gdLst>
                <a:gd name="connsiteX0" fmla="*/ 368397 w 574022"/>
                <a:gd name="connsiteY0" fmla="*/ 530948 h 530947"/>
                <a:gd name="connsiteX1" fmla="*/ 476055 w 574022"/>
                <a:gd name="connsiteY1" fmla="*/ 468732 h 530947"/>
                <a:gd name="connsiteX2" fmla="*/ 557409 w 574022"/>
                <a:gd name="connsiteY2" fmla="*/ 327673 h 530947"/>
                <a:gd name="connsiteX3" fmla="*/ 557409 w 574022"/>
                <a:gd name="connsiteY3" fmla="*/ 203241 h 530947"/>
                <a:gd name="connsiteX4" fmla="*/ 476055 w 574022"/>
                <a:gd name="connsiteY4" fmla="*/ 62216 h 530947"/>
                <a:gd name="connsiteX5" fmla="*/ 368364 w 574022"/>
                <a:gd name="connsiteY5" fmla="*/ 0 h 530947"/>
                <a:gd name="connsiteX6" fmla="*/ 205625 w 574022"/>
                <a:gd name="connsiteY6" fmla="*/ 0 h 530947"/>
                <a:gd name="connsiteX7" fmla="*/ 97967 w 574022"/>
                <a:gd name="connsiteY7" fmla="*/ 62216 h 530947"/>
                <a:gd name="connsiteX8" fmla="*/ 16613 w 574022"/>
                <a:gd name="connsiteY8" fmla="*/ 203241 h 530947"/>
                <a:gd name="connsiteX9" fmla="*/ 16613 w 574022"/>
                <a:gd name="connsiteY9" fmla="*/ 327673 h 530947"/>
                <a:gd name="connsiteX10" fmla="*/ 97967 w 574022"/>
                <a:gd name="connsiteY10" fmla="*/ 468699 h 530947"/>
                <a:gd name="connsiteX11" fmla="*/ 205625 w 574022"/>
                <a:gd name="connsiteY11" fmla="*/ 530915 h 530947"/>
                <a:gd name="connsiteX12" fmla="*/ 368364 w 574022"/>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4022" h="530947">
                  <a:moveTo>
                    <a:pt x="368397" y="530948"/>
                  </a:moveTo>
                  <a:cubicBezTo>
                    <a:pt x="412667" y="530948"/>
                    <a:pt x="453937" y="507130"/>
                    <a:pt x="476055" y="468732"/>
                  </a:cubicBezTo>
                  <a:lnTo>
                    <a:pt x="557409" y="327673"/>
                  </a:lnTo>
                  <a:cubicBezTo>
                    <a:pt x="579560" y="289308"/>
                    <a:pt x="579560" y="241640"/>
                    <a:pt x="557409" y="203241"/>
                  </a:cubicBezTo>
                  <a:lnTo>
                    <a:pt x="476055" y="62216"/>
                  </a:lnTo>
                  <a:cubicBezTo>
                    <a:pt x="453904" y="23851"/>
                    <a:pt x="412667" y="0"/>
                    <a:pt x="368364"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64" y="530915"/>
                  </a:lnTo>
                  <a:close/>
                </a:path>
              </a:pathLst>
            </a:custGeom>
            <a:solidFill>
              <a:srgbClr val="FFFFFF"/>
            </a:solidFill>
            <a:ln w="3283" cap="flat">
              <a:noFill/>
              <a:prstDash val="solid"/>
              <a:miter/>
            </a:ln>
          </p:spPr>
          <p:txBody>
            <a:bodyPr rtlCol="0" anchor="ctr"/>
            <a:lstStyle/>
            <a:p>
              <a:endParaRPr lang="en-US"/>
            </a:p>
          </p:txBody>
        </p:sp>
        <p:grpSp>
          <p:nvGrpSpPr>
            <p:cNvPr id="1152" name="Graphic 776">
              <a:extLst>
                <a:ext uri="{FF2B5EF4-FFF2-40B4-BE49-F238E27FC236}">
                  <a16:creationId xmlns:a16="http://schemas.microsoft.com/office/drawing/2014/main" id="{B3A9D95A-7674-CCE9-D2B4-787EEAEB2F02}"/>
                </a:ext>
              </a:extLst>
            </p:cNvPr>
            <p:cNvGrpSpPr/>
            <p:nvPr/>
          </p:nvGrpSpPr>
          <p:grpSpPr>
            <a:xfrm>
              <a:off x="6954087" y="2869967"/>
              <a:ext cx="578011" cy="535005"/>
              <a:chOff x="6954087" y="2869967"/>
              <a:chExt cx="578011" cy="535005"/>
            </a:xfrm>
            <a:solidFill>
              <a:srgbClr val="5856D6"/>
            </a:solidFill>
          </p:grpSpPr>
          <p:sp>
            <p:nvSpPr>
              <p:cNvPr id="1153" name="Freeform 1152">
                <a:extLst>
                  <a:ext uri="{FF2B5EF4-FFF2-40B4-BE49-F238E27FC236}">
                    <a16:creationId xmlns:a16="http://schemas.microsoft.com/office/drawing/2014/main" id="{184AEE21-44BA-B556-E883-E29941AED528}"/>
                  </a:ext>
                </a:extLst>
              </p:cNvPr>
              <p:cNvSpPr/>
              <p:nvPr/>
            </p:nvSpPr>
            <p:spPr>
              <a:xfrm>
                <a:off x="7336815" y="3397955"/>
                <a:ext cx="16249" cy="6133"/>
              </a:xfrm>
              <a:custGeom>
                <a:avLst/>
                <a:gdLst>
                  <a:gd name="connsiteX0" fmla="*/ 13787 w 16249"/>
                  <a:gd name="connsiteY0" fmla="*/ 23 h 6133"/>
                  <a:gd name="connsiteX1" fmla="*/ 7821 w 16249"/>
                  <a:gd name="connsiteY1" fmla="*/ 1178 h 6133"/>
                  <a:gd name="connsiteX2" fmla="*/ 1821 w 16249"/>
                  <a:gd name="connsiteY2" fmla="*/ 2035 h 6133"/>
                  <a:gd name="connsiteX3" fmla="*/ 8 w 16249"/>
                  <a:gd name="connsiteY3" fmla="*/ 4279 h 6133"/>
                  <a:gd name="connsiteX4" fmla="*/ 2283 w 16249"/>
                  <a:gd name="connsiteY4" fmla="*/ 6126 h 6133"/>
                  <a:gd name="connsiteX5" fmla="*/ 8480 w 16249"/>
                  <a:gd name="connsiteY5" fmla="*/ 5235 h 6133"/>
                  <a:gd name="connsiteX6" fmla="*/ 14644 w 16249"/>
                  <a:gd name="connsiteY6" fmla="*/ 4048 h 6133"/>
                  <a:gd name="connsiteX7" fmla="*/ 16193 w 16249"/>
                  <a:gd name="connsiteY7" fmla="*/ 1574 h 6133"/>
                  <a:gd name="connsiteX8" fmla="*/ 13754 w 16249"/>
                  <a:gd name="connsiteY8" fmla="*/ 56 h 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3">
                    <a:moveTo>
                      <a:pt x="13787" y="23"/>
                    </a:moveTo>
                    <a:cubicBezTo>
                      <a:pt x="11842" y="551"/>
                      <a:pt x="9831" y="815"/>
                      <a:pt x="7821" y="1178"/>
                    </a:cubicBezTo>
                    <a:cubicBezTo>
                      <a:pt x="5810" y="1508"/>
                      <a:pt x="3832" y="1904"/>
                      <a:pt x="1821" y="2035"/>
                    </a:cubicBezTo>
                    <a:cubicBezTo>
                      <a:pt x="701" y="2134"/>
                      <a:pt x="-90" y="3157"/>
                      <a:pt x="8" y="4279"/>
                    </a:cubicBezTo>
                    <a:cubicBezTo>
                      <a:pt x="107" y="5400"/>
                      <a:pt x="1129" y="6225"/>
                      <a:pt x="2283" y="6126"/>
                    </a:cubicBezTo>
                    <a:cubicBezTo>
                      <a:pt x="4359" y="5994"/>
                      <a:pt x="6436" y="5565"/>
                      <a:pt x="8480" y="5235"/>
                    </a:cubicBezTo>
                    <a:cubicBezTo>
                      <a:pt x="10524" y="4872"/>
                      <a:pt x="12600" y="4609"/>
                      <a:pt x="14644" y="4048"/>
                    </a:cubicBezTo>
                    <a:cubicBezTo>
                      <a:pt x="15765" y="3784"/>
                      <a:pt x="16457" y="2662"/>
                      <a:pt x="16193" y="1574"/>
                    </a:cubicBezTo>
                    <a:cubicBezTo>
                      <a:pt x="15930"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154" name="Freeform 1153">
                <a:extLst>
                  <a:ext uri="{FF2B5EF4-FFF2-40B4-BE49-F238E27FC236}">
                    <a16:creationId xmlns:a16="http://schemas.microsoft.com/office/drawing/2014/main" id="{9FC3DB44-CB04-45E4-16DA-C9180C33BB08}"/>
                  </a:ext>
                </a:extLst>
              </p:cNvPr>
              <p:cNvSpPr/>
              <p:nvPr/>
            </p:nvSpPr>
            <p:spPr>
              <a:xfrm>
                <a:off x="7364765" y="3388589"/>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1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1"/>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155" name="Freeform 1154">
                <a:extLst>
                  <a:ext uri="{FF2B5EF4-FFF2-40B4-BE49-F238E27FC236}">
                    <a16:creationId xmlns:a16="http://schemas.microsoft.com/office/drawing/2014/main" id="{CD3218C6-66F1-F91A-5261-A50018947108}"/>
                  </a:ext>
                </a:extLst>
              </p:cNvPr>
              <p:cNvSpPr/>
              <p:nvPr/>
            </p:nvSpPr>
            <p:spPr>
              <a:xfrm>
                <a:off x="7390469" y="3373189"/>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6"/>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156" name="Freeform 1155">
                <a:extLst>
                  <a:ext uri="{FF2B5EF4-FFF2-40B4-BE49-F238E27FC236}">
                    <a16:creationId xmlns:a16="http://schemas.microsoft.com/office/drawing/2014/main" id="{A9672B26-27B5-98A4-8A4F-D6C9D75C92CB}"/>
                  </a:ext>
                </a:extLst>
              </p:cNvPr>
              <p:cNvSpPr/>
              <p:nvPr/>
            </p:nvSpPr>
            <p:spPr>
              <a:xfrm>
                <a:off x="7412585" y="3352741"/>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7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4" y="7104"/>
                      <a:pt x="549" y="9974"/>
                    </a:cubicBezTo>
                    <a:cubicBezTo>
                      <a:pt x="-210" y="10765"/>
                      <a:pt x="-177" y="12085"/>
                      <a:pt x="615" y="12877"/>
                    </a:cubicBezTo>
                    <a:lnTo>
                      <a:pt x="615" y="12877"/>
                    </a:lnTo>
                    <a:cubicBezTo>
                      <a:pt x="1406" y="13668"/>
                      <a:pt x="2724" y="13635"/>
                      <a:pt x="3515" y="12777"/>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157" name="Freeform 1156">
                <a:extLst>
                  <a:ext uri="{FF2B5EF4-FFF2-40B4-BE49-F238E27FC236}">
                    <a16:creationId xmlns:a16="http://schemas.microsoft.com/office/drawing/2014/main" id="{48D211BE-B248-A5E5-EA5D-20BBF5940771}"/>
                  </a:ext>
                </a:extLst>
              </p:cNvPr>
              <p:cNvSpPr/>
              <p:nvPr/>
            </p:nvSpPr>
            <p:spPr>
              <a:xfrm>
                <a:off x="7429813" y="3328398"/>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76"/>
                      <a:pt x="33" y="13897"/>
                      <a:pt x="989" y="14490"/>
                    </a:cubicBezTo>
                    <a:cubicBezTo>
                      <a:pt x="1945" y="15084"/>
                      <a:pt x="3231" y="14754"/>
                      <a:pt x="3857" y="13765"/>
                    </a:cubicBezTo>
                    <a:lnTo>
                      <a:pt x="10054" y="3076"/>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158" name="Freeform 1157">
                <a:extLst>
                  <a:ext uri="{FF2B5EF4-FFF2-40B4-BE49-F238E27FC236}">
                    <a16:creationId xmlns:a16="http://schemas.microsoft.com/office/drawing/2014/main" id="{265AB8C4-14C8-E5E9-82B2-AE553170C100}"/>
                  </a:ext>
                </a:extLst>
              </p:cNvPr>
              <p:cNvSpPr/>
              <p:nvPr/>
            </p:nvSpPr>
            <p:spPr>
              <a:xfrm>
                <a:off x="7444275" y="3303425"/>
                <a:ext cx="10268" cy="14795"/>
              </a:xfrm>
              <a:custGeom>
                <a:avLst/>
                <a:gdLst>
                  <a:gd name="connsiteX0" fmla="*/ 6436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cubicBezTo>
                      <a:pt x="8250"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59" name="Freeform 1158">
                <a:extLst>
                  <a:ext uri="{FF2B5EF4-FFF2-40B4-BE49-F238E27FC236}">
                    <a16:creationId xmlns:a16="http://schemas.microsoft.com/office/drawing/2014/main" id="{9723F0F1-834C-9C40-30DB-6CD520691F92}"/>
                  </a:ext>
                </a:extLst>
              </p:cNvPr>
              <p:cNvSpPr/>
              <p:nvPr/>
            </p:nvSpPr>
            <p:spPr>
              <a:xfrm>
                <a:off x="7458680" y="3278453"/>
                <a:ext cx="10268" cy="14795"/>
              </a:xfrm>
              <a:custGeom>
                <a:avLst/>
                <a:gdLst>
                  <a:gd name="connsiteX0" fmla="*/ 6436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lnTo>
                      <a:pt x="9238" y="272"/>
                    </a:lnTo>
                    <a:cubicBezTo>
                      <a:pt x="8250"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60" name="Freeform 1159">
                <a:extLst>
                  <a:ext uri="{FF2B5EF4-FFF2-40B4-BE49-F238E27FC236}">
                    <a16:creationId xmlns:a16="http://schemas.microsoft.com/office/drawing/2014/main" id="{6794B879-B2B8-9149-56D1-FA8BE4DEE757}"/>
                  </a:ext>
                </a:extLst>
              </p:cNvPr>
              <p:cNvSpPr/>
              <p:nvPr/>
            </p:nvSpPr>
            <p:spPr>
              <a:xfrm>
                <a:off x="7473085" y="3253514"/>
                <a:ext cx="10268" cy="14795"/>
              </a:xfrm>
              <a:custGeom>
                <a:avLst/>
                <a:gdLst>
                  <a:gd name="connsiteX0" fmla="*/ 6436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61" name="Freeform 1160">
                <a:extLst>
                  <a:ext uri="{FF2B5EF4-FFF2-40B4-BE49-F238E27FC236}">
                    <a16:creationId xmlns:a16="http://schemas.microsoft.com/office/drawing/2014/main" id="{3413EDE5-D182-4CC4-0E5C-040D12F9EB02}"/>
                  </a:ext>
                </a:extLst>
              </p:cNvPr>
              <p:cNvSpPr/>
              <p:nvPr/>
            </p:nvSpPr>
            <p:spPr>
              <a:xfrm>
                <a:off x="7487490" y="3228542"/>
                <a:ext cx="10268" cy="14796"/>
              </a:xfrm>
              <a:custGeom>
                <a:avLst/>
                <a:gdLst>
                  <a:gd name="connsiteX0" fmla="*/ 6437 w 10268"/>
                  <a:gd name="connsiteY0" fmla="*/ 1031 h 14796"/>
                  <a:gd name="connsiteX1" fmla="*/ 272 w 10268"/>
                  <a:gd name="connsiteY1" fmla="*/ 11720 h 14796"/>
                  <a:gd name="connsiteX2" fmla="*/ 1031 w 10268"/>
                  <a:gd name="connsiteY2" fmla="*/ 14523 h 14796"/>
                  <a:gd name="connsiteX3" fmla="*/ 1031 w 10268"/>
                  <a:gd name="connsiteY3" fmla="*/ 14523 h 14796"/>
                  <a:gd name="connsiteX4" fmla="*/ 3832 w 10268"/>
                  <a:gd name="connsiteY4" fmla="*/ 13765 h 14796"/>
                  <a:gd name="connsiteX5" fmla="*/ 9996 w 10268"/>
                  <a:gd name="connsiteY5" fmla="*/ 3077 h 14796"/>
                  <a:gd name="connsiteX6" fmla="*/ 9238 w 10268"/>
                  <a:gd name="connsiteY6" fmla="*/ 272 h 14796"/>
                  <a:gd name="connsiteX7" fmla="*/ 6437 w 10268"/>
                  <a:gd name="connsiteY7"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6437" y="1031"/>
                    </a:moveTo>
                    <a:lnTo>
                      <a:pt x="272" y="11720"/>
                    </a:lnTo>
                    <a:cubicBezTo>
                      <a:pt x="-288" y="12709"/>
                      <a:pt x="42" y="13963"/>
                      <a:pt x="1031" y="14523"/>
                    </a:cubicBezTo>
                    <a:lnTo>
                      <a:pt x="1031" y="14523"/>
                    </a:lnTo>
                    <a:cubicBezTo>
                      <a:pt x="2019" y="15084"/>
                      <a:pt x="3272" y="14754"/>
                      <a:pt x="3832" y="13765"/>
                    </a:cubicBezTo>
                    <a:lnTo>
                      <a:pt x="9996" y="3077"/>
                    </a:lnTo>
                    <a:cubicBezTo>
                      <a:pt x="10557" y="2087"/>
                      <a:pt x="10227" y="833"/>
                      <a:pt x="9238" y="272"/>
                    </a:cubicBezTo>
                    <a:cubicBezTo>
                      <a:pt x="8249" y="-288"/>
                      <a:pt x="6997" y="42"/>
                      <a:pt x="6437" y="1031"/>
                    </a:cubicBezTo>
                    <a:close/>
                  </a:path>
                </a:pathLst>
              </a:custGeom>
              <a:solidFill>
                <a:srgbClr val="5856D6"/>
              </a:solidFill>
              <a:ln w="3283" cap="flat">
                <a:noFill/>
                <a:prstDash val="solid"/>
                <a:miter/>
              </a:ln>
            </p:spPr>
            <p:txBody>
              <a:bodyPr rtlCol="0" anchor="ctr"/>
              <a:lstStyle/>
              <a:p>
                <a:endParaRPr lang="en-US"/>
              </a:p>
            </p:txBody>
          </p:sp>
          <p:sp>
            <p:nvSpPr>
              <p:cNvPr id="1162" name="Freeform 1161">
                <a:extLst>
                  <a:ext uri="{FF2B5EF4-FFF2-40B4-BE49-F238E27FC236}">
                    <a16:creationId xmlns:a16="http://schemas.microsoft.com/office/drawing/2014/main" id="{86796943-3B0C-777B-46C3-6CED050EE53D}"/>
                  </a:ext>
                </a:extLst>
              </p:cNvPr>
              <p:cNvSpPr/>
              <p:nvPr/>
            </p:nvSpPr>
            <p:spPr>
              <a:xfrm>
                <a:off x="7501895" y="3203570"/>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163" name="Freeform 1162">
                <a:extLst>
                  <a:ext uri="{FF2B5EF4-FFF2-40B4-BE49-F238E27FC236}">
                    <a16:creationId xmlns:a16="http://schemas.microsoft.com/office/drawing/2014/main" id="{6FF5D45A-BF02-038A-3C90-6C3453BD802B}"/>
                  </a:ext>
                </a:extLst>
              </p:cNvPr>
              <p:cNvSpPr/>
              <p:nvPr/>
            </p:nvSpPr>
            <p:spPr>
              <a:xfrm>
                <a:off x="7515939" y="3177704"/>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4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8" y="14823"/>
                      <a:pt x="1127" y="15318"/>
                    </a:cubicBezTo>
                    <a:cubicBezTo>
                      <a:pt x="2149" y="15813"/>
                      <a:pt x="3402" y="15417"/>
                      <a:pt x="3863" y="14362"/>
                    </a:cubicBezTo>
                    <a:lnTo>
                      <a:pt x="6434" y="8622"/>
                    </a:lnTo>
                    <a:cubicBezTo>
                      <a:pt x="7258"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164" name="Freeform 1163">
                <a:extLst>
                  <a:ext uri="{FF2B5EF4-FFF2-40B4-BE49-F238E27FC236}">
                    <a16:creationId xmlns:a16="http://schemas.microsoft.com/office/drawing/2014/main" id="{CBA5FBDC-698D-416D-6CEB-081A52B14409}"/>
                  </a:ext>
                </a:extLst>
              </p:cNvPr>
              <p:cNvSpPr/>
              <p:nvPr/>
            </p:nvSpPr>
            <p:spPr>
              <a:xfrm>
                <a:off x="7525220" y="3149700"/>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6" y="9839"/>
                      <a:pt x="549" y="11818"/>
                      <a:pt x="54" y="13797"/>
                    </a:cubicBezTo>
                    <a:cubicBezTo>
                      <a:pt x="-209" y="14886"/>
                      <a:pt x="516" y="15974"/>
                      <a:pt x="1604" y="16238"/>
                    </a:cubicBezTo>
                    <a:cubicBezTo>
                      <a:pt x="2692" y="16502"/>
                      <a:pt x="3812" y="15777"/>
                      <a:pt x="4076" y="14655"/>
                    </a:cubicBezTo>
                    <a:cubicBezTo>
                      <a:pt x="4603" y="12610"/>
                      <a:pt x="4900" y="10564"/>
                      <a:pt x="5230" y="8486"/>
                    </a:cubicBezTo>
                    <a:cubicBezTo>
                      <a:pt x="5526" y="6408"/>
                      <a:pt x="5988" y="4363"/>
                      <a:pt x="6120"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165" name="Freeform 1164">
                <a:extLst>
                  <a:ext uri="{FF2B5EF4-FFF2-40B4-BE49-F238E27FC236}">
                    <a16:creationId xmlns:a16="http://schemas.microsoft.com/office/drawing/2014/main" id="{9194B3A2-3BA2-A977-1946-7CCD7445445A}"/>
                  </a:ext>
                </a:extLst>
              </p:cNvPr>
              <p:cNvSpPr/>
              <p:nvPr/>
            </p:nvSpPr>
            <p:spPr>
              <a:xfrm>
                <a:off x="7527178" y="3120954"/>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5 w 4920"/>
                  <a:gd name="connsiteY7" fmla="*/ 1836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2" y="16416"/>
                      <a:pt x="4953" y="15493"/>
                      <a:pt x="4920" y="14338"/>
                    </a:cubicBezTo>
                    <a:lnTo>
                      <a:pt x="4689" y="8070"/>
                    </a:lnTo>
                    <a:lnTo>
                      <a:pt x="4095" y="1836"/>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166" name="Freeform 1165">
                <a:extLst>
                  <a:ext uri="{FF2B5EF4-FFF2-40B4-BE49-F238E27FC236}">
                    <a16:creationId xmlns:a16="http://schemas.microsoft.com/office/drawing/2014/main" id="{61994F92-495E-653F-A08D-732313B0BD3C}"/>
                  </a:ext>
                </a:extLst>
              </p:cNvPr>
              <p:cNvSpPr/>
              <p:nvPr/>
            </p:nvSpPr>
            <p:spPr>
              <a:xfrm>
                <a:off x="7520578" y="3092989"/>
                <a:ext cx="7718" cy="15892"/>
              </a:xfrm>
              <a:custGeom>
                <a:avLst/>
                <a:gdLst>
                  <a:gd name="connsiteX0" fmla="*/ 147 w 7718"/>
                  <a:gd name="connsiteY0" fmla="*/ 2718 h 15892"/>
                  <a:gd name="connsiteX1" fmla="*/ 2059 w 7718"/>
                  <a:gd name="connsiteY1" fmla="*/ 8491 h 15892"/>
                  <a:gd name="connsiteX2" fmla="*/ 3707 w 7718"/>
                  <a:gd name="connsiteY2" fmla="*/ 14330 h 15892"/>
                  <a:gd name="connsiteX3" fmla="*/ 6146 w 7718"/>
                  <a:gd name="connsiteY3" fmla="*/ 15847 h 15892"/>
                  <a:gd name="connsiteX4" fmla="*/ 6146 w 7718"/>
                  <a:gd name="connsiteY4" fmla="*/ 15847 h 15892"/>
                  <a:gd name="connsiteX5" fmla="*/ 7663 w 7718"/>
                  <a:gd name="connsiteY5" fmla="*/ 13340 h 15892"/>
                  <a:gd name="connsiteX6" fmla="*/ 5948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2" y="6544"/>
                      <a:pt x="2059" y="8491"/>
                    </a:cubicBezTo>
                    <a:cubicBezTo>
                      <a:pt x="2586" y="10437"/>
                      <a:pt x="3311" y="12350"/>
                      <a:pt x="3707" y="14330"/>
                    </a:cubicBezTo>
                    <a:cubicBezTo>
                      <a:pt x="3971" y="15418"/>
                      <a:pt x="5059" y="16078"/>
                      <a:pt x="6146" y="15847"/>
                    </a:cubicBezTo>
                    <a:lnTo>
                      <a:pt x="6146" y="15847"/>
                    </a:lnTo>
                    <a:cubicBezTo>
                      <a:pt x="7234" y="15583"/>
                      <a:pt x="7926" y="14461"/>
                      <a:pt x="7663" y="13340"/>
                    </a:cubicBezTo>
                    <a:cubicBezTo>
                      <a:pt x="7234" y="11294"/>
                      <a:pt x="6509" y="9315"/>
                      <a:pt x="5948" y="7303"/>
                    </a:cubicBezTo>
                    <a:cubicBezTo>
                      <a:pt x="5388" y="5291"/>
                      <a:pt x="4729" y="3278"/>
                      <a:pt x="3971" y="1365"/>
                    </a:cubicBezTo>
                    <a:cubicBezTo>
                      <a:pt x="3575" y="276"/>
                      <a:pt x="2389"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167" name="Freeform 1166">
                <a:extLst>
                  <a:ext uri="{FF2B5EF4-FFF2-40B4-BE49-F238E27FC236}">
                    <a16:creationId xmlns:a16="http://schemas.microsoft.com/office/drawing/2014/main" id="{FA43E5C3-9DCA-EBAC-0224-C7066A646B9F}"/>
                  </a:ext>
                </a:extLst>
              </p:cNvPr>
              <p:cNvSpPr/>
              <p:nvPr/>
            </p:nvSpPr>
            <p:spPr>
              <a:xfrm>
                <a:off x="7507960" y="3067130"/>
                <a:ext cx="10138" cy="14889"/>
              </a:xfrm>
              <a:custGeom>
                <a:avLst/>
                <a:gdLst>
                  <a:gd name="connsiteX0" fmla="*/ 272 w 10138"/>
                  <a:gd name="connsiteY0" fmla="*/ 3076 h 14889"/>
                  <a:gd name="connsiteX1" fmla="*/ 6239 w 10138"/>
                  <a:gd name="connsiteY1" fmla="*/ 13798 h 14889"/>
                  <a:gd name="connsiteX2" fmla="*/ 9041 w 10138"/>
                  <a:gd name="connsiteY2" fmla="*/ 14655 h 14889"/>
                  <a:gd name="connsiteX3" fmla="*/ 9041 w 10138"/>
                  <a:gd name="connsiteY3" fmla="*/ 14655 h 14889"/>
                  <a:gd name="connsiteX4" fmla="*/ 9897 w 10138"/>
                  <a:gd name="connsiteY4" fmla="*/ 11884 h 14889"/>
                  <a:gd name="connsiteX5" fmla="*/ 3832 w 10138"/>
                  <a:gd name="connsiteY5" fmla="*/ 1031 h 14889"/>
                  <a:gd name="connsiteX6" fmla="*/ 1030 w 10138"/>
                  <a:gd name="connsiteY6" fmla="*/ 273 h 14889"/>
                  <a:gd name="connsiteX7" fmla="*/ 272 w 10138"/>
                  <a:gd name="connsiteY7" fmla="*/ 3076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6"/>
                    </a:moveTo>
                    <a:cubicBezTo>
                      <a:pt x="2349" y="6639"/>
                      <a:pt x="4393" y="10202"/>
                      <a:pt x="6239" y="13798"/>
                    </a:cubicBezTo>
                    <a:cubicBezTo>
                      <a:pt x="6766" y="14787"/>
                      <a:pt x="8019" y="15183"/>
                      <a:pt x="9041" y="14655"/>
                    </a:cubicBezTo>
                    <a:lnTo>
                      <a:pt x="9041" y="14655"/>
                    </a:lnTo>
                    <a:cubicBezTo>
                      <a:pt x="10062" y="14161"/>
                      <a:pt x="10425" y="12907"/>
                      <a:pt x="9897" y="11884"/>
                    </a:cubicBezTo>
                    <a:cubicBezTo>
                      <a:pt x="7953" y="8157"/>
                      <a:pt x="5909" y="4561"/>
                      <a:pt x="3832" y="1031"/>
                    </a:cubicBezTo>
                    <a:cubicBezTo>
                      <a:pt x="3272" y="42"/>
                      <a:pt x="2019" y="-288"/>
                      <a:pt x="1030"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168" name="Freeform 1167">
                <a:extLst>
                  <a:ext uri="{FF2B5EF4-FFF2-40B4-BE49-F238E27FC236}">
                    <a16:creationId xmlns:a16="http://schemas.microsoft.com/office/drawing/2014/main" id="{9A3B2701-DBC4-EE6F-1956-2855C9D79B11}"/>
                  </a:ext>
                </a:extLst>
              </p:cNvPr>
              <p:cNvSpPr/>
              <p:nvPr/>
            </p:nvSpPr>
            <p:spPr>
              <a:xfrm>
                <a:off x="7493555" y="3042158"/>
                <a:ext cx="10261" cy="14795"/>
              </a:xfrm>
              <a:custGeom>
                <a:avLst/>
                <a:gdLst>
                  <a:gd name="connsiteX0" fmla="*/ 272 w 10261"/>
                  <a:gd name="connsiteY0" fmla="*/ 3077 h 14795"/>
                  <a:gd name="connsiteX1" fmla="*/ 6436 w 10261"/>
                  <a:gd name="connsiteY1" fmla="*/ 13765 h 14795"/>
                  <a:gd name="connsiteX2" fmla="*/ 9238 w 10261"/>
                  <a:gd name="connsiteY2" fmla="*/ 14524 h 14795"/>
                  <a:gd name="connsiteX3" fmla="*/ 9996 w 10261"/>
                  <a:gd name="connsiteY3" fmla="*/ 11719 h 14795"/>
                  <a:gd name="connsiteX4" fmla="*/ 3832 w 10261"/>
                  <a:gd name="connsiteY4" fmla="*/ 1031 h 14795"/>
                  <a:gd name="connsiteX5" fmla="*/ 1030 w 10261"/>
                  <a:gd name="connsiteY5" fmla="*/ 273 h 14795"/>
                  <a:gd name="connsiteX6" fmla="*/ 272 w 10261"/>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72" y="3077"/>
                    </a:moveTo>
                    <a:lnTo>
                      <a:pt x="6436" y="13765"/>
                    </a:lnTo>
                    <a:cubicBezTo>
                      <a:pt x="6997" y="14754"/>
                      <a:pt x="8282" y="15084"/>
                      <a:pt x="9238" y="14524"/>
                    </a:cubicBezTo>
                    <a:cubicBezTo>
                      <a:pt x="10194"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169" name="Freeform 1168">
                <a:extLst>
                  <a:ext uri="{FF2B5EF4-FFF2-40B4-BE49-F238E27FC236}">
                    <a16:creationId xmlns:a16="http://schemas.microsoft.com/office/drawing/2014/main" id="{EB1AED5F-1063-6B8F-E70A-586A6288D925}"/>
                  </a:ext>
                </a:extLst>
              </p:cNvPr>
              <p:cNvSpPr/>
              <p:nvPr/>
            </p:nvSpPr>
            <p:spPr>
              <a:xfrm>
                <a:off x="7479150" y="3017185"/>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0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82" y="15084"/>
                      <a:pt x="9238" y="14524"/>
                    </a:cubicBezTo>
                    <a:lnTo>
                      <a:pt x="9238" y="14524"/>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170" name="Freeform 1169">
                <a:extLst>
                  <a:ext uri="{FF2B5EF4-FFF2-40B4-BE49-F238E27FC236}">
                    <a16:creationId xmlns:a16="http://schemas.microsoft.com/office/drawing/2014/main" id="{6DD86711-9169-3237-43E9-FD55DF818EC4}"/>
                  </a:ext>
                </a:extLst>
              </p:cNvPr>
              <p:cNvSpPr/>
              <p:nvPr/>
            </p:nvSpPr>
            <p:spPr>
              <a:xfrm>
                <a:off x="7464745" y="2992213"/>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2 h 14795"/>
                  <a:gd name="connsiteX7" fmla="*/ 272 w 10268"/>
                  <a:gd name="connsiteY7"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6"/>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171" name="Freeform 1170">
                <a:extLst>
                  <a:ext uri="{FF2B5EF4-FFF2-40B4-BE49-F238E27FC236}">
                    <a16:creationId xmlns:a16="http://schemas.microsoft.com/office/drawing/2014/main" id="{9301C99A-9611-722C-8C55-F34BEF4FB7B9}"/>
                  </a:ext>
                </a:extLst>
              </p:cNvPr>
              <p:cNvSpPr/>
              <p:nvPr/>
            </p:nvSpPr>
            <p:spPr>
              <a:xfrm>
                <a:off x="7450373" y="2967241"/>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172" name="Freeform 1171">
                <a:extLst>
                  <a:ext uri="{FF2B5EF4-FFF2-40B4-BE49-F238E27FC236}">
                    <a16:creationId xmlns:a16="http://schemas.microsoft.com/office/drawing/2014/main" id="{1569C9BB-3EFE-6BAE-12F1-62FDB8CB52E8}"/>
                  </a:ext>
                </a:extLst>
              </p:cNvPr>
              <p:cNvSpPr/>
              <p:nvPr/>
            </p:nvSpPr>
            <p:spPr>
              <a:xfrm>
                <a:off x="7435968" y="2942269"/>
                <a:ext cx="10268" cy="14795"/>
              </a:xfrm>
              <a:custGeom>
                <a:avLst/>
                <a:gdLst>
                  <a:gd name="connsiteX0" fmla="*/ 272 w 10268"/>
                  <a:gd name="connsiteY0" fmla="*/ 3077 h 14795"/>
                  <a:gd name="connsiteX1" fmla="*/ 6436 w 10268"/>
                  <a:gd name="connsiteY1" fmla="*/ 13765 h 14795"/>
                  <a:gd name="connsiteX2" fmla="*/ 9238 w 10268"/>
                  <a:gd name="connsiteY2" fmla="*/ 14524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4"/>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173" name="Freeform 1172">
                <a:extLst>
                  <a:ext uri="{FF2B5EF4-FFF2-40B4-BE49-F238E27FC236}">
                    <a16:creationId xmlns:a16="http://schemas.microsoft.com/office/drawing/2014/main" id="{7430E4FF-CDD5-02C5-D191-F00571914497}"/>
                  </a:ext>
                </a:extLst>
              </p:cNvPr>
              <p:cNvSpPr/>
              <p:nvPr/>
            </p:nvSpPr>
            <p:spPr>
              <a:xfrm>
                <a:off x="7420511" y="2918005"/>
                <a:ext cx="11190" cy="14206"/>
              </a:xfrm>
              <a:custGeom>
                <a:avLst/>
                <a:gdLst>
                  <a:gd name="connsiteX0" fmla="*/ 468 w 11190"/>
                  <a:gd name="connsiteY0" fmla="*/ 3292 h 14206"/>
                  <a:gd name="connsiteX1" fmla="*/ 7390 w 11190"/>
                  <a:gd name="connsiteY1" fmla="*/ 13255 h 14206"/>
                  <a:gd name="connsiteX2" fmla="*/ 10225 w 11190"/>
                  <a:gd name="connsiteY2" fmla="*/ 13915 h 14206"/>
                  <a:gd name="connsiteX3" fmla="*/ 10225 w 11190"/>
                  <a:gd name="connsiteY3" fmla="*/ 13915 h 14206"/>
                  <a:gd name="connsiteX4" fmla="*/ 10884 w 11190"/>
                  <a:gd name="connsiteY4" fmla="*/ 11078 h 14206"/>
                  <a:gd name="connsiteX5" fmla="*/ 3698 w 11190"/>
                  <a:gd name="connsiteY5" fmla="*/ 785 h 14206"/>
                  <a:gd name="connsiteX6" fmla="*/ 765 w 11190"/>
                  <a:gd name="connsiteY6" fmla="*/ 455 h 14206"/>
                  <a:gd name="connsiteX7" fmla="*/ 765 w 11190"/>
                  <a:gd name="connsiteY7" fmla="*/ 455 h 14206"/>
                  <a:gd name="connsiteX8" fmla="*/ 468 w 11190"/>
                  <a:gd name="connsiteY8" fmla="*/ 3292 h 1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206">
                    <a:moveTo>
                      <a:pt x="468" y="3292"/>
                    </a:moveTo>
                    <a:cubicBezTo>
                      <a:pt x="2841" y="6558"/>
                      <a:pt x="5347" y="9758"/>
                      <a:pt x="7390" y="13255"/>
                    </a:cubicBezTo>
                    <a:cubicBezTo>
                      <a:pt x="7984" y="14212"/>
                      <a:pt x="9236" y="14475"/>
                      <a:pt x="10225" y="13915"/>
                    </a:cubicBezTo>
                    <a:lnTo>
                      <a:pt x="10225" y="13915"/>
                    </a:lnTo>
                    <a:cubicBezTo>
                      <a:pt x="11181" y="13321"/>
                      <a:pt x="11478" y="12067"/>
                      <a:pt x="10884" y="11078"/>
                    </a:cubicBezTo>
                    <a:cubicBezTo>
                      <a:pt x="8775" y="7449"/>
                      <a:pt x="6171" y="4150"/>
                      <a:pt x="3698" y="785"/>
                    </a:cubicBezTo>
                    <a:cubicBezTo>
                      <a:pt x="2973" y="-105"/>
                      <a:pt x="1655" y="-270"/>
                      <a:pt x="765" y="455"/>
                    </a:cubicBezTo>
                    <a:lnTo>
                      <a:pt x="765" y="455"/>
                    </a:lnTo>
                    <a:cubicBezTo>
                      <a:pt x="-125" y="1181"/>
                      <a:pt x="-257" y="2435"/>
                      <a:pt x="468" y="3292"/>
                    </a:cubicBezTo>
                    <a:close/>
                  </a:path>
                </a:pathLst>
              </a:custGeom>
              <a:solidFill>
                <a:srgbClr val="5856D6"/>
              </a:solidFill>
              <a:ln w="3283" cap="flat">
                <a:noFill/>
                <a:prstDash val="solid"/>
                <a:miter/>
              </a:ln>
            </p:spPr>
            <p:txBody>
              <a:bodyPr rtlCol="0" anchor="ctr"/>
              <a:lstStyle/>
              <a:p>
                <a:endParaRPr lang="en-US"/>
              </a:p>
            </p:txBody>
          </p:sp>
          <p:sp>
            <p:nvSpPr>
              <p:cNvPr id="1174" name="Freeform 1173">
                <a:extLst>
                  <a:ext uri="{FF2B5EF4-FFF2-40B4-BE49-F238E27FC236}">
                    <a16:creationId xmlns:a16="http://schemas.microsoft.com/office/drawing/2014/main" id="{ABB06EB5-4019-1827-96E0-54BFC646A998}"/>
                  </a:ext>
                </a:extLst>
              </p:cNvPr>
              <p:cNvSpPr/>
              <p:nvPr/>
            </p:nvSpPr>
            <p:spPr>
              <a:xfrm>
                <a:off x="7400361" y="2897506"/>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1"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2" y="-257"/>
                      <a:pt x="1136" y="-125"/>
                      <a:pt x="444" y="765"/>
                    </a:cubicBezTo>
                    <a:cubicBezTo>
                      <a:pt x="-248"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175" name="Freeform 1174">
                <a:extLst>
                  <a:ext uri="{FF2B5EF4-FFF2-40B4-BE49-F238E27FC236}">
                    <a16:creationId xmlns:a16="http://schemas.microsoft.com/office/drawing/2014/main" id="{F2AA5801-3AF9-CBE4-B1CA-B7A879784812}"/>
                  </a:ext>
                </a:extLst>
              </p:cNvPr>
              <p:cNvSpPr/>
              <p:nvPr/>
            </p:nvSpPr>
            <p:spPr>
              <a:xfrm>
                <a:off x="7376002" y="2882224"/>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20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6" y="4007"/>
                      <a:pt x="8520" y="3050"/>
                    </a:cubicBezTo>
                    <a:cubicBezTo>
                      <a:pt x="6674" y="2093"/>
                      <a:pt x="4861" y="1005"/>
                      <a:pt x="2949" y="180"/>
                    </a:cubicBezTo>
                    <a:cubicBezTo>
                      <a:pt x="1894" y="-282"/>
                      <a:pt x="641"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176" name="Freeform 1175">
                <a:extLst>
                  <a:ext uri="{FF2B5EF4-FFF2-40B4-BE49-F238E27FC236}">
                    <a16:creationId xmlns:a16="http://schemas.microsoft.com/office/drawing/2014/main" id="{67D181D0-56F5-B51F-3AFF-79027B7D211E}"/>
                  </a:ext>
                </a:extLst>
              </p:cNvPr>
              <p:cNvSpPr/>
              <p:nvPr/>
            </p:nvSpPr>
            <p:spPr>
              <a:xfrm>
                <a:off x="7348845" y="2872814"/>
                <a:ext cx="16004" cy="7368"/>
              </a:xfrm>
              <a:custGeom>
                <a:avLst/>
                <a:gdLst>
                  <a:gd name="connsiteX0" fmla="*/ 1592 w 16004"/>
                  <a:gd name="connsiteY0" fmla="*/ 4114 h 7368"/>
                  <a:gd name="connsiteX1" fmla="*/ 7492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7 h 7368"/>
                  <a:gd name="connsiteX8" fmla="*/ 43 w 16004"/>
                  <a:gd name="connsiteY8" fmla="*/ 1607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2" y="5499"/>
                    </a:lnTo>
                    <a:lnTo>
                      <a:pt x="13294" y="7281"/>
                    </a:lnTo>
                    <a:cubicBezTo>
                      <a:pt x="14349" y="7610"/>
                      <a:pt x="15535" y="6984"/>
                      <a:pt x="15898" y="5928"/>
                    </a:cubicBezTo>
                    <a:cubicBezTo>
                      <a:pt x="16261" y="4839"/>
                      <a:pt x="15667" y="3718"/>
                      <a:pt x="14580" y="3355"/>
                    </a:cubicBezTo>
                    <a:lnTo>
                      <a:pt x="8580" y="1508"/>
                    </a:lnTo>
                    <a:lnTo>
                      <a:pt x="2482" y="56"/>
                    </a:lnTo>
                    <a:cubicBezTo>
                      <a:pt x="1361" y="-208"/>
                      <a:pt x="273" y="485"/>
                      <a:pt x="43" y="1607"/>
                    </a:cubicBezTo>
                    <a:lnTo>
                      <a:pt x="43" y="1607"/>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177" name="Freeform 1176">
                <a:extLst>
                  <a:ext uri="{FF2B5EF4-FFF2-40B4-BE49-F238E27FC236}">
                    <a16:creationId xmlns:a16="http://schemas.microsoft.com/office/drawing/2014/main" id="{DE0836EB-E47E-8FC7-ADF5-E07E45FC07A4}"/>
                  </a:ext>
                </a:extLst>
              </p:cNvPr>
              <p:cNvSpPr/>
              <p:nvPr/>
            </p:nvSpPr>
            <p:spPr>
              <a:xfrm>
                <a:off x="7320243" y="2869967"/>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89"/>
                      <a:pt x="14207" y="4552"/>
                    </a:cubicBezTo>
                    <a:cubicBezTo>
                      <a:pt x="15328" y="4651"/>
                      <a:pt x="16317" y="3827"/>
                      <a:pt x="16416" y="2705"/>
                    </a:cubicBezTo>
                    <a:cubicBezTo>
                      <a:pt x="16514"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78" name="Freeform 1177">
                <a:extLst>
                  <a:ext uri="{FF2B5EF4-FFF2-40B4-BE49-F238E27FC236}">
                    <a16:creationId xmlns:a16="http://schemas.microsoft.com/office/drawing/2014/main" id="{9E0707CF-EE8F-3C59-50C2-59173FB9F875}"/>
                  </a:ext>
                </a:extLst>
              </p:cNvPr>
              <p:cNvSpPr/>
              <p:nvPr/>
            </p:nvSpPr>
            <p:spPr>
              <a:xfrm>
                <a:off x="729143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79" name="Freeform 1178">
                <a:extLst>
                  <a:ext uri="{FF2B5EF4-FFF2-40B4-BE49-F238E27FC236}">
                    <a16:creationId xmlns:a16="http://schemas.microsoft.com/office/drawing/2014/main" id="{2E975FA6-1088-11C5-AD2F-FCA835073D38}"/>
                  </a:ext>
                </a:extLst>
              </p:cNvPr>
              <p:cNvSpPr/>
              <p:nvPr/>
            </p:nvSpPr>
            <p:spPr>
              <a:xfrm>
                <a:off x="726262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0" name="Freeform 1179">
                <a:extLst>
                  <a:ext uri="{FF2B5EF4-FFF2-40B4-BE49-F238E27FC236}">
                    <a16:creationId xmlns:a16="http://schemas.microsoft.com/office/drawing/2014/main" id="{29D1F5A2-8758-90FB-7023-59B8350F2394}"/>
                  </a:ext>
                </a:extLst>
              </p:cNvPr>
              <p:cNvSpPr/>
              <p:nvPr/>
            </p:nvSpPr>
            <p:spPr>
              <a:xfrm>
                <a:off x="723381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1" name="Freeform 1180">
                <a:extLst>
                  <a:ext uri="{FF2B5EF4-FFF2-40B4-BE49-F238E27FC236}">
                    <a16:creationId xmlns:a16="http://schemas.microsoft.com/office/drawing/2014/main" id="{DC3C48AF-3D1F-2FC8-8F3F-CCDA64F53544}"/>
                  </a:ext>
                </a:extLst>
              </p:cNvPr>
              <p:cNvSpPr/>
              <p:nvPr/>
            </p:nvSpPr>
            <p:spPr>
              <a:xfrm>
                <a:off x="7205003"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2" name="Freeform 1181">
                <a:extLst>
                  <a:ext uri="{FF2B5EF4-FFF2-40B4-BE49-F238E27FC236}">
                    <a16:creationId xmlns:a16="http://schemas.microsoft.com/office/drawing/2014/main" id="{62B857F7-9D77-21FA-1F62-B018A591AC7E}"/>
                  </a:ext>
                </a:extLst>
              </p:cNvPr>
              <p:cNvSpPr/>
              <p:nvPr/>
            </p:nvSpPr>
            <p:spPr>
              <a:xfrm>
                <a:off x="7176194" y="2869967"/>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183" name="Freeform 1182">
                <a:extLst>
                  <a:ext uri="{FF2B5EF4-FFF2-40B4-BE49-F238E27FC236}">
                    <a16:creationId xmlns:a16="http://schemas.microsoft.com/office/drawing/2014/main" id="{574DD9E4-0370-5503-8B80-EFA4AEA7DE95}"/>
                  </a:ext>
                </a:extLst>
              </p:cNvPr>
              <p:cNvSpPr/>
              <p:nvPr/>
            </p:nvSpPr>
            <p:spPr>
              <a:xfrm>
                <a:off x="7147403" y="2870000"/>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3"/>
                      <a:pt x="10331" y="4256"/>
                      <a:pt x="14386" y="4091"/>
                    </a:cubicBezTo>
                    <a:cubicBezTo>
                      <a:pt x="15507" y="4091"/>
                      <a:pt x="16430" y="3167"/>
                      <a:pt x="16430" y="2045"/>
                    </a:cubicBezTo>
                    <a:cubicBezTo>
                      <a:pt x="16430" y="924"/>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184" name="Freeform 1183">
                <a:extLst>
                  <a:ext uri="{FF2B5EF4-FFF2-40B4-BE49-F238E27FC236}">
                    <a16:creationId xmlns:a16="http://schemas.microsoft.com/office/drawing/2014/main" id="{45AEDF1F-17B1-8AA4-0CD4-95EEF81288DE}"/>
                  </a:ext>
                </a:extLst>
              </p:cNvPr>
              <p:cNvSpPr/>
              <p:nvPr/>
            </p:nvSpPr>
            <p:spPr>
              <a:xfrm>
                <a:off x="7119304" y="2873375"/>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2"/>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5"/>
                      <a:pt x="2731" y="7380"/>
                    </a:cubicBezTo>
                    <a:close/>
                  </a:path>
                </a:pathLst>
              </a:custGeom>
              <a:solidFill>
                <a:srgbClr val="5856D6"/>
              </a:solidFill>
              <a:ln w="3283" cap="flat">
                <a:noFill/>
                <a:prstDash val="solid"/>
                <a:miter/>
              </a:ln>
            </p:spPr>
            <p:txBody>
              <a:bodyPr rtlCol="0" anchor="ctr"/>
              <a:lstStyle/>
              <a:p>
                <a:endParaRPr lang="en-US"/>
              </a:p>
            </p:txBody>
          </p:sp>
          <p:sp>
            <p:nvSpPr>
              <p:cNvPr id="1185" name="Freeform 1184">
                <a:extLst>
                  <a:ext uri="{FF2B5EF4-FFF2-40B4-BE49-F238E27FC236}">
                    <a16:creationId xmlns:a16="http://schemas.microsoft.com/office/drawing/2014/main" id="{17DD4F35-71BF-856F-DA3C-03886833AAA4}"/>
                  </a:ext>
                </a:extLst>
              </p:cNvPr>
              <p:cNvSpPr/>
              <p:nvPr/>
            </p:nvSpPr>
            <p:spPr>
              <a:xfrm>
                <a:off x="7093391" y="2883179"/>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9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9"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186" name="Freeform 1185">
                <a:extLst>
                  <a:ext uri="{FF2B5EF4-FFF2-40B4-BE49-F238E27FC236}">
                    <a16:creationId xmlns:a16="http://schemas.microsoft.com/office/drawing/2014/main" id="{2666D644-FE14-ABE4-BCE0-D4D04C1F9E00}"/>
                  </a:ext>
                </a:extLst>
              </p:cNvPr>
              <p:cNvSpPr/>
              <p:nvPr/>
            </p:nvSpPr>
            <p:spPr>
              <a:xfrm>
                <a:off x="7071061" y="2898988"/>
                <a:ext cx="13147" cy="12458"/>
              </a:xfrm>
              <a:custGeom>
                <a:avLst/>
                <a:gdLst>
                  <a:gd name="connsiteX0" fmla="*/ 3474 w 13147"/>
                  <a:gd name="connsiteY0" fmla="*/ 11786 h 12458"/>
                  <a:gd name="connsiteX1" fmla="*/ 7858 w 13147"/>
                  <a:gd name="connsiteY1" fmla="*/ 7597 h 12458"/>
                  <a:gd name="connsiteX2" fmla="*/ 12407 w 13147"/>
                  <a:gd name="connsiteY2" fmla="*/ 3605 h 12458"/>
                  <a:gd name="connsiteX3" fmla="*/ 12704 w 13147"/>
                  <a:gd name="connsiteY3" fmla="*/ 735 h 12458"/>
                  <a:gd name="connsiteX4" fmla="*/ 9803 w 13147"/>
                  <a:gd name="connsiteY4" fmla="*/ 471 h 12458"/>
                  <a:gd name="connsiteX5" fmla="*/ 5089 w 13147"/>
                  <a:gd name="connsiteY5" fmla="*/ 4595 h 12458"/>
                  <a:gd name="connsiteX6" fmla="*/ 573 w 13147"/>
                  <a:gd name="connsiteY6" fmla="*/ 8949 h 12458"/>
                  <a:gd name="connsiteX7" fmla="*/ 639 w 13147"/>
                  <a:gd name="connsiteY7" fmla="*/ 11885 h 12458"/>
                  <a:gd name="connsiteX8" fmla="*/ 3507 w 13147"/>
                  <a:gd name="connsiteY8" fmla="*/ 11819 h 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58">
                    <a:moveTo>
                      <a:pt x="3474" y="11786"/>
                    </a:moveTo>
                    <a:cubicBezTo>
                      <a:pt x="4826" y="10269"/>
                      <a:pt x="6408" y="8982"/>
                      <a:pt x="7858" y="7597"/>
                    </a:cubicBezTo>
                    <a:cubicBezTo>
                      <a:pt x="9309" y="6178"/>
                      <a:pt x="10825" y="4825"/>
                      <a:pt x="12407" y="3605"/>
                    </a:cubicBezTo>
                    <a:cubicBezTo>
                      <a:pt x="13264" y="2912"/>
                      <a:pt x="13396" y="1593"/>
                      <a:pt x="12704" y="735"/>
                    </a:cubicBezTo>
                    <a:cubicBezTo>
                      <a:pt x="12012" y="-123"/>
                      <a:pt x="10693" y="-255"/>
                      <a:pt x="9803" y="471"/>
                    </a:cubicBezTo>
                    <a:cubicBezTo>
                      <a:pt x="8155" y="1758"/>
                      <a:pt x="6606" y="3143"/>
                      <a:pt x="5089" y="4595"/>
                    </a:cubicBezTo>
                    <a:cubicBezTo>
                      <a:pt x="3573" y="6046"/>
                      <a:pt x="1958" y="7366"/>
                      <a:pt x="573" y="8949"/>
                    </a:cubicBezTo>
                    <a:cubicBezTo>
                      <a:pt x="-218" y="9774"/>
                      <a:pt x="-185" y="11126"/>
                      <a:pt x="639" y="11885"/>
                    </a:cubicBezTo>
                    <a:cubicBezTo>
                      <a:pt x="1463" y="12677"/>
                      <a:pt x="2749" y="12644"/>
                      <a:pt x="3507" y="11819"/>
                    </a:cubicBezTo>
                    <a:close/>
                  </a:path>
                </a:pathLst>
              </a:custGeom>
              <a:solidFill>
                <a:srgbClr val="5856D6"/>
              </a:solidFill>
              <a:ln w="3283" cap="flat">
                <a:noFill/>
                <a:prstDash val="solid"/>
                <a:miter/>
              </a:ln>
            </p:spPr>
            <p:txBody>
              <a:bodyPr rtlCol="0" anchor="ctr"/>
              <a:lstStyle/>
              <a:p>
                <a:endParaRPr lang="en-US"/>
              </a:p>
            </p:txBody>
          </p:sp>
          <p:sp>
            <p:nvSpPr>
              <p:cNvPr id="1187" name="Freeform 1186">
                <a:extLst>
                  <a:ext uri="{FF2B5EF4-FFF2-40B4-BE49-F238E27FC236}">
                    <a16:creationId xmlns:a16="http://schemas.microsoft.com/office/drawing/2014/main" id="{523341A6-ECC9-8A09-6326-0E919D8FDF4E}"/>
                  </a:ext>
                </a:extLst>
              </p:cNvPr>
              <p:cNvSpPr/>
              <p:nvPr/>
            </p:nvSpPr>
            <p:spPr>
              <a:xfrm>
                <a:off x="7053448" y="2919751"/>
                <a:ext cx="10950" cy="14330"/>
              </a:xfrm>
              <a:custGeom>
                <a:avLst/>
                <a:gdLst>
                  <a:gd name="connsiteX0" fmla="*/ 3782 w 10950"/>
                  <a:gd name="connsiteY0" fmla="*/ 13356 h 14330"/>
                  <a:gd name="connsiteX1" fmla="*/ 7012 w 10950"/>
                  <a:gd name="connsiteY1" fmla="*/ 8209 h 14330"/>
                  <a:gd name="connsiteX2" fmla="*/ 10572 w 10950"/>
                  <a:gd name="connsiteY2" fmla="*/ 3294 h 14330"/>
                  <a:gd name="connsiteX3" fmla="*/ 10176 w 10950"/>
                  <a:gd name="connsiteY3" fmla="*/ 424 h 14330"/>
                  <a:gd name="connsiteX4" fmla="*/ 7309 w 10950"/>
                  <a:gd name="connsiteY4" fmla="*/ 853 h 14330"/>
                  <a:gd name="connsiteX5" fmla="*/ 3650 w 10950"/>
                  <a:gd name="connsiteY5" fmla="*/ 5933 h 14330"/>
                  <a:gd name="connsiteX6" fmla="*/ 320 w 10950"/>
                  <a:gd name="connsiteY6" fmla="*/ 11244 h 14330"/>
                  <a:gd name="connsiteX7" fmla="*/ 980 w 10950"/>
                  <a:gd name="connsiteY7" fmla="*/ 14048 h 14330"/>
                  <a:gd name="connsiteX8" fmla="*/ 3815 w 10950"/>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50" h="14330">
                    <a:moveTo>
                      <a:pt x="3782" y="13356"/>
                    </a:moveTo>
                    <a:cubicBezTo>
                      <a:pt x="4869" y="11640"/>
                      <a:pt x="5891" y="9892"/>
                      <a:pt x="7012" y="8209"/>
                    </a:cubicBezTo>
                    <a:lnTo>
                      <a:pt x="10572" y="3294"/>
                    </a:lnTo>
                    <a:cubicBezTo>
                      <a:pt x="11198" y="2370"/>
                      <a:pt x="11034" y="1084"/>
                      <a:pt x="10176" y="424"/>
                    </a:cubicBezTo>
                    <a:cubicBezTo>
                      <a:pt x="9286" y="-269"/>
                      <a:pt x="7968" y="-104"/>
                      <a:pt x="7309" y="853"/>
                    </a:cubicBezTo>
                    <a:lnTo>
                      <a:pt x="3650" y="5933"/>
                    </a:lnTo>
                    <a:cubicBezTo>
                      <a:pt x="2496" y="7682"/>
                      <a:pt x="1408" y="9463"/>
                      <a:pt x="320" y="11244"/>
                    </a:cubicBezTo>
                    <a:cubicBezTo>
                      <a:pt x="-306" y="12234"/>
                      <a:pt x="24" y="13487"/>
                      <a:pt x="980" y="14048"/>
                    </a:cubicBezTo>
                    <a:cubicBezTo>
                      <a:pt x="1969" y="14609"/>
                      <a:pt x="3221" y="14312"/>
                      <a:pt x="3815" y="13356"/>
                    </a:cubicBezTo>
                    <a:close/>
                  </a:path>
                </a:pathLst>
              </a:custGeom>
              <a:solidFill>
                <a:srgbClr val="5856D6"/>
              </a:solidFill>
              <a:ln w="3283" cap="flat">
                <a:noFill/>
                <a:prstDash val="solid"/>
                <a:miter/>
              </a:ln>
            </p:spPr>
            <p:txBody>
              <a:bodyPr rtlCol="0" anchor="ctr"/>
              <a:lstStyle/>
              <a:p>
                <a:endParaRPr lang="en-US"/>
              </a:p>
            </p:txBody>
          </p:sp>
          <p:sp>
            <p:nvSpPr>
              <p:cNvPr id="1188" name="Freeform 1187">
                <a:extLst>
                  <a:ext uri="{FF2B5EF4-FFF2-40B4-BE49-F238E27FC236}">
                    <a16:creationId xmlns:a16="http://schemas.microsoft.com/office/drawing/2014/main" id="{40A2A018-434E-2369-19E8-6BFDB4C9BBAF}"/>
                  </a:ext>
                </a:extLst>
              </p:cNvPr>
              <p:cNvSpPr/>
              <p:nvPr/>
            </p:nvSpPr>
            <p:spPr>
              <a:xfrm>
                <a:off x="7038926" y="2944215"/>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4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4"/>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89" name="Freeform 1188">
                <a:extLst>
                  <a:ext uri="{FF2B5EF4-FFF2-40B4-BE49-F238E27FC236}">
                    <a16:creationId xmlns:a16="http://schemas.microsoft.com/office/drawing/2014/main" id="{583AEDE5-6AFC-FE10-7DF1-FE09A2798936}"/>
                  </a:ext>
                </a:extLst>
              </p:cNvPr>
              <p:cNvSpPr/>
              <p:nvPr/>
            </p:nvSpPr>
            <p:spPr>
              <a:xfrm>
                <a:off x="7024521" y="2969187"/>
                <a:ext cx="10268" cy="14795"/>
              </a:xfrm>
              <a:custGeom>
                <a:avLst/>
                <a:gdLst>
                  <a:gd name="connsiteX0" fmla="*/ 3832 w 10268"/>
                  <a:gd name="connsiteY0" fmla="*/ 13765 h 14795"/>
                  <a:gd name="connsiteX1" fmla="*/ 9996 w 10268"/>
                  <a:gd name="connsiteY1" fmla="*/ 3076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0" name="Freeform 1189">
                <a:extLst>
                  <a:ext uri="{FF2B5EF4-FFF2-40B4-BE49-F238E27FC236}">
                    <a16:creationId xmlns:a16="http://schemas.microsoft.com/office/drawing/2014/main" id="{7E2C1F09-616C-6BBE-CE05-0301DDA518FC}"/>
                  </a:ext>
                </a:extLst>
              </p:cNvPr>
              <p:cNvSpPr/>
              <p:nvPr/>
            </p:nvSpPr>
            <p:spPr>
              <a:xfrm>
                <a:off x="7010116" y="2994160"/>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1" name="Freeform 1190">
                <a:extLst>
                  <a:ext uri="{FF2B5EF4-FFF2-40B4-BE49-F238E27FC236}">
                    <a16:creationId xmlns:a16="http://schemas.microsoft.com/office/drawing/2014/main" id="{D5499EB8-9371-3C81-FAB3-B8B1690BEE16}"/>
                  </a:ext>
                </a:extLst>
              </p:cNvPr>
              <p:cNvSpPr/>
              <p:nvPr/>
            </p:nvSpPr>
            <p:spPr>
              <a:xfrm>
                <a:off x="6995711" y="3019132"/>
                <a:ext cx="10268" cy="14795"/>
              </a:xfrm>
              <a:custGeom>
                <a:avLst/>
                <a:gdLst>
                  <a:gd name="connsiteX0" fmla="*/ 3832 w 10268"/>
                  <a:gd name="connsiteY0" fmla="*/ 13765 h 14795"/>
                  <a:gd name="connsiteX1" fmla="*/ 9997 w 10268"/>
                  <a:gd name="connsiteY1" fmla="*/ 3077 h 14795"/>
                  <a:gd name="connsiteX2" fmla="*/ 9238 w 10268"/>
                  <a:gd name="connsiteY2" fmla="*/ 272 h 14795"/>
                  <a:gd name="connsiteX3" fmla="*/ 6436 w 10268"/>
                  <a:gd name="connsiteY3" fmla="*/ 1031 h 14795"/>
                  <a:gd name="connsiteX4" fmla="*/ 272 w 10268"/>
                  <a:gd name="connsiteY4" fmla="*/ 11719 h 14795"/>
                  <a:gd name="connsiteX5" fmla="*/ 1031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7" y="3077"/>
                    </a:lnTo>
                    <a:cubicBezTo>
                      <a:pt x="10557" y="2087"/>
                      <a:pt x="10227" y="833"/>
                      <a:pt x="9238" y="272"/>
                    </a:cubicBezTo>
                    <a:cubicBezTo>
                      <a:pt x="8249" y="-288"/>
                      <a:pt x="6997" y="42"/>
                      <a:pt x="6436" y="1031"/>
                    </a:cubicBezTo>
                    <a:lnTo>
                      <a:pt x="272" y="11719"/>
                    </a:lnTo>
                    <a:cubicBezTo>
                      <a:pt x="-288" y="12709"/>
                      <a:pt x="42" y="13963"/>
                      <a:pt x="1031"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2" name="Freeform 1191">
                <a:extLst>
                  <a:ext uri="{FF2B5EF4-FFF2-40B4-BE49-F238E27FC236}">
                    <a16:creationId xmlns:a16="http://schemas.microsoft.com/office/drawing/2014/main" id="{5CB76391-2B73-6B12-C574-01989B615F9B}"/>
                  </a:ext>
                </a:extLst>
              </p:cNvPr>
              <p:cNvSpPr/>
              <p:nvPr/>
            </p:nvSpPr>
            <p:spPr>
              <a:xfrm>
                <a:off x="6981306" y="3044104"/>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1 w 10268"/>
                  <a:gd name="connsiteY5" fmla="*/ 14524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1" y="14524"/>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193" name="Freeform 1192">
                <a:extLst>
                  <a:ext uri="{FF2B5EF4-FFF2-40B4-BE49-F238E27FC236}">
                    <a16:creationId xmlns:a16="http://schemas.microsoft.com/office/drawing/2014/main" id="{155D7F6C-47A7-781B-E939-46E6205F5238}"/>
                  </a:ext>
                </a:extLst>
              </p:cNvPr>
              <p:cNvSpPr/>
              <p:nvPr/>
            </p:nvSpPr>
            <p:spPr>
              <a:xfrm>
                <a:off x="6967137" y="3069043"/>
                <a:ext cx="10065" cy="14916"/>
              </a:xfrm>
              <a:custGeom>
                <a:avLst/>
                <a:gdLst>
                  <a:gd name="connsiteX0" fmla="*/ 3893 w 10065"/>
                  <a:gd name="connsiteY0" fmla="*/ 13798 h 14916"/>
                  <a:gd name="connsiteX1" fmla="*/ 9794 w 10065"/>
                  <a:gd name="connsiteY1" fmla="*/ 3077 h 14916"/>
                  <a:gd name="connsiteX2" fmla="*/ 9035 w 10065"/>
                  <a:gd name="connsiteY2" fmla="*/ 273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3"/>
                    </a:cubicBezTo>
                    <a:cubicBezTo>
                      <a:pt x="8047" y="-288"/>
                      <a:pt x="6794" y="42"/>
                      <a:pt x="6234" y="1031"/>
                    </a:cubicBezTo>
                    <a:cubicBezTo>
                      <a:pt x="4124" y="4561"/>
                      <a:pt x="2179" y="8256"/>
                      <a:pt x="234" y="11950"/>
                    </a:cubicBezTo>
                    <a:cubicBezTo>
                      <a:pt x="-326" y="12973"/>
                      <a:pt x="168" y="14260"/>
                      <a:pt x="1190" y="14721"/>
                    </a:cubicBezTo>
                    <a:cubicBezTo>
                      <a:pt x="2212"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194" name="Freeform 1193">
                <a:extLst>
                  <a:ext uri="{FF2B5EF4-FFF2-40B4-BE49-F238E27FC236}">
                    <a16:creationId xmlns:a16="http://schemas.microsoft.com/office/drawing/2014/main" id="{201A7D0C-0DF3-7077-1FE6-CA00F0EB89A5}"/>
                  </a:ext>
                </a:extLst>
              </p:cNvPr>
              <p:cNvSpPr/>
              <p:nvPr/>
            </p:nvSpPr>
            <p:spPr>
              <a:xfrm>
                <a:off x="6957393" y="3095055"/>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5" y="15694"/>
                      <a:pt x="1605" y="15925"/>
                    </a:cubicBezTo>
                    <a:cubicBezTo>
                      <a:pt x="2726"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195" name="Freeform 1194">
                <a:extLst>
                  <a:ext uri="{FF2B5EF4-FFF2-40B4-BE49-F238E27FC236}">
                    <a16:creationId xmlns:a16="http://schemas.microsoft.com/office/drawing/2014/main" id="{483C6AAC-DD04-E901-BF1C-ECB00C18602B}"/>
                  </a:ext>
                </a:extLst>
              </p:cNvPr>
              <p:cNvSpPr/>
              <p:nvPr/>
            </p:nvSpPr>
            <p:spPr>
              <a:xfrm>
                <a:off x="6954087" y="3123139"/>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5"/>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196" name="Freeform 1195">
                <a:extLst>
                  <a:ext uri="{FF2B5EF4-FFF2-40B4-BE49-F238E27FC236}">
                    <a16:creationId xmlns:a16="http://schemas.microsoft.com/office/drawing/2014/main" id="{D903DC95-11D5-9179-ABB0-EFA1BBCBBB93}"/>
                  </a:ext>
                </a:extLst>
              </p:cNvPr>
              <p:cNvSpPr/>
              <p:nvPr/>
            </p:nvSpPr>
            <p:spPr>
              <a:xfrm>
                <a:off x="6955187" y="3151905"/>
                <a:ext cx="6393" cy="16267"/>
              </a:xfrm>
              <a:custGeom>
                <a:avLst/>
                <a:gdLst>
                  <a:gd name="connsiteX0" fmla="*/ 6316 w 6393"/>
                  <a:gd name="connsiteY0" fmla="*/ 13737 h 16267"/>
                  <a:gd name="connsiteX1" fmla="*/ 4075 w 6393"/>
                  <a:gd name="connsiteY1" fmla="*/ 1795 h 16267"/>
                  <a:gd name="connsiteX2" fmla="*/ 1833 w 6393"/>
                  <a:gd name="connsiteY2" fmla="*/ 14 h 16267"/>
                  <a:gd name="connsiteX3" fmla="*/ 20 w 6393"/>
                  <a:gd name="connsiteY3" fmla="*/ 2323 h 16267"/>
                  <a:gd name="connsiteX4" fmla="*/ 2328 w 6393"/>
                  <a:gd name="connsiteY4" fmla="*/ 14661 h 16267"/>
                  <a:gd name="connsiteX5" fmla="*/ 4800 w 6393"/>
                  <a:gd name="connsiteY5" fmla="*/ 16211 h 16267"/>
                  <a:gd name="connsiteX6" fmla="*/ 6349 w 6393"/>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3" h="16267">
                    <a:moveTo>
                      <a:pt x="6316" y="13737"/>
                    </a:moveTo>
                    <a:cubicBezTo>
                      <a:pt x="5295" y="9812"/>
                      <a:pt x="4734" y="5787"/>
                      <a:pt x="4075" y="1795"/>
                    </a:cubicBezTo>
                    <a:cubicBezTo>
                      <a:pt x="3910" y="707"/>
                      <a:pt x="2954" y="-118"/>
                      <a:pt x="1833" y="14"/>
                    </a:cubicBezTo>
                    <a:cubicBezTo>
                      <a:pt x="713" y="146"/>
                      <a:pt x="-145" y="1202"/>
                      <a:pt x="20" y="2323"/>
                    </a:cubicBezTo>
                    <a:cubicBezTo>
                      <a:pt x="680" y="6447"/>
                      <a:pt x="1306" y="10603"/>
                      <a:pt x="2328" y="14661"/>
                    </a:cubicBezTo>
                    <a:cubicBezTo>
                      <a:pt x="2591" y="15782"/>
                      <a:pt x="3679" y="16475"/>
                      <a:pt x="4800" y="16211"/>
                    </a:cubicBezTo>
                    <a:cubicBezTo>
                      <a:pt x="5888" y="15947"/>
                      <a:pt x="6580" y="14826"/>
                      <a:pt x="6349" y="13737"/>
                    </a:cubicBezTo>
                    <a:close/>
                  </a:path>
                </a:pathLst>
              </a:custGeom>
              <a:solidFill>
                <a:srgbClr val="5856D6"/>
              </a:solidFill>
              <a:ln w="3283" cap="flat">
                <a:noFill/>
                <a:prstDash val="solid"/>
                <a:miter/>
              </a:ln>
            </p:spPr>
            <p:txBody>
              <a:bodyPr rtlCol="0" anchor="ctr"/>
              <a:lstStyle/>
              <a:p>
                <a:endParaRPr lang="en-US"/>
              </a:p>
            </p:txBody>
          </p:sp>
          <p:sp>
            <p:nvSpPr>
              <p:cNvPr id="1197" name="Freeform 1196">
                <a:extLst>
                  <a:ext uri="{FF2B5EF4-FFF2-40B4-BE49-F238E27FC236}">
                    <a16:creationId xmlns:a16="http://schemas.microsoft.com/office/drawing/2014/main" id="{D05161E5-D241-F531-C94B-FA4BF79414E3}"/>
                  </a:ext>
                </a:extLst>
              </p:cNvPr>
              <p:cNvSpPr/>
              <p:nvPr/>
            </p:nvSpPr>
            <p:spPr>
              <a:xfrm>
                <a:off x="6962295" y="3179827"/>
                <a:ext cx="9035" cy="15440"/>
              </a:xfrm>
              <a:custGeom>
                <a:avLst/>
                <a:gdLst>
                  <a:gd name="connsiteX0" fmla="*/ 8801 w 9035"/>
                  <a:gd name="connsiteY0" fmla="*/ 12436 h 15440"/>
                  <a:gd name="connsiteX1" fmla="*/ 3955 w 9035"/>
                  <a:gd name="connsiteY1" fmla="*/ 1319 h 15440"/>
                  <a:gd name="connsiteX2" fmla="*/ 1318 w 9035"/>
                  <a:gd name="connsiteY2" fmla="*/ 131 h 15440"/>
                  <a:gd name="connsiteX3" fmla="*/ 131 w 9035"/>
                  <a:gd name="connsiteY3" fmla="*/ 2803 h 15440"/>
                  <a:gd name="connsiteX4" fmla="*/ 5142 w 9035"/>
                  <a:gd name="connsiteY4" fmla="*/ 14317 h 15440"/>
                  <a:gd name="connsiteX5" fmla="*/ 7944 w 9035"/>
                  <a:gd name="connsiteY5" fmla="*/ 15207 h 15440"/>
                  <a:gd name="connsiteX6" fmla="*/ 8801 w 9035"/>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5" h="15440">
                    <a:moveTo>
                      <a:pt x="8801" y="12436"/>
                    </a:moveTo>
                    <a:cubicBezTo>
                      <a:pt x="7120" y="8774"/>
                      <a:pt x="5274" y="5146"/>
                      <a:pt x="3955" y="1319"/>
                    </a:cubicBezTo>
                    <a:cubicBezTo>
                      <a:pt x="3560" y="263"/>
                      <a:pt x="2373" y="-264"/>
                      <a:pt x="1318" y="131"/>
                    </a:cubicBezTo>
                    <a:cubicBezTo>
                      <a:pt x="263" y="527"/>
                      <a:pt x="-264" y="1715"/>
                      <a:pt x="131" y="2803"/>
                    </a:cubicBezTo>
                    <a:cubicBezTo>
                      <a:pt x="1483" y="6762"/>
                      <a:pt x="3395" y="10523"/>
                      <a:pt x="5142" y="14317"/>
                    </a:cubicBezTo>
                    <a:cubicBezTo>
                      <a:pt x="5669" y="15339"/>
                      <a:pt x="6955" y="15735"/>
                      <a:pt x="7944" y="15207"/>
                    </a:cubicBezTo>
                    <a:cubicBezTo>
                      <a:pt x="8932" y="14679"/>
                      <a:pt x="9328" y="13459"/>
                      <a:pt x="8801" y="12469"/>
                    </a:cubicBezTo>
                    <a:close/>
                  </a:path>
                </a:pathLst>
              </a:custGeom>
              <a:solidFill>
                <a:srgbClr val="5856D6"/>
              </a:solidFill>
              <a:ln w="3283" cap="flat">
                <a:noFill/>
                <a:prstDash val="solid"/>
                <a:miter/>
              </a:ln>
            </p:spPr>
            <p:txBody>
              <a:bodyPr rtlCol="0" anchor="ctr"/>
              <a:lstStyle/>
              <a:p>
                <a:endParaRPr lang="en-US"/>
              </a:p>
            </p:txBody>
          </p:sp>
          <p:sp>
            <p:nvSpPr>
              <p:cNvPr id="1198" name="Freeform 1197">
                <a:extLst>
                  <a:ext uri="{FF2B5EF4-FFF2-40B4-BE49-F238E27FC236}">
                    <a16:creationId xmlns:a16="http://schemas.microsoft.com/office/drawing/2014/main" id="{DD3FF4D1-FBE3-6D46-9469-869911874768}"/>
                  </a:ext>
                </a:extLst>
              </p:cNvPr>
              <p:cNvSpPr/>
              <p:nvPr/>
            </p:nvSpPr>
            <p:spPr>
              <a:xfrm>
                <a:off x="6975241" y="3205516"/>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20"/>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199" name="Freeform 1198">
                <a:extLst>
                  <a:ext uri="{FF2B5EF4-FFF2-40B4-BE49-F238E27FC236}">
                    <a16:creationId xmlns:a16="http://schemas.microsoft.com/office/drawing/2014/main" id="{7221649C-1FC0-2CE3-4F20-166DF95254AB}"/>
                  </a:ext>
                </a:extLst>
              </p:cNvPr>
              <p:cNvSpPr/>
              <p:nvPr/>
            </p:nvSpPr>
            <p:spPr>
              <a:xfrm>
                <a:off x="6989646" y="3230488"/>
                <a:ext cx="10268" cy="14795"/>
              </a:xfrm>
              <a:custGeom>
                <a:avLst/>
                <a:gdLst>
                  <a:gd name="connsiteX0" fmla="*/ 9997 w 10268"/>
                  <a:gd name="connsiteY0" fmla="*/ 11719 h 14795"/>
                  <a:gd name="connsiteX1" fmla="*/ 3832 w 10268"/>
                  <a:gd name="connsiteY1" fmla="*/ 1031 h 14795"/>
                  <a:gd name="connsiteX2" fmla="*/ 1031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7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7" y="11719"/>
                    </a:moveTo>
                    <a:lnTo>
                      <a:pt x="3832" y="1031"/>
                    </a:lnTo>
                    <a:cubicBezTo>
                      <a:pt x="3272" y="42"/>
                      <a:pt x="1986" y="-288"/>
                      <a:pt x="1031" y="272"/>
                    </a:cubicBezTo>
                    <a:cubicBezTo>
                      <a:pt x="42" y="833"/>
                      <a:pt x="-288" y="2087"/>
                      <a:pt x="272" y="3076"/>
                    </a:cubicBezTo>
                    <a:lnTo>
                      <a:pt x="6436" y="13765"/>
                    </a:lnTo>
                    <a:cubicBezTo>
                      <a:pt x="6997" y="14754"/>
                      <a:pt x="8249" y="15084"/>
                      <a:pt x="9238" y="14523"/>
                    </a:cubicBezTo>
                    <a:lnTo>
                      <a:pt x="9238" y="14523"/>
                    </a:lnTo>
                    <a:cubicBezTo>
                      <a:pt x="10227" y="13963"/>
                      <a:pt x="10557" y="12709"/>
                      <a:pt x="9997" y="11719"/>
                    </a:cubicBezTo>
                    <a:close/>
                  </a:path>
                </a:pathLst>
              </a:custGeom>
              <a:solidFill>
                <a:srgbClr val="5856D6"/>
              </a:solidFill>
              <a:ln w="3283" cap="flat">
                <a:noFill/>
                <a:prstDash val="solid"/>
                <a:miter/>
              </a:ln>
            </p:spPr>
            <p:txBody>
              <a:bodyPr rtlCol="0" anchor="ctr"/>
              <a:lstStyle/>
              <a:p>
                <a:endParaRPr lang="en-US"/>
              </a:p>
            </p:txBody>
          </p:sp>
          <p:sp>
            <p:nvSpPr>
              <p:cNvPr id="1200" name="Freeform 1199">
                <a:extLst>
                  <a:ext uri="{FF2B5EF4-FFF2-40B4-BE49-F238E27FC236}">
                    <a16:creationId xmlns:a16="http://schemas.microsoft.com/office/drawing/2014/main" id="{2D861BE1-E9C8-2444-E5D2-4A3F2414FE3E}"/>
                  </a:ext>
                </a:extLst>
              </p:cNvPr>
              <p:cNvSpPr/>
              <p:nvPr/>
            </p:nvSpPr>
            <p:spPr>
              <a:xfrm>
                <a:off x="7004051" y="3255427"/>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01" name="Freeform 1200">
                <a:extLst>
                  <a:ext uri="{FF2B5EF4-FFF2-40B4-BE49-F238E27FC236}">
                    <a16:creationId xmlns:a16="http://schemas.microsoft.com/office/drawing/2014/main" id="{CE652ACE-6D5D-2DD2-3B8E-92096E17F212}"/>
                  </a:ext>
                </a:extLst>
              </p:cNvPr>
              <p:cNvSpPr/>
              <p:nvPr/>
            </p:nvSpPr>
            <p:spPr>
              <a:xfrm>
                <a:off x="7018456" y="3280400"/>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02" name="Freeform 1201">
                <a:extLst>
                  <a:ext uri="{FF2B5EF4-FFF2-40B4-BE49-F238E27FC236}">
                    <a16:creationId xmlns:a16="http://schemas.microsoft.com/office/drawing/2014/main" id="{C0247AB7-D9BA-FE5A-FA16-BCEA15F9326E}"/>
                  </a:ext>
                </a:extLst>
              </p:cNvPr>
              <p:cNvSpPr/>
              <p:nvPr/>
            </p:nvSpPr>
            <p:spPr>
              <a:xfrm>
                <a:off x="7032828" y="3305372"/>
                <a:ext cx="10268" cy="14796"/>
              </a:xfrm>
              <a:custGeom>
                <a:avLst/>
                <a:gdLst>
                  <a:gd name="connsiteX0" fmla="*/ 9996 w 10268"/>
                  <a:gd name="connsiteY0" fmla="*/ 11719 h 14796"/>
                  <a:gd name="connsiteX1" fmla="*/ 3832 w 10268"/>
                  <a:gd name="connsiteY1" fmla="*/ 1031 h 14796"/>
                  <a:gd name="connsiteX2" fmla="*/ 1030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0" y="273"/>
                    </a:cubicBezTo>
                    <a:cubicBezTo>
                      <a:pt x="42" y="833"/>
                      <a:pt x="-288" y="2087"/>
                      <a:pt x="272" y="3077"/>
                    </a:cubicBezTo>
                    <a:lnTo>
                      <a:pt x="6436" y="13765"/>
                    </a:lnTo>
                    <a:cubicBezTo>
                      <a:pt x="6997" y="14755"/>
                      <a:pt x="8249"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03" name="Freeform 1202">
                <a:extLst>
                  <a:ext uri="{FF2B5EF4-FFF2-40B4-BE49-F238E27FC236}">
                    <a16:creationId xmlns:a16="http://schemas.microsoft.com/office/drawing/2014/main" id="{3B2695AA-3408-FA13-C8A2-FDD4FBD005B0}"/>
                  </a:ext>
                </a:extLst>
              </p:cNvPr>
              <p:cNvSpPr/>
              <p:nvPr/>
            </p:nvSpPr>
            <p:spPr>
              <a:xfrm>
                <a:off x="7047233" y="3330311"/>
                <a:ext cx="10335" cy="14762"/>
              </a:xfrm>
              <a:custGeom>
                <a:avLst/>
                <a:gdLst>
                  <a:gd name="connsiteX0" fmla="*/ 10062 w 10335"/>
                  <a:gd name="connsiteY0" fmla="*/ 11654 h 14762"/>
                  <a:gd name="connsiteX1" fmla="*/ 3832 w 10335"/>
                  <a:gd name="connsiteY1" fmla="*/ 1031 h 14762"/>
                  <a:gd name="connsiteX2" fmla="*/ 1031 w 10335"/>
                  <a:gd name="connsiteY2" fmla="*/ 272 h 14762"/>
                  <a:gd name="connsiteX3" fmla="*/ 272 w 10335"/>
                  <a:gd name="connsiteY3" fmla="*/ 3076 h 14762"/>
                  <a:gd name="connsiteX4" fmla="*/ 6535 w 10335"/>
                  <a:gd name="connsiteY4" fmla="*/ 13765 h 14762"/>
                  <a:gd name="connsiteX5" fmla="*/ 9370 w 10335"/>
                  <a:gd name="connsiteY5" fmla="*/ 14457 h 14762"/>
                  <a:gd name="connsiteX6" fmla="*/ 10029 w 10335"/>
                  <a:gd name="connsiteY6" fmla="*/ 11654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4"/>
                    </a:moveTo>
                    <a:cubicBezTo>
                      <a:pt x="7887" y="8256"/>
                      <a:pt x="5909" y="4561"/>
                      <a:pt x="3832" y="1031"/>
                    </a:cubicBezTo>
                    <a:cubicBezTo>
                      <a:pt x="3272" y="42"/>
                      <a:pt x="2019" y="-288"/>
                      <a:pt x="1031" y="272"/>
                    </a:cubicBezTo>
                    <a:cubicBezTo>
                      <a:pt x="42" y="833"/>
                      <a:pt x="-288" y="2087"/>
                      <a:pt x="272" y="3076"/>
                    </a:cubicBezTo>
                    <a:cubicBezTo>
                      <a:pt x="2382" y="6639"/>
                      <a:pt x="4294" y="10202"/>
                      <a:pt x="6535" y="13765"/>
                    </a:cubicBezTo>
                    <a:cubicBezTo>
                      <a:pt x="7162" y="14754"/>
                      <a:pt x="8414" y="15051"/>
                      <a:pt x="9370" y="14457"/>
                    </a:cubicBezTo>
                    <a:cubicBezTo>
                      <a:pt x="10326" y="13864"/>
                      <a:pt x="10623" y="12577"/>
                      <a:pt x="10029" y="11654"/>
                    </a:cubicBezTo>
                    <a:close/>
                  </a:path>
                </a:pathLst>
              </a:custGeom>
              <a:solidFill>
                <a:srgbClr val="5856D6"/>
              </a:solidFill>
              <a:ln w="3283" cap="flat">
                <a:noFill/>
                <a:prstDash val="solid"/>
                <a:miter/>
              </a:ln>
            </p:spPr>
            <p:txBody>
              <a:bodyPr rtlCol="0" anchor="ctr"/>
              <a:lstStyle/>
              <a:p>
                <a:endParaRPr lang="en-US"/>
              </a:p>
            </p:txBody>
          </p:sp>
          <p:sp>
            <p:nvSpPr>
              <p:cNvPr id="1204" name="Freeform 1203">
                <a:extLst>
                  <a:ext uri="{FF2B5EF4-FFF2-40B4-BE49-F238E27FC236}">
                    <a16:creationId xmlns:a16="http://schemas.microsoft.com/office/drawing/2014/main" id="{DC13D8E6-156E-2562-3D7A-D9C178D9AFA3}"/>
                  </a:ext>
                </a:extLst>
              </p:cNvPr>
              <p:cNvSpPr/>
              <p:nvPr/>
            </p:nvSpPr>
            <p:spPr>
              <a:xfrm>
                <a:off x="7062958" y="3354485"/>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1"/>
                      <a:pt x="3105" y="6580"/>
                      <a:pt x="4490" y="8130"/>
                    </a:cubicBezTo>
                    <a:lnTo>
                      <a:pt x="8808" y="12716"/>
                    </a:lnTo>
                    <a:cubicBezTo>
                      <a:pt x="9599"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205" name="Freeform 1204">
                <a:extLst>
                  <a:ext uri="{FF2B5EF4-FFF2-40B4-BE49-F238E27FC236}">
                    <a16:creationId xmlns:a16="http://schemas.microsoft.com/office/drawing/2014/main" id="{A9D63E7A-E7E5-1341-66DC-41BF955E6542}"/>
                  </a:ext>
                </a:extLst>
              </p:cNvPr>
              <p:cNvSpPr/>
              <p:nvPr/>
            </p:nvSpPr>
            <p:spPr>
              <a:xfrm>
                <a:off x="7083474" y="3374610"/>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44"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206" name="Freeform 1205">
                <a:extLst>
                  <a:ext uri="{FF2B5EF4-FFF2-40B4-BE49-F238E27FC236}">
                    <a16:creationId xmlns:a16="http://schemas.microsoft.com/office/drawing/2014/main" id="{64867F55-E33F-4A62-0346-F8703F129046}"/>
                  </a:ext>
                </a:extLst>
              </p:cNvPr>
              <p:cNvSpPr/>
              <p:nvPr/>
            </p:nvSpPr>
            <p:spPr>
              <a:xfrm>
                <a:off x="7108030" y="3389519"/>
                <a:ext cx="15582" cy="8727"/>
              </a:xfrm>
              <a:custGeom>
                <a:avLst/>
                <a:gdLst>
                  <a:gd name="connsiteX0" fmla="*/ 14170 w 15582"/>
                  <a:gd name="connsiteY0" fmla="*/ 4732 h 8727"/>
                  <a:gd name="connsiteX1" fmla="*/ 2929 w 15582"/>
                  <a:gd name="connsiteY1" fmla="*/ 179 h 8727"/>
                  <a:gd name="connsiteX2" fmla="*/ 193 w 15582"/>
                  <a:gd name="connsiteY2" fmla="*/ 1202 h 8727"/>
                  <a:gd name="connsiteX3" fmla="*/ 1215 w 15582"/>
                  <a:gd name="connsiteY3" fmla="*/ 3907 h 8727"/>
                  <a:gd name="connsiteX4" fmla="*/ 12851 w 15582"/>
                  <a:gd name="connsiteY4" fmla="*/ 8624 h 8727"/>
                  <a:gd name="connsiteX5" fmla="*/ 15488 w 15582"/>
                  <a:gd name="connsiteY5" fmla="*/ 7305 h 8727"/>
                  <a:gd name="connsiteX6" fmla="*/ 14203 w 15582"/>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82"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18"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207" name="Freeform 1206">
                <a:extLst>
                  <a:ext uri="{FF2B5EF4-FFF2-40B4-BE49-F238E27FC236}">
                    <a16:creationId xmlns:a16="http://schemas.microsoft.com/office/drawing/2014/main" id="{CEC493CD-C800-0B06-7569-44708845D5BC}"/>
                  </a:ext>
                </a:extLst>
              </p:cNvPr>
              <p:cNvSpPr/>
              <p:nvPr/>
            </p:nvSpPr>
            <p:spPr>
              <a:xfrm>
                <a:off x="7135374" y="3398428"/>
                <a:ext cx="16303" cy="5865"/>
              </a:xfrm>
              <a:custGeom>
                <a:avLst/>
                <a:gdLst>
                  <a:gd name="connsiteX0" fmla="*/ 14449 w 16303"/>
                  <a:gd name="connsiteY0" fmla="*/ 1794 h 5865"/>
                  <a:gd name="connsiteX1" fmla="*/ 2451 w 16303"/>
                  <a:gd name="connsiteY1" fmla="*/ 46 h 5865"/>
                  <a:gd name="connsiteX2" fmla="*/ 44 w 16303"/>
                  <a:gd name="connsiteY2" fmla="*/ 1596 h 5865"/>
                  <a:gd name="connsiteX3" fmla="*/ 1627 w 16303"/>
                  <a:gd name="connsiteY3" fmla="*/ 4070 h 5865"/>
                  <a:gd name="connsiteX4" fmla="*/ 14054 w 16303"/>
                  <a:gd name="connsiteY4" fmla="*/ 5852 h 5865"/>
                  <a:gd name="connsiteX5" fmla="*/ 16295 w 16303"/>
                  <a:gd name="connsiteY5" fmla="*/ 4004 h 5865"/>
                  <a:gd name="connsiteX6" fmla="*/ 14449 w 16303"/>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03" h="5865">
                    <a:moveTo>
                      <a:pt x="14449" y="1794"/>
                    </a:moveTo>
                    <a:cubicBezTo>
                      <a:pt x="10395" y="1497"/>
                      <a:pt x="6439" y="706"/>
                      <a:pt x="2451" y="46"/>
                    </a:cubicBezTo>
                    <a:cubicBezTo>
                      <a:pt x="1363" y="-185"/>
                      <a:pt x="275" y="475"/>
                      <a:pt x="44" y="1596"/>
                    </a:cubicBezTo>
                    <a:cubicBezTo>
                      <a:pt x="-186" y="2685"/>
                      <a:pt x="506" y="3839"/>
                      <a:pt x="1627" y="4070"/>
                    </a:cubicBezTo>
                    <a:cubicBezTo>
                      <a:pt x="5747" y="4730"/>
                      <a:pt x="9867" y="5555"/>
                      <a:pt x="14054" y="5852"/>
                    </a:cubicBezTo>
                    <a:cubicBezTo>
                      <a:pt x="15207" y="5984"/>
                      <a:pt x="16229" y="5126"/>
                      <a:pt x="16295" y="4004"/>
                    </a:cubicBezTo>
                    <a:cubicBezTo>
                      <a:pt x="16394" y="2883"/>
                      <a:pt x="15570" y="1860"/>
                      <a:pt x="14449" y="1761"/>
                    </a:cubicBezTo>
                    <a:close/>
                  </a:path>
                </a:pathLst>
              </a:custGeom>
              <a:solidFill>
                <a:srgbClr val="5856D6"/>
              </a:solidFill>
              <a:ln w="3283" cap="flat">
                <a:noFill/>
                <a:prstDash val="solid"/>
                <a:miter/>
              </a:ln>
            </p:spPr>
            <p:txBody>
              <a:bodyPr rtlCol="0" anchor="ctr"/>
              <a:lstStyle/>
              <a:p>
                <a:endParaRPr lang="en-US"/>
              </a:p>
            </p:txBody>
          </p:sp>
          <p:sp>
            <p:nvSpPr>
              <p:cNvPr id="1208" name="Freeform 1207">
                <a:extLst>
                  <a:ext uri="{FF2B5EF4-FFF2-40B4-BE49-F238E27FC236}">
                    <a16:creationId xmlns:a16="http://schemas.microsoft.com/office/drawing/2014/main" id="{BC1A5022-1116-592A-7818-A5BB8119A94F}"/>
                  </a:ext>
                </a:extLst>
              </p:cNvPr>
              <p:cNvSpPr/>
              <p:nvPr/>
            </p:nvSpPr>
            <p:spPr>
              <a:xfrm>
                <a:off x="716399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09" name="Freeform 1208">
                <a:extLst>
                  <a:ext uri="{FF2B5EF4-FFF2-40B4-BE49-F238E27FC236}">
                    <a16:creationId xmlns:a16="http://schemas.microsoft.com/office/drawing/2014/main" id="{A8B4EBB5-0806-5251-9628-82C52E1A07AE}"/>
                  </a:ext>
                </a:extLst>
              </p:cNvPr>
              <p:cNvSpPr/>
              <p:nvPr/>
            </p:nvSpPr>
            <p:spPr>
              <a:xfrm>
                <a:off x="719280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10" name="Freeform 1209">
                <a:extLst>
                  <a:ext uri="{FF2B5EF4-FFF2-40B4-BE49-F238E27FC236}">
                    <a16:creationId xmlns:a16="http://schemas.microsoft.com/office/drawing/2014/main" id="{96EFB85F-A639-5084-74B4-2F5D8DCF7C41}"/>
                  </a:ext>
                </a:extLst>
              </p:cNvPr>
              <p:cNvSpPr/>
              <p:nvPr/>
            </p:nvSpPr>
            <p:spPr>
              <a:xfrm>
                <a:off x="722161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11" name="Freeform 1210">
                <a:extLst>
                  <a:ext uri="{FF2B5EF4-FFF2-40B4-BE49-F238E27FC236}">
                    <a16:creationId xmlns:a16="http://schemas.microsoft.com/office/drawing/2014/main" id="{E8A0DFE3-9F3B-8708-AAA2-A718C4776CBA}"/>
                  </a:ext>
                </a:extLst>
              </p:cNvPr>
              <p:cNvSpPr/>
              <p:nvPr/>
            </p:nvSpPr>
            <p:spPr>
              <a:xfrm>
                <a:off x="7250427" y="340088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212" name="Freeform 1211">
                <a:extLst>
                  <a:ext uri="{FF2B5EF4-FFF2-40B4-BE49-F238E27FC236}">
                    <a16:creationId xmlns:a16="http://schemas.microsoft.com/office/drawing/2014/main" id="{844AFC21-F9F8-6282-93F0-0A4016923C87}"/>
                  </a:ext>
                </a:extLst>
              </p:cNvPr>
              <p:cNvSpPr/>
              <p:nvPr/>
            </p:nvSpPr>
            <p:spPr>
              <a:xfrm>
                <a:off x="7279269" y="340088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13" name="Freeform 1212">
                <a:extLst>
                  <a:ext uri="{FF2B5EF4-FFF2-40B4-BE49-F238E27FC236}">
                    <a16:creationId xmlns:a16="http://schemas.microsoft.com/office/drawing/2014/main" id="{08D5BD6F-E882-2B9B-F15B-CB5748845E66}"/>
                  </a:ext>
                </a:extLst>
              </p:cNvPr>
              <p:cNvSpPr/>
              <p:nvPr/>
            </p:nvSpPr>
            <p:spPr>
              <a:xfrm>
                <a:off x="7308080" y="340088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grpSp>
      </p:grpSp>
      <p:sp>
        <p:nvSpPr>
          <p:cNvPr id="1214" name="Freeform 1213">
            <a:extLst>
              <a:ext uri="{FF2B5EF4-FFF2-40B4-BE49-F238E27FC236}">
                <a16:creationId xmlns:a16="http://schemas.microsoft.com/office/drawing/2014/main" id="{EDEE8374-DEDD-D7BE-4AAA-2843AE9856B0}"/>
              </a:ext>
            </a:extLst>
          </p:cNvPr>
          <p:cNvSpPr/>
          <p:nvPr/>
        </p:nvSpPr>
        <p:spPr>
          <a:xfrm>
            <a:off x="7401126" y="2953669"/>
            <a:ext cx="492009" cy="448839"/>
          </a:xfrm>
          <a:custGeom>
            <a:avLst/>
            <a:gdLst>
              <a:gd name="connsiteX0" fmla="*/ 327375 w 492009"/>
              <a:gd name="connsiteY0" fmla="*/ 448839 h 448839"/>
              <a:gd name="connsiteX1" fmla="*/ 399531 w 492009"/>
              <a:gd name="connsiteY1" fmla="*/ 407142 h 448839"/>
              <a:gd name="connsiteX2" fmla="*/ 480884 w 492009"/>
              <a:gd name="connsiteY2" fmla="*/ 266117 h 448839"/>
              <a:gd name="connsiteX3" fmla="*/ 480884 w 492009"/>
              <a:gd name="connsiteY3" fmla="*/ 182722 h 448839"/>
              <a:gd name="connsiteX4" fmla="*/ 399531 w 492009"/>
              <a:gd name="connsiteY4" fmla="*/ 41697 h 448839"/>
              <a:gd name="connsiteX5" fmla="*/ 327375 w 492009"/>
              <a:gd name="connsiteY5" fmla="*/ 0 h 448839"/>
              <a:gd name="connsiteX6" fmla="*/ 164635 w 492009"/>
              <a:gd name="connsiteY6" fmla="*/ 0 h 448839"/>
              <a:gd name="connsiteX7" fmla="*/ 92478 w 492009"/>
              <a:gd name="connsiteY7" fmla="*/ 41697 h 448839"/>
              <a:gd name="connsiteX8" fmla="*/ 11125 w 492009"/>
              <a:gd name="connsiteY8" fmla="*/ 182722 h 448839"/>
              <a:gd name="connsiteX9" fmla="*/ 11125 w 492009"/>
              <a:gd name="connsiteY9" fmla="*/ 266117 h 448839"/>
              <a:gd name="connsiteX10" fmla="*/ 92478 w 492009"/>
              <a:gd name="connsiteY10" fmla="*/ 407142 h 448839"/>
              <a:gd name="connsiteX11" fmla="*/ 164635 w 492009"/>
              <a:gd name="connsiteY11" fmla="*/ 448839 h 448839"/>
              <a:gd name="connsiteX12" fmla="*/ 327375 w 492009"/>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009" h="448839">
                <a:moveTo>
                  <a:pt x="327375" y="448839"/>
                </a:moveTo>
                <a:cubicBezTo>
                  <a:pt x="357041" y="448839"/>
                  <a:pt x="384698" y="432873"/>
                  <a:pt x="399531" y="407142"/>
                </a:cubicBezTo>
                <a:lnTo>
                  <a:pt x="480884" y="266117"/>
                </a:lnTo>
                <a:cubicBezTo>
                  <a:pt x="495718" y="240419"/>
                  <a:pt x="495718" y="208453"/>
                  <a:pt x="480884" y="182722"/>
                </a:cubicBezTo>
                <a:lnTo>
                  <a:pt x="399531" y="41697"/>
                </a:lnTo>
                <a:cubicBezTo>
                  <a:pt x="384698" y="15966"/>
                  <a:pt x="357041" y="0"/>
                  <a:pt x="327375" y="0"/>
                </a:cubicBezTo>
                <a:lnTo>
                  <a:pt x="164635" y="0"/>
                </a:lnTo>
                <a:cubicBezTo>
                  <a:pt x="134968" y="0"/>
                  <a:pt x="107312" y="15966"/>
                  <a:pt x="92478" y="41697"/>
                </a:cubicBezTo>
                <a:lnTo>
                  <a:pt x="11125" y="182722"/>
                </a:lnTo>
                <a:cubicBezTo>
                  <a:pt x="-3708" y="208453"/>
                  <a:pt x="-3708" y="240386"/>
                  <a:pt x="11125" y="266117"/>
                </a:cubicBezTo>
                <a:lnTo>
                  <a:pt x="92478" y="407142"/>
                </a:lnTo>
                <a:cubicBezTo>
                  <a:pt x="107312" y="432873"/>
                  <a:pt x="134968" y="448839"/>
                  <a:pt x="164635" y="448839"/>
                </a:cubicBezTo>
                <a:lnTo>
                  <a:pt x="327375" y="448839"/>
                </a:lnTo>
                <a:close/>
              </a:path>
            </a:pathLst>
          </a:custGeom>
          <a:solidFill>
            <a:srgbClr val="5856D6"/>
          </a:solidFill>
          <a:ln w="3283" cap="flat">
            <a:noFill/>
            <a:prstDash val="solid"/>
            <a:miter/>
          </a:ln>
        </p:spPr>
        <p:txBody>
          <a:bodyPr rtlCol="0" anchor="ctr"/>
          <a:lstStyle/>
          <a:p>
            <a:endParaRPr lang="en-US"/>
          </a:p>
        </p:txBody>
      </p:sp>
      <p:sp>
        <p:nvSpPr>
          <p:cNvPr id="1215" name="Freeform 1214">
            <a:extLst>
              <a:ext uri="{FF2B5EF4-FFF2-40B4-BE49-F238E27FC236}">
                <a16:creationId xmlns:a16="http://schemas.microsoft.com/office/drawing/2014/main" id="{68F91EFA-A463-7E6E-73F9-4BB7BBFE378E}"/>
              </a:ext>
            </a:extLst>
          </p:cNvPr>
          <p:cNvSpPr/>
          <p:nvPr/>
        </p:nvSpPr>
        <p:spPr>
          <a:xfrm>
            <a:off x="7442124" y="2994706"/>
            <a:ext cx="410046" cy="366764"/>
          </a:xfrm>
          <a:custGeom>
            <a:avLst/>
            <a:gdLst>
              <a:gd name="connsiteX0" fmla="*/ 123670 w 410046"/>
              <a:gd name="connsiteY0" fmla="*/ 0 h 366764"/>
              <a:gd name="connsiteX1" fmla="*/ 286377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7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7"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7"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216" name="Freeform 1215">
            <a:extLst>
              <a:ext uri="{FF2B5EF4-FFF2-40B4-BE49-F238E27FC236}">
                <a16:creationId xmlns:a16="http://schemas.microsoft.com/office/drawing/2014/main" id="{6E352EAC-9D16-E313-7E34-D45F61F3D4D8}"/>
              </a:ext>
            </a:extLst>
          </p:cNvPr>
          <p:cNvSpPr/>
          <p:nvPr/>
        </p:nvSpPr>
        <p:spPr>
          <a:xfrm flipH="1">
            <a:off x="7592032" y="3073779"/>
            <a:ext cx="110196" cy="208651"/>
          </a:xfrm>
          <a:custGeom>
            <a:avLst/>
            <a:gdLst>
              <a:gd name="connsiteX0" fmla="*/ 49709 w 110196"/>
              <a:gd name="connsiteY0" fmla="*/ 208651 h 208651"/>
              <a:gd name="connsiteX1" fmla="*/ 23437 w 110196"/>
              <a:gd name="connsiteY1" fmla="*/ 208651 h 208651"/>
              <a:gd name="connsiteX2" fmla="*/ 23437 w 110196"/>
              <a:gd name="connsiteY2" fmla="*/ 152769 h 208651"/>
              <a:gd name="connsiteX3" fmla="*/ 0 w 110196"/>
              <a:gd name="connsiteY3" fmla="*/ 152769 h 208651"/>
              <a:gd name="connsiteX4" fmla="*/ 0 w 110196"/>
              <a:gd name="connsiteY4" fmla="*/ 128292 h 208651"/>
              <a:gd name="connsiteX5" fmla="*/ 23437 w 110196"/>
              <a:gd name="connsiteY5" fmla="*/ 128292 h 208651"/>
              <a:gd name="connsiteX6" fmla="*/ 23437 w 110196"/>
              <a:gd name="connsiteY6" fmla="*/ 0 h 208651"/>
              <a:gd name="connsiteX7" fmla="*/ 55873 w 110196"/>
              <a:gd name="connsiteY7" fmla="*/ 0 h 208651"/>
              <a:gd name="connsiteX8" fmla="*/ 110196 w 110196"/>
              <a:gd name="connsiteY8" fmla="*/ 123904 h 208651"/>
              <a:gd name="connsiteX9" fmla="*/ 110196 w 110196"/>
              <a:gd name="connsiteY9" fmla="*/ 152769 h 208651"/>
              <a:gd name="connsiteX10" fmla="*/ 49709 w 110196"/>
              <a:gd name="connsiteY10" fmla="*/ 152769 h 208651"/>
              <a:gd name="connsiteX11" fmla="*/ 49709 w 110196"/>
              <a:gd name="connsiteY11" fmla="*/ 208651 h 208651"/>
              <a:gd name="connsiteX12" fmla="*/ 83694 w 110196"/>
              <a:gd name="connsiteY12" fmla="*/ 128259 h 208651"/>
              <a:gd name="connsiteX13" fmla="*/ 49709 w 110196"/>
              <a:gd name="connsiteY13" fmla="*/ 33450 h 208651"/>
              <a:gd name="connsiteX14" fmla="*/ 49709 w 110196"/>
              <a:gd name="connsiteY14" fmla="*/ 128259 h 208651"/>
              <a:gd name="connsiteX15" fmla="*/ 83694 w 110196"/>
              <a:gd name="connsiteY15" fmla="*/ 128259 h 20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196" h="208651">
                <a:moveTo>
                  <a:pt x="49709" y="208651"/>
                </a:moveTo>
                <a:lnTo>
                  <a:pt x="23437" y="208651"/>
                </a:lnTo>
                <a:lnTo>
                  <a:pt x="23437" y="152769"/>
                </a:lnTo>
                <a:cubicBezTo>
                  <a:pt x="23437" y="152769"/>
                  <a:pt x="0" y="152769"/>
                  <a:pt x="0" y="152769"/>
                </a:cubicBezTo>
                <a:lnTo>
                  <a:pt x="0" y="128292"/>
                </a:lnTo>
                <a:lnTo>
                  <a:pt x="23437" y="128292"/>
                </a:lnTo>
                <a:cubicBezTo>
                  <a:pt x="23437" y="128292"/>
                  <a:pt x="23437" y="0"/>
                  <a:pt x="23437" y="0"/>
                </a:cubicBezTo>
                <a:lnTo>
                  <a:pt x="55873" y="0"/>
                </a:lnTo>
                <a:cubicBezTo>
                  <a:pt x="55873" y="0"/>
                  <a:pt x="110196" y="123904"/>
                  <a:pt x="110196" y="123904"/>
                </a:cubicBezTo>
                <a:lnTo>
                  <a:pt x="110196" y="152769"/>
                </a:lnTo>
                <a:lnTo>
                  <a:pt x="49709" y="152769"/>
                </a:lnTo>
                <a:cubicBezTo>
                  <a:pt x="49709" y="152769"/>
                  <a:pt x="49709" y="208651"/>
                  <a:pt x="49709" y="208651"/>
                </a:cubicBezTo>
                <a:close/>
                <a:moveTo>
                  <a:pt x="83694" y="128259"/>
                </a:moveTo>
                <a:lnTo>
                  <a:pt x="49709" y="33450"/>
                </a:lnTo>
                <a:lnTo>
                  <a:pt x="49709" y="128259"/>
                </a:lnTo>
                <a:cubicBezTo>
                  <a:pt x="49709" y="128259"/>
                  <a:pt x="83694" y="128259"/>
                  <a:pt x="83694" y="128259"/>
                </a:cubicBezTo>
                <a:close/>
              </a:path>
            </a:pathLst>
          </a:custGeom>
          <a:solidFill>
            <a:srgbClr val="5856D6"/>
          </a:solidFill>
          <a:ln w="3283" cap="flat">
            <a:noFill/>
            <a:prstDash val="solid"/>
            <a:miter/>
          </a:ln>
        </p:spPr>
        <p:txBody>
          <a:bodyPr rtlCol="0" anchor="ctr"/>
          <a:lstStyle/>
          <a:p>
            <a:endParaRPr lang="en-US"/>
          </a:p>
        </p:txBody>
      </p:sp>
      <p:grpSp>
        <p:nvGrpSpPr>
          <p:cNvPr id="1217" name="Graphic 776">
            <a:extLst>
              <a:ext uri="{FF2B5EF4-FFF2-40B4-BE49-F238E27FC236}">
                <a16:creationId xmlns:a16="http://schemas.microsoft.com/office/drawing/2014/main" id="{33914445-4724-9972-6BA2-A075C3D8072A}"/>
              </a:ext>
            </a:extLst>
          </p:cNvPr>
          <p:cNvGrpSpPr/>
          <p:nvPr/>
        </p:nvGrpSpPr>
        <p:grpSpPr>
          <a:xfrm>
            <a:off x="6452734" y="3048280"/>
            <a:ext cx="113572" cy="103385"/>
            <a:chOff x="6578800" y="3085777"/>
            <a:chExt cx="113572" cy="103385"/>
          </a:xfrm>
        </p:grpSpPr>
        <p:grpSp>
          <p:nvGrpSpPr>
            <p:cNvPr id="1218" name="Graphic 776">
              <a:extLst>
                <a:ext uri="{FF2B5EF4-FFF2-40B4-BE49-F238E27FC236}">
                  <a16:creationId xmlns:a16="http://schemas.microsoft.com/office/drawing/2014/main" id="{9927141D-6B3C-2CCB-8C2C-7A5528BF467D}"/>
                </a:ext>
              </a:extLst>
            </p:cNvPr>
            <p:cNvGrpSpPr/>
            <p:nvPr/>
          </p:nvGrpSpPr>
          <p:grpSpPr>
            <a:xfrm>
              <a:off x="6578800" y="3085777"/>
              <a:ext cx="113572" cy="103385"/>
              <a:chOff x="6578800" y="3085777"/>
              <a:chExt cx="113572" cy="103385"/>
            </a:xfrm>
          </p:grpSpPr>
          <p:sp>
            <p:nvSpPr>
              <p:cNvPr id="1219" name="Freeform 1218">
                <a:extLst>
                  <a:ext uri="{FF2B5EF4-FFF2-40B4-BE49-F238E27FC236}">
                    <a16:creationId xmlns:a16="http://schemas.microsoft.com/office/drawing/2014/main" id="{14F66531-CAA6-01EC-ED36-685B913DD9E2}"/>
                  </a:ext>
                </a:extLst>
              </p:cNvPr>
              <p:cNvSpPr/>
              <p:nvPr/>
            </p:nvSpPr>
            <p:spPr>
              <a:xfrm>
                <a:off x="6580111" y="3088548"/>
                <a:ext cx="109520" cy="97843"/>
              </a:xfrm>
              <a:custGeom>
                <a:avLst/>
                <a:gdLst>
                  <a:gd name="connsiteX0" fmla="*/ 108062 w 109520"/>
                  <a:gd name="connsiteY0" fmla="*/ 43446 h 97843"/>
                  <a:gd name="connsiteX1" fmla="*/ 86141 w 109520"/>
                  <a:gd name="connsiteY1" fmla="*/ 5476 h 97843"/>
                  <a:gd name="connsiteX2" fmla="*/ 76681 w 109520"/>
                  <a:gd name="connsiteY2" fmla="*/ 0 h 97843"/>
                  <a:gd name="connsiteX3" fmla="*/ 32840 w 109520"/>
                  <a:gd name="connsiteY3" fmla="*/ 0 h 97843"/>
                  <a:gd name="connsiteX4" fmla="*/ 23379 w 109520"/>
                  <a:gd name="connsiteY4" fmla="*/ 5476 h 97843"/>
                  <a:gd name="connsiteX5" fmla="*/ 1459 w 109520"/>
                  <a:gd name="connsiteY5" fmla="*/ 43446 h 97843"/>
                  <a:gd name="connsiteX6" fmla="*/ 1459 w 109520"/>
                  <a:gd name="connsiteY6" fmla="*/ 54398 h 97843"/>
                  <a:gd name="connsiteX7" fmla="*/ 23379 w 109520"/>
                  <a:gd name="connsiteY7" fmla="*/ 92367 h 97843"/>
                  <a:gd name="connsiteX8" fmla="*/ 32840 w 109520"/>
                  <a:gd name="connsiteY8" fmla="*/ 97843 h 97843"/>
                  <a:gd name="connsiteX9" fmla="*/ 76681 w 109520"/>
                  <a:gd name="connsiteY9" fmla="*/ 97843 h 97843"/>
                  <a:gd name="connsiteX10" fmla="*/ 86141 w 109520"/>
                  <a:gd name="connsiteY10" fmla="*/ 92367 h 97843"/>
                  <a:gd name="connsiteX11" fmla="*/ 108062 w 109520"/>
                  <a:gd name="connsiteY11" fmla="*/ 54398 h 97843"/>
                  <a:gd name="connsiteX12" fmla="*/ 108062 w 109520"/>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20" h="97843">
                    <a:moveTo>
                      <a:pt x="108062" y="43446"/>
                    </a:moveTo>
                    <a:lnTo>
                      <a:pt x="86141" y="5476"/>
                    </a:lnTo>
                    <a:cubicBezTo>
                      <a:pt x="84196" y="2078"/>
                      <a:pt x="80570" y="0"/>
                      <a:pt x="76681" y="0"/>
                    </a:cubicBezTo>
                    <a:lnTo>
                      <a:pt x="32840" y="0"/>
                    </a:lnTo>
                    <a:cubicBezTo>
                      <a:pt x="28917" y="0"/>
                      <a:pt x="25324" y="2078"/>
                      <a:pt x="23379" y="5476"/>
                    </a:cubicBezTo>
                    <a:lnTo>
                      <a:pt x="1459" y="43446"/>
                    </a:lnTo>
                    <a:cubicBezTo>
                      <a:pt x="-486" y="46844"/>
                      <a:pt x="-486" y="51000"/>
                      <a:pt x="1459" y="54398"/>
                    </a:cubicBezTo>
                    <a:lnTo>
                      <a:pt x="23379" y="92367"/>
                    </a:lnTo>
                    <a:cubicBezTo>
                      <a:pt x="25324" y="95765"/>
                      <a:pt x="28950" y="97843"/>
                      <a:pt x="32840" y="97843"/>
                    </a:cubicBezTo>
                    <a:lnTo>
                      <a:pt x="76681" y="97843"/>
                    </a:lnTo>
                    <a:cubicBezTo>
                      <a:pt x="80603" y="97843"/>
                      <a:pt x="84196" y="95765"/>
                      <a:pt x="86141" y="92367"/>
                    </a:cubicBezTo>
                    <a:lnTo>
                      <a:pt x="108062" y="54398"/>
                    </a:lnTo>
                    <a:cubicBezTo>
                      <a:pt x="110007" y="51000"/>
                      <a:pt x="110007" y="46844"/>
                      <a:pt x="108062" y="43446"/>
                    </a:cubicBezTo>
                    <a:close/>
                  </a:path>
                </a:pathLst>
              </a:custGeom>
              <a:solidFill>
                <a:srgbClr val="FFFFFF"/>
              </a:solidFill>
              <a:ln w="3283" cap="flat">
                <a:noFill/>
                <a:prstDash val="solid"/>
                <a:miter/>
              </a:ln>
            </p:spPr>
            <p:txBody>
              <a:bodyPr rtlCol="0" anchor="ctr"/>
              <a:lstStyle/>
              <a:p>
                <a:endParaRPr lang="en-US"/>
              </a:p>
            </p:txBody>
          </p:sp>
          <p:grpSp>
            <p:nvGrpSpPr>
              <p:cNvPr id="1220" name="Graphic 776">
                <a:extLst>
                  <a:ext uri="{FF2B5EF4-FFF2-40B4-BE49-F238E27FC236}">
                    <a16:creationId xmlns:a16="http://schemas.microsoft.com/office/drawing/2014/main" id="{DE5744A7-E2FD-17B4-4E97-DA04EA5E7D8A}"/>
                  </a:ext>
                </a:extLst>
              </p:cNvPr>
              <p:cNvGrpSpPr/>
              <p:nvPr/>
            </p:nvGrpSpPr>
            <p:grpSpPr>
              <a:xfrm>
                <a:off x="6578800" y="3085777"/>
                <a:ext cx="113572" cy="103385"/>
                <a:chOff x="6578800" y="3085777"/>
                <a:chExt cx="113572" cy="103385"/>
              </a:xfrm>
              <a:solidFill>
                <a:srgbClr val="5856D6"/>
              </a:solidFill>
            </p:grpSpPr>
            <p:sp>
              <p:nvSpPr>
                <p:cNvPr id="1221" name="Freeform 1220">
                  <a:extLst>
                    <a:ext uri="{FF2B5EF4-FFF2-40B4-BE49-F238E27FC236}">
                      <a16:creationId xmlns:a16="http://schemas.microsoft.com/office/drawing/2014/main" id="{4D25EF9B-99C2-4E76-7E1C-8A051E5D6056}"/>
                    </a:ext>
                  </a:extLst>
                </p:cNvPr>
                <p:cNvSpPr/>
                <p:nvPr/>
              </p:nvSpPr>
              <p:spPr>
                <a:xfrm>
                  <a:off x="6668349" y="3099651"/>
                  <a:ext cx="13342" cy="19028"/>
                </a:xfrm>
                <a:custGeom>
                  <a:avLst/>
                  <a:gdLst>
                    <a:gd name="connsiteX0" fmla="*/ 5089 w 13342"/>
                    <a:gd name="connsiteY0" fmla="*/ 1300 h 19028"/>
                    <a:gd name="connsiteX1" fmla="*/ 13000 w 13342"/>
                    <a:gd name="connsiteY1" fmla="*/ 14990 h 19028"/>
                    <a:gd name="connsiteX2" fmla="*/ 11946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6" y="18652"/>
                      </a:cubicBezTo>
                      <a:cubicBezTo>
                        <a:pt x="10627" y="19411"/>
                        <a:pt x="8979" y="18982"/>
                        <a:pt x="8254" y="17728"/>
                      </a:cubicBezTo>
                      <a:lnTo>
                        <a:pt x="342" y="4038"/>
                      </a:lnTo>
                      <a:cubicBezTo>
                        <a:pt x="-383" y="2784"/>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222" name="Freeform 1221">
                  <a:extLst>
                    <a:ext uri="{FF2B5EF4-FFF2-40B4-BE49-F238E27FC236}">
                      <a16:creationId xmlns:a16="http://schemas.microsoft.com/office/drawing/2014/main" id="{B71FCA24-E6B2-110A-9186-5D6D9D201680}"/>
                    </a:ext>
                  </a:extLst>
                </p:cNvPr>
                <p:cNvSpPr/>
                <p:nvPr/>
              </p:nvSpPr>
              <p:spPr>
                <a:xfrm>
                  <a:off x="6638365" y="3085810"/>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6"/>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223" name="Freeform 1222">
                  <a:extLst>
                    <a:ext uri="{FF2B5EF4-FFF2-40B4-BE49-F238E27FC236}">
                      <a16:creationId xmlns:a16="http://schemas.microsoft.com/office/drawing/2014/main" id="{02315C26-A87A-5590-7146-3703D4CDFFF9}"/>
                    </a:ext>
                  </a:extLst>
                </p:cNvPr>
                <p:cNvSpPr/>
                <p:nvPr/>
              </p:nvSpPr>
              <p:spPr>
                <a:xfrm>
                  <a:off x="6602281" y="3085777"/>
                  <a:ext cx="20294" cy="8655"/>
                </a:xfrm>
                <a:custGeom>
                  <a:avLst/>
                  <a:gdLst>
                    <a:gd name="connsiteX0" fmla="*/ 813 w 20294"/>
                    <a:gd name="connsiteY0" fmla="*/ 4223 h 8655"/>
                    <a:gd name="connsiteX1" fmla="*/ 9515 w 20294"/>
                    <a:gd name="connsiteY1" fmla="*/ 66 h 8655"/>
                    <a:gd name="connsiteX2" fmla="*/ 17657 w 20294"/>
                    <a:gd name="connsiteY2" fmla="*/ 0 h 8655"/>
                    <a:gd name="connsiteX3" fmla="*/ 20294 w 20294"/>
                    <a:gd name="connsiteY3" fmla="*/ 2738 h 8655"/>
                    <a:gd name="connsiteX4" fmla="*/ 17657 w 20294"/>
                    <a:gd name="connsiteY4" fmla="*/ 5476 h 8655"/>
                    <a:gd name="connsiteX5" fmla="*/ 9977 w 20294"/>
                    <a:gd name="connsiteY5" fmla="*/ 5476 h 8655"/>
                    <a:gd name="connsiteX6" fmla="*/ 4769 w 20294"/>
                    <a:gd name="connsiteY6" fmla="*/ 8016 h 8655"/>
                    <a:gd name="connsiteX7" fmla="*/ 1209 w 20294"/>
                    <a:gd name="connsiteY7" fmla="*/ 8214 h 8655"/>
                    <a:gd name="connsiteX8" fmla="*/ 813 w 20294"/>
                    <a:gd name="connsiteY8" fmla="*/ 4223 h 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55">
                      <a:moveTo>
                        <a:pt x="813" y="4223"/>
                      </a:moveTo>
                      <a:cubicBezTo>
                        <a:pt x="3088" y="1847"/>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07"/>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1224" name="Freeform 1223">
                  <a:extLst>
                    <a:ext uri="{FF2B5EF4-FFF2-40B4-BE49-F238E27FC236}">
                      <a16:creationId xmlns:a16="http://schemas.microsoft.com/office/drawing/2014/main" id="{3C4D2613-15DA-FB9A-8D61-1B04A976ADC0}"/>
                    </a:ext>
                  </a:extLst>
                </p:cNvPr>
                <p:cNvSpPr/>
                <p:nvPr/>
              </p:nvSpPr>
              <p:spPr>
                <a:xfrm>
                  <a:off x="6583666" y="3107319"/>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225" name="Freeform 1224">
                  <a:extLst>
                    <a:ext uri="{FF2B5EF4-FFF2-40B4-BE49-F238E27FC236}">
                      <a16:creationId xmlns:a16="http://schemas.microsoft.com/office/drawing/2014/main" id="{CFE4E89A-F743-DD9D-BC25-C9AAB3F6F669}"/>
                    </a:ext>
                  </a:extLst>
                </p:cNvPr>
                <p:cNvSpPr/>
                <p:nvPr/>
              </p:nvSpPr>
              <p:spPr>
                <a:xfrm>
                  <a:off x="6578800" y="3140422"/>
                  <a:ext cx="13395" cy="18899"/>
                </a:xfrm>
                <a:custGeom>
                  <a:avLst/>
                  <a:gdLst>
                    <a:gd name="connsiteX0" fmla="*/ 8307 w 13395"/>
                    <a:gd name="connsiteY0" fmla="*/ 17600 h 18899"/>
                    <a:gd name="connsiteX1" fmla="*/ 396 w 13395"/>
                    <a:gd name="connsiteY1" fmla="*/ 3909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09"/>
                      </a:lnTo>
                      <a:cubicBezTo>
                        <a:pt x="-527" y="2260"/>
                        <a:pt x="264" y="479"/>
                        <a:pt x="1747" y="116"/>
                      </a:cubicBezTo>
                      <a:cubicBezTo>
                        <a:pt x="3197" y="-247"/>
                        <a:pt x="4615"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226" name="Freeform 1225">
                  <a:extLst>
                    <a:ext uri="{FF2B5EF4-FFF2-40B4-BE49-F238E27FC236}">
                      <a16:creationId xmlns:a16="http://schemas.microsoft.com/office/drawing/2014/main" id="{6866EB54-DAA9-3E2A-EB1E-290866F36CA0}"/>
                    </a:ext>
                  </a:extLst>
                </p:cNvPr>
                <p:cNvSpPr/>
                <p:nvPr/>
              </p:nvSpPr>
              <p:spPr>
                <a:xfrm>
                  <a:off x="6597247" y="3172193"/>
                  <a:ext cx="15672" cy="16601"/>
                </a:xfrm>
                <a:custGeom>
                  <a:avLst/>
                  <a:gdLst>
                    <a:gd name="connsiteX0" fmla="*/ 12440 w 15672"/>
                    <a:gd name="connsiteY0" fmla="*/ 16541 h 16601"/>
                    <a:gd name="connsiteX1" fmla="*/ 4463 w 15672"/>
                    <a:gd name="connsiteY1" fmla="*/ 11064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2" y="15749"/>
                        <a:pt x="6342" y="13803"/>
                        <a:pt x="4463" y="11064"/>
                      </a:cubicBezTo>
                      <a:cubicBezTo>
                        <a:pt x="2815" y="8425"/>
                        <a:pt x="1727" y="6413"/>
                        <a:pt x="342" y="4038"/>
                      </a:cubicBezTo>
                      <a:cubicBezTo>
                        <a:pt x="-383" y="2785"/>
                        <a:pt x="79" y="1135"/>
                        <a:pt x="1397" y="376"/>
                      </a:cubicBezTo>
                      <a:cubicBezTo>
                        <a:pt x="2716" y="-382"/>
                        <a:pt x="4364" y="46"/>
                        <a:pt x="5089" y="1300"/>
                      </a:cubicBezTo>
                      <a:lnTo>
                        <a:pt x="8946" y="7931"/>
                      </a:lnTo>
                      <a:cubicBezTo>
                        <a:pt x="10067" y="9580"/>
                        <a:pt x="11814" y="10735"/>
                        <a:pt x="13726" y="11197"/>
                      </a:cubicBezTo>
                      <a:cubicBezTo>
                        <a:pt x="14714" y="11460"/>
                        <a:pt x="15604" y="12648"/>
                        <a:pt x="15670" y="14165"/>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1227" name="Freeform 1226">
                  <a:extLst>
                    <a:ext uri="{FF2B5EF4-FFF2-40B4-BE49-F238E27FC236}">
                      <a16:creationId xmlns:a16="http://schemas.microsoft.com/office/drawing/2014/main" id="{D34C4702-0BC7-FC94-5420-8BEE74013842}"/>
                    </a:ext>
                  </a:extLst>
                </p:cNvPr>
                <p:cNvSpPr/>
                <p:nvPr/>
              </p:nvSpPr>
              <p:spPr>
                <a:xfrm>
                  <a:off x="6628773" y="3183686"/>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3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6"/>
                        <a:pt x="0" y="2738"/>
                      </a:cubicBezTo>
                      <a:cubicBezTo>
                        <a:pt x="0" y="1221"/>
                        <a:pt x="1187" y="0"/>
                        <a:pt x="2637" y="0"/>
                      </a:cubicBezTo>
                      <a:lnTo>
                        <a:pt x="18426" y="0"/>
                      </a:lnTo>
                      <a:cubicBezTo>
                        <a:pt x="19877" y="0"/>
                        <a:pt x="21063" y="1221"/>
                        <a:pt x="21063" y="2738"/>
                      </a:cubicBezTo>
                      <a:cubicBezTo>
                        <a:pt x="21063" y="4256"/>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228" name="Freeform 1227">
                  <a:extLst>
                    <a:ext uri="{FF2B5EF4-FFF2-40B4-BE49-F238E27FC236}">
                      <a16:creationId xmlns:a16="http://schemas.microsoft.com/office/drawing/2014/main" id="{809E9DA7-F396-CAA6-4A6E-E304141189DE}"/>
                    </a:ext>
                  </a:extLst>
                </p:cNvPr>
                <p:cNvSpPr/>
                <p:nvPr/>
              </p:nvSpPr>
              <p:spPr>
                <a:xfrm>
                  <a:off x="6663615" y="3164587"/>
                  <a:ext cx="13264" cy="19120"/>
                </a:xfrm>
                <a:custGeom>
                  <a:avLst/>
                  <a:gdLst>
                    <a:gd name="connsiteX0" fmla="*/ 12922 w 13264"/>
                    <a:gd name="connsiteY0" fmla="*/ 4023 h 19120"/>
                    <a:gd name="connsiteX1" fmla="*/ 5010 w 13264"/>
                    <a:gd name="connsiteY1" fmla="*/ 17714 h 19120"/>
                    <a:gd name="connsiteX2" fmla="*/ 1055 w 13264"/>
                    <a:gd name="connsiteY2" fmla="*/ 18439 h 19120"/>
                    <a:gd name="connsiteX3" fmla="*/ 264 w 13264"/>
                    <a:gd name="connsiteY3" fmla="*/ 14975 h 19120"/>
                    <a:gd name="connsiteX4" fmla="*/ 8175 w 13264"/>
                    <a:gd name="connsiteY4" fmla="*/ 1285 h 19120"/>
                    <a:gd name="connsiteX5" fmla="*/ 11867 w 13264"/>
                    <a:gd name="connsiteY5" fmla="*/ 362 h 19120"/>
                    <a:gd name="connsiteX6" fmla="*/ 12922 w 13264"/>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64" h="19120">
                      <a:moveTo>
                        <a:pt x="12922" y="4023"/>
                      </a:moveTo>
                      <a:lnTo>
                        <a:pt x="5010" y="17714"/>
                      </a:lnTo>
                      <a:cubicBezTo>
                        <a:pt x="4054" y="19330"/>
                        <a:pt x="2077" y="19528"/>
                        <a:pt x="1055" y="18439"/>
                      </a:cubicBezTo>
                      <a:cubicBezTo>
                        <a:pt x="0" y="17351"/>
                        <a:pt x="-264" y="15866"/>
                        <a:pt x="264" y="14975"/>
                      </a:cubicBezTo>
                      <a:lnTo>
                        <a:pt x="8175" y="1285"/>
                      </a:lnTo>
                      <a:cubicBezTo>
                        <a:pt x="8900" y="32"/>
                        <a:pt x="10548" y="-364"/>
                        <a:pt x="11867" y="362"/>
                      </a:cubicBezTo>
                      <a:cubicBezTo>
                        <a:pt x="13185" y="1120"/>
                        <a:pt x="13647" y="2770"/>
                        <a:pt x="12922" y="4023"/>
                      </a:cubicBezTo>
                      <a:close/>
                    </a:path>
                  </a:pathLst>
                </a:custGeom>
                <a:solidFill>
                  <a:srgbClr val="5856D6"/>
                </a:solidFill>
                <a:ln w="3283" cap="flat">
                  <a:noFill/>
                  <a:prstDash val="solid"/>
                  <a:miter/>
                </a:ln>
              </p:spPr>
              <p:txBody>
                <a:bodyPr rtlCol="0" anchor="ctr"/>
                <a:lstStyle/>
                <a:p>
                  <a:endParaRPr lang="en-US"/>
                </a:p>
              </p:txBody>
            </p:sp>
            <p:sp>
              <p:nvSpPr>
                <p:cNvPr id="1229" name="Freeform 1228">
                  <a:extLst>
                    <a:ext uri="{FF2B5EF4-FFF2-40B4-BE49-F238E27FC236}">
                      <a16:creationId xmlns:a16="http://schemas.microsoft.com/office/drawing/2014/main" id="{C4CA46A8-74BA-668D-15A9-B6A852E1924A}"/>
                    </a:ext>
                  </a:extLst>
                </p:cNvPr>
                <p:cNvSpPr/>
                <p:nvPr/>
              </p:nvSpPr>
              <p:spPr>
                <a:xfrm>
                  <a:off x="6681963" y="3131624"/>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10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10"/>
                      </a:lnTo>
                      <a:cubicBezTo>
                        <a:pt x="4990" y="7528"/>
                        <a:pt x="5122" y="5417"/>
                        <a:pt x="4595" y="3537"/>
                      </a:cubicBezTo>
                      <a:cubicBezTo>
                        <a:pt x="4331" y="2547"/>
                        <a:pt x="4924" y="1161"/>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230" name="Freeform 1229">
              <a:extLst>
                <a:ext uri="{FF2B5EF4-FFF2-40B4-BE49-F238E27FC236}">
                  <a16:creationId xmlns:a16="http://schemas.microsoft.com/office/drawing/2014/main" id="{7DB7072D-C088-2E3A-6265-273945E6DF87}"/>
                </a:ext>
              </a:extLst>
            </p:cNvPr>
            <p:cNvSpPr/>
            <p:nvPr/>
          </p:nvSpPr>
          <p:spPr>
            <a:xfrm>
              <a:off x="6607429" y="3112992"/>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520"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231" name="Graphic 776">
            <a:extLst>
              <a:ext uri="{FF2B5EF4-FFF2-40B4-BE49-F238E27FC236}">
                <a16:creationId xmlns:a16="http://schemas.microsoft.com/office/drawing/2014/main" id="{6ABD7091-3AB2-ABA0-FABC-75243EFD2AC9}"/>
              </a:ext>
            </a:extLst>
          </p:cNvPr>
          <p:cNvGrpSpPr/>
          <p:nvPr/>
        </p:nvGrpSpPr>
        <p:grpSpPr>
          <a:xfrm>
            <a:off x="7240750" y="3626452"/>
            <a:ext cx="578011" cy="534971"/>
            <a:chOff x="6755022" y="3606432"/>
            <a:chExt cx="578011" cy="534971"/>
          </a:xfrm>
        </p:grpSpPr>
        <p:sp>
          <p:nvSpPr>
            <p:cNvPr id="1232" name="Freeform 1231">
              <a:extLst>
                <a:ext uri="{FF2B5EF4-FFF2-40B4-BE49-F238E27FC236}">
                  <a16:creationId xmlns:a16="http://schemas.microsoft.com/office/drawing/2014/main" id="{A029D6FF-5DC2-BF59-F317-15D678812B50}"/>
                </a:ext>
              </a:extLst>
            </p:cNvPr>
            <p:cNvSpPr/>
            <p:nvPr/>
          </p:nvSpPr>
          <p:spPr>
            <a:xfrm>
              <a:off x="6757066" y="3608477"/>
              <a:ext cx="573989" cy="530914"/>
            </a:xfrm>
            <a:custGeom>
              <a:avLst/>
              <a:gdLst>
                <a:gd name="connsiteX0" fmla="*/ 368364 w 573989"/>
                <a:gd name="connsiteY0" fmla="*/ 530915 h 530914"/>
                <a:gd name="connsiteX1" fmla="*/ 476022 w 573989"/>
                <a:gd name="connsiteY1" fmla="*/ 468699 h 530914"/>
                <a:gd name="connsiteX2" fmla="*/ 557376 w 573989"/>
                <a:gd name="connsiteY2" fmla="*/ 327673 h 530914"/>
                <a:gd name="connsiteX3" fmla="*/ 557376 w 573989"/>
                <a:gd name="connsiteY3" fmla="*/ 203241 h 530914"/>
                <a:gd name="connsiteX4" fmla="*/ 476022 w 573989"/>
                <a:gd name="connsiteY4" fmla="*/ 62216 h 530914"/>
                <a:gd name="connsiteX5" fmla="*/ 368331 w 573989"/>
                <a:gd name="connsiteY5" fmla="*/ 0 h 530914"/>
                <a:gd name="connsiteX6" fmla="*/ 205625 w 573989"/>
                <a:gd name="connsiteY6" fmla="*/ 0 h 530914"/>
                <a:gd name="connsiteX7" fmla="*/ 97967 w 573989"/>
                <a:gd name="connsiteY7" fmla="*/ 62216 h 530914"/>
                <a:gd name="connsiteX8" fmla="*/ 16613 w 573989"/>
                <a:gd name="connsiteY8" fmla="*/ 203241 h 530914"/>
                <a:gd name="connsiteX9" fmla="*/ 16613 w 573989"/>
                <a:gd name="connsiteY9" fmla="*/ 327673 h 530914"/>
                <a:gd name="connsiteX10" fmla="*/ 97967 w 573989"/>
                <a:gd name="connsiteY10" fmla="*/ 468699 h 530914"/>
                <a:gd name="connsiteX11" fmla="*/ 205625 w 573989"/>
                <a:gd name="connsiteY11" fmla="*/ 530915 h 530914"/>
                <a:gd name="connsiteX12" fmla="*/ 368331 w 573989"/>
                <a:gd name="connsiteY12" fmla="*/ 530915 h 53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14">
                  <a:moveTo>
                    <a:pt x="368364" y="530915"/>
                  </a:moveTo>
                  <a:cubicBezTo>
                    <a:pt x="412634" y="530915"/>
                    <a:pt x="453904" y="507097"/>
                    <a:pt x="476022" y="468699"/>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1233" name="Graphic 776">
              <a:extLst>
                <a:ext uri="{FF2B5EF4-FFF2-40B4-BE49-F238E27FC236}">
                  <a16:creationId xmlns:a16="http://schemas.microsoft.com/office/drawing/2014/main" id="{E122E7BA-C42C-5C6D-B493-590316BF0325}"/>
                </a:ext>
              </a:extLst>
            </p:cNvPr>
            <p:cNvGrpSpPr/>
            <p:nvPr/>
          </p:nvGrpSpPr>
          <p:grpSpPr>
            <a:xfrm>
              <a:off x="6755022" y="3606432"/>
              <a:ext cx="578011" cy="534971"/>
              <a:chOff x="6755022" y="3606432"/>
              <a:chExt cx="578011" cy="534971"/>
            </a:xfrm>
            <a:solidFill>
              <a:srgbClr val="5856D6"/>
            </a:solidFill>
          </p:grpSpPr>
          <p:sp>
            <p:nvSpPr>
              <p:cNvPr id="1234" name="Freeform 1233">
                <a:extLst>
                  <a:ext uri="{FF2B5EF4-FFF2-40B4-BE49-F238E27FC236}">
                    <a16:creationId xmlns:a16="http://schemas.microsoft.com/office/drawing/2014/main" id="{A95C9079-B64E-CAFF-77A9-DA882CE8E1B8}"/>
                  </a:ext>
                </a:extLst>
              </p:cNvPr>
              <p:cNvSpPr/>
              <p:nvPr/>
            </p:nvSpPr>
            <p:spPr>
              <a:xfrm>
                <a:off x="7137750" y="4134420"/>
                <a:ext cx="16249" cy="6133"/>
              </a:xfrm>
              <a:custGeom>
                <a:avLst/>
                <a:gdLst>
                  <a:gd name="connsiteX0" fmla="*/ 13787 w 16249"/>
                  <a:gd name="connsiteY0" fmla="*/ 23 h 6133"/>
                  <a:gd name="connsiteX1" fmla="*/ 7820 w 16249"/>
                  <a:gd name="connsiteY1" fmla="*/ 1178 h 6133"/>
                  <a:gd name="connsiteX2" fmla="*/ 1821 w 16249"/>
                  <a:gd name="connsiteY2" fmla="*/ 2035 h 6133"/>
                  <a:gd name="connsiteX3" fmla="*/ 8 w 16249"/>
                  <a:gd name="connsiteY3" fmla="*/ 4279 h 6133"/>
                  <a:gd name="connsiteX4" fmla="*/ 2283 w 16249"/>
                  <a:gd name="connsiteY4" fmla="*/ 6126 h 6133"/>
                  <a:gd name="connsiteX5" fmla="*/ 8480 w 16249"/>
                  <a:gd name="connsiteY5" fmla="*/ 5235 h 6133"/>
                  <a:gd name="connsiteX6" fmla="*/ 14644 w 16249"/>
                  <a:gd name="connsiteY6" fmla="*/ 4048 h 6133"/>
                  <a:gd name="connsiteX7" fmla="*/ 16193 w 16249"/>
                  <a:gd name="connsiteY7" fmla="*/ 1574 h 6133"/>
                  <a:gd name="connsiteX8" fmla="*/ 13754 w 16249"/>
                  <a:gd name="connsiteY8" fmla="*/ 56 h 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3">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94"/>
                      <a:pt x="6436" y="5565"/>
                      <a:pt x="8480" y="5235"/>
                    </a:cubicBezTo>
                    <a:cubicBezTo>
                      <a:pt x="10556" y="4872"/>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235" name="Freeform 1234">
                <a:extLst>
                  <a:ext uri="{FF2B5EF4-FFF2-40B4-BE49-F238E27FC236}">
                    <a16:creationId xmlns:a16="http://schemas.microsoft.com/office/drawing/2014/main" id="{152B3947-E845-C3B3-9EED-9BD3B10565A1}"/>
                  </a:ext>
                </a:extLst>
              </p:cNvPr>
              <p:cNvSpPr/>
              <p:nvPr/>
            </p:nvSpPr>
            <p:spPr>
              <a:xfrm>
                <a:off x="7165699" y="4125021"/>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1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1"/>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236" name="Freeform 1235">
                <a:extLst>
                  <a:ext uri="{FF2B5EF4-FFF2-40B4-BE49-F238E27FC236}">
                    <a16:creationId xmlns:a16="http://schemas.microsoft.com/office/drawing/2014/main" id="{12A4CABC-6FEA-21C2-CD34-78823801AF98}"/>
                  </a:ext>
                </a:extLst>
              </p:cNvPr>
              <p:cNvSpPr/>
              <p:nvPr/>
            </p:nvSpPr>
            <p:spPr>
              <a:xfrm>
                <a:off x="7191404" y="4109621"/>
                <a:ext cx="14067" cy="11396"/>
              </a:xfrm>
              <a:custGeom>
                <a:avLst/>
                <a:gdLst>
                  <a:gd name="connsiteX0" fmla="*/ 10732 w 14067"/>
                  <a:gd name="connsiteY0" fmla="*/ 477 h 11396"/>
                  <a:gd name="connsiteX1" fmla="*/ 5919 w 14067"/>
                  <a:gd name="connsiteY1" fmla="*/ 4172 h 11396"/>
                  <a:gd name="connsiteX2" fmla="*/ 942 w 14067"/>
                  <a:gd name="connsiteY2" fmla="*/ 7635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5"/>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237" name="Freeform 1236">
                <a:extLst>
                  <a:ext uri="{FF2B5EF4-FFF2-40B4-BE49-F238E27FC236}">
                    <a16:creationId xmlns:a16="http://schemas.microsoft.com/office/drawing/2014/main" id="{9E792A89-92B2-6796-0A8B-E64FFF5AE90B}"/>
                  </a:ext>
                </a:extLst>
              </p:cNvPr>
              <p:cNvSpPr/>
              <p:nvPr/>
            </p:nvSpPr>
            <p:spPr>
              <a:xfrm>
                <a:off x="7213520" y="4089172"/>
                <a:ext cx="12186" cy="13446"/>
              </a:xfrm>
              <a:custGeom>
                <a:avLst/>
                <a:gdLst>
                  <a:gd name="connsiteX0" fmla="*/ 8493 w 12186"/>
                  <a:gd name="connsiteY0" fmla="*/ 803 h 13446"/>
                  <a:gd name="connsiteX1" fmla="*/ 549 w 12186"/>
                  <a:gd name="connsiteY1" fmla="*/ 9973 h 13446"/>
                  <a:gd name="connsiteX2" fmla="*/ 615 w 12186"/>
                  <a:gd name="connsiteY2" fmla="*/ 12876 h 13446"/>
                  <a:gd name="connsiteX3" fmla="*/ 615 w 12186"/>
                  <a:gd name="connsiteY3" fmla="*/ 12876 h 13446"/>
                  <a:gd name="connsiteX4" fmla="*/ 3515 w 12186"/>
                  <a:gd name="connsiteY4" fmla="*/ 12778 h 13446"/>
                  <a:gd name="connsiteX5" fmla="*/ 11756 w 12186"/>
                  <a:gd name="connsiteY5" fmla="*/ 3310 h 13446"/>
                  <a:gd name="connsiteX6" fmla="*/ 11360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3"/>
                    </a:cubicBezTo>
                    <a:cubicBezTo>
                      <a:pt x="-209" y="10765"/>
                      <a:pt x="-177" y="12085"/>
                      <a:pt x="615" y="12876"/>
                    </a:cubicBezTo>
                    <a:lnTo>
                      <a:pt x="615" y="12876"/>
                    </a:lnTo>
                    <a:cubicBezTo>
                      <a:pt x="1406" y="13668"/>
                      <a:pt x="2724" y="13635"/>
                      <a:pt x="3515" y="12778"/>
                    </a:cubicBezTo>
                    <a:cubicBezTo>
                      <a:pt x="6482" y="9809"/>
                      <a:pt x="9086" y="6543"/>
                      <a:pt x="11756" y="3310"/>
                    </a:cubicBezTo>
                    <a:cubicBezTo>
                      <a:pt x="12481" y="2419"/>
                      <a:pt x="12251" y="1067"/>
                      <a:pt x="11360"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238" name="Freeform 1237">
                <a:extLst>
                  <a:ext uri="{FF2B5EF4-FFF2-40B4-BE49-F238E27FC236}">
                    <a16:creationId xmlns:a16="http://schemas.microsoft.com/office/drawing/2014/main" id="{3D40610C-1721-864A-7EA3-C97D4E6AAAFA}"/>
                  </a:ext>
                </a:extLst>
              </p:cNvPr>
              <p:cNvSpPr/>
              <p:nvPr/>
            </p:nvSpPr>
            <p:spPr>
              <a:xfrm>
                <a:off x="7230748" y="4064862"/>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6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76"/>
                      <a:pt x="33" y="13897"/>
                      <a:pt x="989" y="14490"/>
                    </a:cubicBezTo>
                    <a:cubicBezTo>
                      <a:pt x="1945" y="15084"/>
                      <a:pt x="3230" y="14754"/>
                      <a:pt x="3857" y="13765"/>
                    </a:cubicBezTo>
                    <a:lnTo>
                      <a:pt x="10054" y="3076"/>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239" name="Freeform 1238">
                <a:extLst>
                  <a:ext uri="{FF2B5EF4-FFF2-40B4-BE49-F238E27FC236}">
                    <a16:creationId xmlns:a16="http://schemas.microsoft.com/office/drawing/2014/main" id="{67730072-E13A-9126-C4AD-620476A0BA7D}"/>
                  </a:ext>
                </a:extLst>
              </p:cNvPr>
              <p:cNvSpPr/>
              <p:nvPr/>
            </p:nvSpPr>
            <p:spPr>
              <a:xfrm>
                <a:off x="7245210" y="4039890"/>
                <a:ext cx="10268" cy="14795"/>
              </a:xfrm>
              <a:custGeom>
                <a:avLst/>
                <a:gdLst>
                  <a:gd name="connsiteX0" fmla="*/ 6437 w 10268"/>
                  <a:gd name="connsiteY0" fmla="*/ 1031 h 14795"/>
                  <a:gd name="connsiteX1" fmla="*/ 272 w 10268"/>
                  <a:gd name="connsiteY1" fmla="*/ 11720 h 14795"/>
                  <a:gd name="connsiteX2" fmla="*/ 1031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7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7"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cubicBezTo>
                      <a:pt x="8249" y="-288"/>
                      <a:pt x="6997" y="42"/>
                      <a:pt x="6437" y="1031"/>
                    </a:cubicBezTo>
                    <a:close/>
                  </a:path>
                </a:pathLst>
              </a:custGeom>
              <a:solidFill>
                <a:srgbClr val="5856D6"/>
              </a:solidFill>
              <a:ln w="3283" cap="flat">
                <a:noFill/>
                <a:prstDash val="solid"/>
                <a:miter/>
              </a:ln>
            </p:spPr>
            <p:txBody>
              <a:bodyPr rtlCol="0" anchor="ctr"/>
              <a:lstStyle/>
              <a:p>
                <a:endParaRPr lang="en-US"/>
              </a:p>
            </p:txBody>
          </p:sp>
          <p:sp>
            <p:nvSpPr>
              <p:cNvPr id="1240" name="Freeform 1239">
                <a:extLst>
                  <a:ext uri="{FF2B5EF4-FFF2-40B4-BE49-F238E27FC236}">
                    <a16:creationId xmlns:a16="http://schemas.microsoft.com/office/drawing/2014/main" id="{596713CB-F6E8-152E-9191-1CB74BD2928D}"/>
                  </a:ext>
                </a:extLst>
              </p:cNvPr>
              <p:cNvSpPr/>
              <p:nvPr/>
            </p:nvSpPr>
            <p:spPr>
              <a:xfrm>
                <a:off x="7259615" y="4014918"/>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1" name="Freeform 1240">
                <a:extLst>
                  <a:ext uri="{FF2B5EF4-FFF2-40B4-BE49-F238E27FC236}">
                    <a16:creationId xmlns:a16="http://schemas.microsoft.com/office/drawing/2014/main" id="{BAC709DB-316E-6927-E309-360A8CFCEC3B}"/>
                  </a:ext>
                </a:extLst>
              </p:cNvPr>
              <p:cNvSpPr/>
              <p:nvPr/>
            </p:nvSpPr>
            <p:spPr>
              <a:xfrm>
                <a:off x="7274020" y="3989946"/>
                <a:ext cx="10268" cy="14796"/>
              </a:xfrm>
              <a:custGeom>
                <a:avLst/>
                <a:gdLst>
                  <a:gd name="connsiteX0" fmla="*/ 6436 w 10268"/>
                  <a:gd name="connsiteY0" fmla="*/ 1031 h 14796"/>
                  <a:gd name="connsiteX1" fmla="*/ 272 w 10268"/>
                  <a:gd name="connsiteY1" fmla="*/ 11720 h 14796"/>
                  <a:gd name="connsiteX2" fmla="*/ 1030 w 10268"/>
                  <a:gd name="connsiteY2" fmla="*/ 14523 h 14796"/>
                  <a:gd name="connsiteX3" fmla="*/ 3832 w 10268"/>
                  <a:gd name="connsiteY3" fmla="*/ 13765 h 14796"/>
                  <a:gd name="connsiteX4" fmla="*/ 9996 w 10268"/>
                  <a:gd name="connsiteY4" fmla="*/ 3077 h 14796"/>
                  <a:gd name="connsiteX5" fmla="*/ 9238 w 10268"/>
                  <a:gd name="connsiteY5" fmla="*/ 272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2" name="Freeform 1241">
                <a:extLst>
                  <a:ext uri="{FF2B5EF4-FFF2-40B4-BE49-F238E27FC236}">
                    <a16:creationId xmlns:a16="http://schemas.microsoft.com/office/drawing/2014/main" id="{E0019F96-750B-C0E9-8D98-E4D09B9F7320}"/>
                  </a:ext>
                </a:extLst>
              </p:cNvPr>
              <p:cNvSpPr/>
              <p:nvPr/>
            </p:nvSpPr>
            <p:spPr>
              <a:xfrm>
                <a:off x="7288425" y="3964974"/>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7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7"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3" name="Freeform 1242">
                <a:extLst>
                  <a:ext uri="{FF2B5EF4-FFF2-40B4-BE49-F238E27FC236}">
                    <a16:creationId xmlns:a16="http://schemas.microsoft.com/office/drawing/2014/main" id="{9D290FA0-7C41-97B8-51AE-E6FAC0F57B32}"/>
                  </a:ext>
                </a:extLst>
              </p:cNvPr>
              <p:cNvSpPr/>
              <p:nvPr/>
            </p:nvSpPr>
            <p:spPr>
              <a:xfrm>
                <a:off x="7302830" y="3940035"/>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3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19"/>
                    </a:lnTo>
                    <a:cubicBezTo>
                      <a:pt x="-288" y="12709"/>
                      <a:pt x="42" y="13963"/>
                      <a:pt x="1030" y="14523"/>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244" name="Freeform 1243">
                <a:extLst>
                  <a:ext uri="{FF2B5EF4-FFF2-40B4-BE49-F238E27FC236}">
                    <a16:creationId xmlns:a16="http://schemas.microsoft.com/office/drawing/2014/main" id="{0E8D5572-E197-EBCD-9094-A0AC6597C1B9}"/>
                  </a:ext>
                </a:extLst>
              </p:cNvPr>
              <p:cNvSpPr/>
              <p:nvPr/>
            </p:nvSpPr>
            <p:spPr>
              <a:xfrm>
                <a:off x="7316874" y="3914169"/>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8" y="14823"/>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245" name="Freeform 1244">
                <a:extLst>
                  <a:ext uri="{FF2B5EF4-FFF2-40B4-BE49-F238E27FC236}">
                    <a16:creationId xmlns:a16="http://schemas.microsoft.com/office/drawing/2014/main" id="{3BF1EE71-4BA7-5BC9-E447-3AC9601A07DB}"/>
                  </a:ext>
                </a:extLst>
              </p:cNvPr>
              <p:cNvSpPr/>
              <p:nvPr/>
            </p:nvSpPr>
            <p:spPr>
              <a:xfrm>
                <a:off x="7326155" y="3886165"/>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19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7"/>
                      <a:pt x="4076" y="14655"/>
                    </a:cubicBezTo>
                    <a:cubicBezTo>
                      <a:pt x="4603" y="12610"/>
                      <a:pt x="4900" y="10564"/>
                      <a:pt x="5230" y="8486"/>
                    </a:cubicBezTo>
                    <a:cubicBezTo>
                      <a:pt x="5526" y="6408"/>
                      <a:pt x="5988" y="4363"/>
                      <a:pt x="6119"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246" name="Freeform 1245">
                <a:extLst>
                  <a:ext uri="{FF2B5EF4-FFF2-40B4-BE49-F238E27FC236}">
                    <a16:creationId xmlns:a16="http://schemas.microsoft.com/office/drawing/2014/main" id="{018DA10D-37F2-C4CC-A5C2-14B5EF5D4B2F}"/>
                  </a:ext>
                </a:extLst>
              </p:cNvPr>
              <p:cNvSpPr/>
              <p:nvPr/>
            </p:nvSpPr>
            <p:spPr>
              <a:xfrm>
                <a:off x="7328113" y="3857386"/>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5"/>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247" name="Freeform 1246">
                <a:extLst>
                  <a:ext uri="{FF2B5EF4-FFF2-40B4-BE49-F238E27FC236}">
                    <a16:creationId xmlns:a16="http://schemas.microsoft.com/office/drawing/2014/main" id="{31F7C656-3154-0587-F3F7-3959D7C2CCD4}"/>
                  </a:ext>
                </a:extLst>
              </p:cNvPr>
              <p:cNvSpPr/>
              <p:nvPr/>
            </p:nvSpPr>
            <p:spPr>
              <a:xfrm>
                <a:off x="7321513" y="3829454"/>
                <a:ext cx="7718" cy="15892"/>
              </a:xfrm>
              <a:custGeom>
                <a:avLst/>
                <a:gdLst>
                  <a:gd name="connsiteX0" fmla="*/ 147 w 7718"/>
                  <a:gd name="connsiteY0" fmla="*/ 2718 h 15892"/>
                  <a:gd name="connsiteX1" fmla="*/ 2059 w 7718"/>
                  <a:gd name="connsiteY1" fmla="*/ 8491 h 15892"/>
                  <a:gd name="connsiteX2" fmla="*/ 3707 w 7718"/>
                  <a:gd name="connsiteY2" fmla="*/ 14330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1" y="6544"/>
                      <a:pt x="2059" y="8491"/>
                    </a:cubicBezTo>
                    <a:cubicBezTo>
                      <a:pt x="2586" y="10437"/>
                      <a:pt x="3311" y="12350"/>
                      <a:pt x="3707" y="14330"/>
                    </a:cubicBezTo>
                    <a:cubicBezTo>
                      <a:pt x="3971" y="15418"/>
                      <a:pt x="5059" y="16078"/>
                      <a:pt x="6146" y="15847"/>
                    </a:cubicBezTo>
                    <a:lnTo>
                      <a:pt x="6146" y="15847"/>
                    </a:lnTo>
                    <a:cubicBezTo>
                      <a:pt x="7234" y="15583"/>
                      <a:pt x="7926" y="14461"/>
                      <a:pt x="7663" y="13340"/>
                    </a:cubicBezTo>
                    <a:cubicBezTo>
                      <a:pt x="7234" y="11294"/>
                      <a:pt x="6509" y="9315"/>
                      <a:pt x="5949" y="7303"/>
                    </a:cubicBezTo>
                    <a:cubicBezTo>
                      <a:pt x="5388" y="5291"/>
                      <a:pt x="4729" y="3278"/>
                      <a:pt x="3971" y="1365"/>
                    </a:cubicBezTo>
                    <a:cubicBezTo>
                      <a:pt x="3575" y="276"/>
                      <a:pt x="2389" y="-284"/>
                      <a:pt x="1334" y="144"/>
                    </a:cubicBezTo>
                    <a:lnTo>
                      <a:pt x="1334" y="144"/>
                    </a:lnTo>
                    <a:cubicBezTo>
                      <a:pt x="279" y="540"/>
                      <a:pt x="-248" y="1728"/>
                      <a:pt x="114" y="2784"/>
                    </a:cubicBezTo>
                    <a:close/>
                  </a:path>
                </a:pathLst>
              </a:custGeom>
              <a:solidFill>
                <a:srgbClr val="5856D6"/>
              </a:solidFill>
              <a:ln w="3283" cap="flat">
                <a:noFill/>
                <a:prstDash val="solid"/>
                <a:miter/>
              </a:ln>
            </p:spPr>
            <p:txBody>
              <a:bodyPr rtlCol="0" anchor="ctr"/>
              <a:lstStyle/>
              <a:p>
                <a:endParaRPr lang="en-US"/>
              </a:p>
            </p:txBody>
          </p:sp>
          <p:sp>
            <p:nvSpPr>
              <p:cNvPr id="1248" name="Freeform 1247">
                <a:extLst>
                  <a:ext uri="{FF2B5EF4-FFF2-40B4-BE49-F238E27FC236}">
                    <a16:creationId xmlns:a16="http://schemas.microsoft.com/office/drawing/2014/main" id="{23626E48-620E-9E18-20AD-986DDCFDD3DD}"/>
                  </a:ext>
                </a:extLst>
              </p:cNvPr>
              <p:cNvSpPr/>
              <p:nvPr/>
            </p:nvSpPr>
            <p:spPr>
              <a:xfrm>
                <a:off x="7308895" y="3803562"/>
                <a:ext cx="10138" cy="14890"/>
              </a:xfrm>
              <a:custGeom>
                <a:avLst/>
                <a:gdLst>
                  <a:gd name="connsiteX0" fmla="*/ 272 w 10138"/>
                  <a:gd name="connsiteY0" fmla="*/ 3077 h 14890"/>
                  <a:gd name="connsiteX1" fmla="*/ 6239 w 10138"/>
                  <a:gd name="connsiteY1" fmla="*/ 13798 h 14890"/>
                  <a:gd name="connsiteX2" fmla="*/ 9041 w 10138"/>
                  <a:gd name="connsiteY2" fmla="*/ 14656 h 14890"/>
                  <a:gd name="connsiteX3" fmla="*/ 9041 w 10138"/>
                  <a:gd name="connsiteY3" fmla="*/ 14656 h 14890"/>
                  <a:gd name="connsiteX4" fmla="*/ 9898 w 10138"/>
                  <a:gd name="connsiteY4" fmla="*/ 11884 h 14890"/>
                  <a:gd name="connsiteX5" fmla="*/ 3832 w 10138"/>
                  <a:gd name="connsiteY5" fmla="*/ 1031 h 14890"/>
                  <a:gd name="connsiteX6" fmla="*/ 1031 w 10138"/>
                  <a:gd name="connsiteY6" fmla="*/ 272 h 14890"/>
                  <a:gd name="connsiteX7" fmla="*/ 272 w 10138"/>
                  <a:gd name="connsiteY7" fmla="*/ 3077 h 1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90">
                    <a:moveTo>
                      <a:pt x="272" y="3077"/>
                    </a:moveTo>
                    <a:cubicBezTo>
                      <a:pt x="2349" y="6639"/>
                      <a:pt x="4393" y="10202"/>
                      <a:pt x="6239" y="13798"/>
                    </a:cubicBezTo>
                    <a:cubicBezTo>
                      <a:pt x="6766" y="14787"/>
                      <a:pt x="8019" y="15183"/>
                      <a:pt x="9041" y="14656"/>
                    </a:cubicBezTo>
                    <a:lnTo>
                      <a:pt x="9041" y="14656"/>
                    </a:lnTo>
                    <a:cubicBezTo>
                      <a:pt x="10062" y="14161"/>
                      <a:pt x="10425" y="12907"/>
                      <a:pt x="9898" y="11884"/>
                    </a:cubicBezTo>
                    <a:cubicBezTo>
                      <a:pt x="7953" y="8157"/>
                      <a:pt x="5909" y="4561"/>
                      <a:pt x="3832" y="1031"/>
                    </a:cubicBezTo>
                    <a:cubicBezTo>
                      <a:pt x="3272" y="42"/>
                      <a:pt x="2019" y="-288"/>
                      <a:pt x="1031"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49" name="Freeform 1248">
                <a:extLst>
                  <a:ext uri="{FF2B5EF4-FFF2-40B4-BE49-F238E27FC236}">
                    <a16:creationId xmlns:a16="http://schemas.microsoft.com/office/drawing/2014/main" id="{AF5B91E1-D8F2-374B-148D-7C0AAACD80BF}"/>
                  </a:ext>
                </a:extLst>
              </p:cNvPr>
              <p:cNvSpPr/>
              <p:nvPr/>
            </p:nvSpPr>
            <p:spPr>
              <a:xfrm>
                <a:off x="7294490" y="3778590"/>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1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50" y="15084"/>
                      <a:pt x="9238" y="14523"/>
                    </a:cubicBez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0" name="Freeform 1249">
                <a:extLst>
                  <a:ext uri="{FF2B5EF4-FFF2-40B4-BE49-F238E27FC236}">
                    <a16:creationId xmlns:a16="http://schemas.microsoft.com/office/drawing/2014/main" id="{50A0BDC9-F188-A43C-9B00-CA9D7E92BA5B}"/>
                  </a:ext>
                </a:extLst>
              </p:cNvPr>
              <p:cNvSpPr/>
              <p:nvPr/>
            </p:nvSpPr>
            <p:spPr>
              <a:xfrm>
                <a:off x="7280085" y="3753650"/>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1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1" name="Freeform 1250">
                <a:extLst>
                  <a:ext uri="{FF2B5EF4-FFF2-40B4-BE49-F238E27FC236}">
                    <a16:creationId xmlns:a16="http://schemas.microsoft.com/office/drawing/2014/main" id="{6AE65894-8305-7AFA-0714-4560CC6CF5F2}"/>
                  </a:ext>
                </a:extLst>
              </p:cNvPr>
              <p:cNvSpPr/>
              <p:nvPr/>
            </p:nvSpPr>
            <p:spPr>
              <a:xfrm>
                <a:off x="7265713" y="3728678"/>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0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4"/>
                    </a:cubicBezTo>
                    <a:lnTo>
                      <a:pt x="9238" y="14524"/>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2" name="Freeform 1251">
                <a:extLst>
                  <a:ext uri="{FF2B5EF4-FFF2-40B4-BE49-F238E27FC236}">
                    <a16:creationId xmlns:a16="http://schemas.microsoft.com/office/drawing/2014/main" id="{E87ACB0C-27C4-4A22-1DED-6A855E8024E7}"/>
                  </a:ext>
                </a:extLst>
              </p:cNvPr>
              <p:cNvSpPr/>
              <p:nvPr/>
            </p:nvSpPr>
            <p:spPr>
              <a:xfrm>
                <a:off x="7251308" y="3703706"/>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996 w 10268"/>
                  <a:gd name="connsiteY3" fmla="*/ 11719 h 14796"/>
                  <a:gd name="connsiteX4" fmla="*/ 3832 w 10268"/>
                  <a:gd name="connsiteY4" fmla="*/ 1031 h 14796"/>
                  <a:gd name="connsiteX5" fmla="*/ 1030 w 10268"/>
                  <a:gd name="connsiteY5" fmla="*/ 273 h 14796"/>
                  <a:gd name="connsiteX6" fmla="*/ 272 w 10268"/>
                  <a:gd name="connsiteY6"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272" y="3077"/>
                    </a:moveTo>
                    <a:lnTo>
                      <a:pt x="6436" y="13765"/>
                    </a:lnTo>
                    <a:cubicBezTo>
                      <a:pt x="6997" y="14755"/>
                      <a:pt x="8249" y="15084"/>
                      <a:pt x="9238" y="14524"/>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253" name="Freeform 1252">
                <a:extLst>
                  <a:ext uri="{FF2B5EF4-FFF2-40B4-BE49-F238E27FC236}">
                    <a16:creationId xmlns:a16="http://schemas.microsoft.com/office/drawing/2014/main" id="{85191B7B-8F67-4155-CD40-BEE221521506}"/>
                  </a:ext>
                </a:extLst>
              </p:cNvPr>
              <p:cNvSpPr/>
              <p:nvPr/>
            </p:nvSpPr>
            <p:spPr>
              <a:xfrm>
                <a:off x="7236903" y="3678734"/>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2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2019"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254" name="Freeform 1253">
                <a:extLst>
                  <a:ext uri="{FF2B5EF4-FFF2-40B4-BE49-F238E27FC236}">
                    <a16:creationId xmlns:a16="http://schemas.microsoft.com/office/drawing/2014/main" id="{C0258046-7500-F512-A2FB-384CB1EB1BC3}"/>
                  </a:ext>
                </a:extLst>
              </p:cNvPr>
              <p:cNvSpPr/>
              <p:nvPr/>
            </p:nvSpPr>
            <p:spPr>
              <a:xfrm>
                <a:off x="7221413" y="3654450"/>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255" name="Freeform 1254">
                <a:extLst>
                  <a:ext uri="{FF2B5EF4-FFF2-40B4-BE49-F238E27FC236}">
                    <a16:creationId xmlns:a16="http://schemas.microsoft.com/office/drawing/2014/main" id="{32332464-9F48-D1BC-DD46-D2C666108BB8}"/>
                  </a:ext>
                </a:extLst>
              </p:cNvPr>
              <p:cNvSpPr/>
              <p:nvPr/>
            </p:nvSpPr>
            <p:spPr>
              <a:xfrm>
                <a:off x="7201296" y="3633971"/>
                <a:ext cx="13324" cy="12286"/>
              </a:xfrm>
              <a:custGeom>
                <a:avLst/>
                <a:gdLst>
                  <a:gd name="connsiteX0" fmla="*/ 708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8"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1"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256" name="Freeform 1255">
                <a:extLst>
                  <a:ext uri="{FF2B5EF4-FFF2-40B4-BE49-F238E27FC236}">
                    <a16:creationId xmlns:a16="http://schemas.microsoft.com/office/drawing/2014/main" id="{F622F082-3601-731D-23FA-38E2BDA07F3C}"/>
                  </a:ext>
                </a:extLst>
              </p:cNvPr>
              <p:cNvSpPr/>
              <p:nvPr/>
            </p:nvSpPr>
            <p:spPr>
              <a:xfrm>
                <a:off x="7176937" y="3618689"/>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20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5" y="4007"/>
                      <a:pt x="8520" y="3050"/>
                    </a:cubicBezTo>
                    <a:cubicBezTo>
                      <a:pt x="6674" y="2093"/>
                      <a:pt x="4861" y="1005"/>
                      <a:pt x="2949" y="180"/>
                    </a:cubicBezTo>
                    <a:cubicBezTo>
                      <a:pt x="1894" y="-282"/>
                      <a:pt x="674"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257" name="Freeform 1256">
                <a:extLst>
                  <a:ext uri="{FF2B5EF4-FFF2-40B4-BE49-F238E27FC236}">
                    <a16:creationId xmlns:a16="http://schemas.microsoft.com/office/drawing/2014/main" id="{820BA009-D74D-7B8E-7AB2-6C976265828C}"/>
                  </a:ext>
                </a:extLst>
              </p:cNvPr>
              <p:cNvSpPr/>
              <p:nvPr/>
            </p:nvSpPr>
            <p:spPr>
              <a:xfrm>
                <a:off x="7149780" y="3609246"/>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6 h 7368"/>
                  <a:gd name="connsiteX8" fmla="*/ 43 w 16004"/>
                  <a:gd name="connsiteY8" fmla="*/ 1606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6"/>
                    </a:cubicBezTo>
                    <a:lnTo>
                      <a:pt x="43" y="1606"/>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258" name="Freeform 1257">
                <a:extLst>
                  <a:ext uri="{FF2B5EF4-FFF2-40B4-BE49-F238E27FC236}">
                    <a16:creationId xmlns:a16="http://schemas.microsoft.com/office/drawing/2014/main" id="{B01E9818-E06D-FB40-DAFF-63E412396581}"/>
                  </a:ext>
                </a:extLst>
              </p:cNvPr>
              <p:cNvSpPr/>
              <p:nvPr/>
            </p:nvSpPr>
            <p:spPr>
              <a:xfrm>
                <a:off x="7121178" y="3606432"/>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59" name="Freeform 1258">
                <a:extLst>
                  <a:ext uri="{FF2B5EF4-FFF2-40B4-BE49-F238E27FC236}">
                    <a16:creationId xmlns:a16="http://schemas.microsoft.com/office/drawing/2014/main" id="{FBD03C8A-171F-3C9F-0E6C-97C45D3C69CF}"/>
                  </a:ext>
                </a:extLst>
              </p:cNvPr>
              <p:cNvSpPr/>
              <p:nvPr/>
            </p:nvSpPr>
            <p:spPr>
              <a:xfrm>
                <a:off x="709236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0" name="Freeform 1259">
                <a:extLst>
                  <a:ext uri="{FF2B5EF4-FFF2-40B4-BE49-F238E27FC236}">
                    <a16:creationId xmlns:a16="http://schemas.microsoft.com/office/drawing/2014/main" id="{52A41C0A-8AF8-EA9E-7CDD-64B62EF1AAE9}"/>
                  </a:ext>
                </a:extLst>
              </p:cNvPr>
              <p:cNvSpPr/>
              <p:nvPr/>
            </p:nvSpPr>
            <p:spPr>
              <a:xfrm>
                <a:off x="706355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1" name="Freeform 1260">
                <a:extLst>
                  <a:ext uri="{FF2B5EF4-FFF2-40B4-BE49-F238E27FC236}">
                    <a16:creationId xmlns:a16="http://schemas.microsoft.com/office/drawing/2014/main" id="{A0FACE18-15CE-9731-46B1-03C65AB8B9A8}"/>
                  </a:ext>
                </a:extLst>
              </p:cNvPr>
              <p:cNvSpPr/>
              <p:nvPr/>
            </p:nvSpPr>
            <p:spPr>
              <a:xfrm>
                <a:off x="703474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2" name="Freeform 1261">
                <a:extLst>
                  <a:ext uri="{FF2B5EF4-FFF2-40B4-BE49-F238E27FC236}">
                    <a16:creationId xmlns:a16="http://schemas.microsoft.com/office/drawing/2014/main" id="{A0C1138D-C6D4-62D9-01E0-F15DECE9FEB8}"/>
                  </a:ext>
                </a:extLst>
              </p:cNvPr>
              <p:cNvSpPr/>
              <p:nvPr/>
            </p:nvSpPr>
            <p:spPr>
              <a:xfrm>
                <a:off x="700593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3" name="Freeform 1262">
                <a:extLst>
                  <a:ext uri="{FF2B5EF4-FFF2-40B4-BE49-F238E27FC236}">
                    <a16:creationId xmlns:a16="http://schemas.microsoft.com/office/drawing/2014/main" id="{B8E6C0AF-0394-C567-E8B0-DEAA4D084C2E}"/>
                  </a:ext>
                </a:extLst>
              </p:cNvPr>
              <p:cNvSpPr/>
              <p:nvPr/>
            </p:nvSpPr>
            <p:spPr>
              <a:xfrm>
                <a:off x="6977128" y="3606432"/>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264" name="Freeform 1263">
                <a:extLst>
                  <a:ext uri="{FF2B5EF4-FFF2-40B4-BE49-F238E27FC236}">
                    <a16:creationId xmlns:a16="http://schemas.microsoft.com/office/drawing/2014/main" id="{0B6F99C8-3BE5-6EC1-4778-CD623C7B6401}"/>
                  </a:ext>
                </a:extLst>
              </p:cNvPr>
              <p:cNvSpPr/>
              <p:nvPr/>
            </p:nvSpPr>
            <p:spPr>
              <a:xfrm>
                <a:off x="6948338" y="3606432"/>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2"/>
                      <a:pt x="10331" y="4255"/>
                      <a:pt x="14386" y="4091"/>
                    </a:cubicBezTo>
                    <a:cubicBezTo>
                      <a:pt x="15507" y="4091"/>
                      <a:pt x="16430" y="3167"/>
                      <a:pt x="16430" y="2045"/>
                    </a:cubicBezTo>
                    <a:cubicBezTo>
                      <a:pt x="16430" y="924"/>
                      <a:pt x="15507" y="0"/>
                      <a:pt x="14386" y="0"/>
                    </a:cubicBezTo>
                    <a:cubicBezTo>
                      <a:pt x="10200"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265" name="Freeform 1264">
                <a:extLst>
                  <a:ext uri="{FF2B5EF4-FFF2-40B4-BE49-F238E27FC236}">
                    <a16:creationId xmlns:a16="http://schemas.microsoft.com/office/drawing/2014/main" id="{0E8DE52C-020F-ED55-CB2B-95C7565BF81A}"/>
                  </a:ext>
                </a:extLst>
              </p:cNvPr>
              <p:cNvSpPr/>
              <p:nvPr/>
            </p:nvSpPr>
            <p:spPr>
              <a:xfrm>
                <a:off x="6920239" y="3609840"/>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3"/>
                      <a:pt x="14400" y="4048"/>
                    </a:cubicBezTo>
                    <a:cubicBezTo>
                      <a:pt x="15488" y="3784"/>
                      <a:pt x="16180" y="2695"/>
                      <a:pt x="15916" y="1574"/>
                    </a:cubicBezTo>
                    <a:cubicBezTo>
                      <a:pt x="15685" y="485"/>
                      <a:pt x="14565" y="-208"/>
                      <a:pt x="13444" y="56"/>
                    </a:cubicBezTo>
                    <a:cubicBezTo>
                      <a:pt x="9357" y="914"/>
                      <a:pt x="5368" y="2266"/>
                      <a:pt x="1379" y="3487"/>
                    </a:cubicBezTo>
                    <a:cubicBezTo>
                      <a:pt x="292" y="3883"/>
                      <a:pt x="-269" y="5104"/>
                      <a:pt x="127" y="6159"/>
                    </a:cubicBezTo>
                    <a:cubicBezTo>
                      <a:pt x="522" y="7215"/>
                      <a:pt x="1676" y="7776"/>
                      <a:pt x="2731" y="7380"/>
                    </a:cubicBezTo>
                    <a:close/>
                  </a:path>
                </a:pathLst>
              </a:custGeom>
              <a:solidFill>
                <a:srgbClr val="5856D6"/>
              </a:solidFill>
              <a:ln w="3283" cap="flat">
                <a:noFill/>
                <a:prstDash val="solid"/>
                <a:miter/>
              </a:ln>
            </p:spPr>
            <p:txBody>
              <a:bodyPr rtlCol="0" anchor="ctr"/>
              <a:lstStyle/>
              <a:p>
                <a:endParaRPr lang="en-US"/>
              </a:p>
            </p:txBody>
          </p:sp>
          <p:sp>
            <p:nvSpPr>
              <p:cNvPr id="1266" name="Freeform 1265">
                <a:extLst>
                  <a:ext uri="{FF2B5EF4-FFF2-40B4-BE49-F238E27FC236}">
                    <a16:creationId xmlns:a16="http://schemas.microsoft.com/office/drawing/2014/main" id="{A4B17784-B283-998B-2C16-36AAF049F11F}"/>
                  </a:ext>
                </a:extLst>
              </p:cNvPr>
              <p:cNvSpPr/>
              <p:nvPr/>
            </p:nvSpPr>
            <p:spPr>
              <a:xfrm>
                <a:off x="6894326" y="3619611"/>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90"/>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267" name="Freeform 1266">
                <a:extLst>
                  <a:ext uri="{FF2B5EF4-FFF2-40B4-BE49-F238E27FC236}">
                    <a16:creationId xmlns:a16="http://schemas.microsoft.com/office/drawing/2014/main" id="{017FF6A9-C834-ACC4-0E5D-70F563C0E4AA}"/>
                  </a:ext>
                </a:extLst>
              </p:cNvPr>
              <p:cNvSpPr/>
              <p:nvPr/>
            </p:nvSpPr>
            <p:spPr>
              <a:xfrm>
                <a:off x="6871996" y="3635409"/>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376"/>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268" name="Freeform 1267">
                <a:extLst>
                  <a:ext uri="{FF2B5EF4-FFF2-40B4-BE49-F238E27FC236}">
                    <a16:creationId xmlns:a16="http://schemas.microsoft.com/office/drawing/2014/main" id="{DE7D2F55-BABF-EAFD-8E98-B99E909CC620}"/>
                  </a:ext>
                </a:extLst>
              </p:cNvPr>
              <p:cNvSpPr/>
              <p:nvPr/>
            </p:nvSpPr>
            <p:spPr>
              <a:xfrm>
                <a:off x="6854364" y="3656183"/>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1"/>
                      <a:pt x="1427" y="9463"/>
                      <a:pt x="306" y="11244"/>
                    </a:cubicBezTo>
                    <a:cubicBezTo>
                      <a:pt x="-288" y="12234"/>
                      <a:pt x="9" y="13487"/>
                      <a:pt x="965" y="14048"/>
                    </a:cubicBezTo>
                    <a:cubicBezTo>
                      <a:pt x="1921"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269" name="Freeform 1268">
                <a:extLst>
                  <a:ext uri="{FF2B5EF4-FFF2-40B4-BE49-F238E27FC236}">
                    <a16:creationId xmlns:a16="http://schemas.microsoft.com/office/drawing/2014/main" id="{711E178B-EFCE-4FCB-B534-41181251B0D5}"/>
                  </a:ext>
                </a:extLst>
              </p:cNvPr>
              <p:cNvSpPr/>
              <p:nvPr/>
            </p:nvSpPr>
            <p:spPr>
              <a:xfrm>
                <a:off x="6839861" y="3680680"/>
                <a:ext cx="10268" cy="14796"/>
              </a:xfrm>
              <a:custGeom>
                <a:avLst/>
                <a:gdLst>
                  <a:gd name="connsiteX0" fmla="*/ 3832 w 10268"/>
                  <a:gd name="connsiteY0" fmla="*/ 13765 h 14796"/>
                  <a:gd name="connsiteX1" fmla="*/ 9997 w 10268"/>
                  <a:gd name="connsiteY1" fmla="*/ 3077 h 14796"/>
                  <a:gd name="connsiteX2" fmla="*/ 9238 w 10268"/>
                  <a:gd name="connsiteY2" fmla="*/ 272 h 14796"/>
                  <a:gd name="connsiteX3" fmla="*/ 6436 w 10268"/>
                  <a:gd name="connsiteY3" fmla="*/ 1031 h 14796"/>
                  <a:gd name="connsiteX4" fmla="*/ 272 w 10268"/>
                  <a:gd name="connsiteY4" fmla="*/ 11720 h 14796"/>
                  <a:gd name="connsiteX5" fmla="*/ 1031 w 10268"/>
                  <a:gd name="connsiteY5" fmla="*/ 14523 h 14796"/>
                  <a:gd name="connsiteX6" fmla="*/ 3832 w 10268"/>
                  <a:gd name="connsiteY6" fmla="*/ 13765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3832" y="13765"/>
                    </a:moveTo>
                    <a:lnTo>
                      <a:pt x="9997" y="3077"/>
                    </a:lnTo>
                    <a:cubicBezTo>
                      <a:pt x="10557" y="2087"/>
                      <a:pt x="10227" y="833"/>
                      <a:pt x="9238" y="272"/>
                    </a:cubicBezTo>
                    <a:cubicBezTo>
                      <a:pt x="8249" y="-288"/>
                      <a:pt x="6997" y="42"/>
                      <a:pt x="6436" y="1031"/>
                    </a:cubicBezTo>
                    <a:lnTo>
                      <a:pt x="272" y="11720"/>
                    </a:lnTo>
                    <a:cubicBezTo>
                      <a:pt x="-288" y="12709"/>
                      <a:pt x="42" y="13963"/>
                      <a:pt x="1031"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0" name="Freeform 1269">
                <a:extLst>
                  <a:ext uri="{FF2B5EF4-FFF2-40B4-BE49-F238E27FC236}">
                    <a16:creationId xmlns:a16="http://schemas.microsoft.com/office/drawing/2014/main" id="{67017FF8-78BF-645C-310E-E6BCF7116FB0}"/>
                  </a:ext>
                </a:extLst>
              </p:cNvPr>
              <p:cNvSpPr/>
              <p:nvPr/>
            </p:nvSpPr>
            <p:spPr>
              <a:xfrm>
                <a:off x="6825456" y="3705652"/>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1" name="Freeform 1270">
                <a:extLst>
                  <a:ext uri="{FF2B5EF4-FFF2-40B4-BE49-F238E27FC236}">
                    <a16:creationId xmlns:a16="http://schemas.microsoft.com/office/drawing/2014/main" id="{A3023CFF-20CC-1B38-AAF1-BC371AA191E0}"/>
                  </a:ext>
                </a:extLst>
              </p:cNvPr>
              <p:cNvSpPr/>
              <p:nvPr/>
            </p:nvSpPr>
            <p:spPr>
              <a:xfrm>
                <a:off x="6811051" y="3730591"/>
                <a:ext cx="10268" cy="14796"/>
              </a:xfrm>
              <a:custGeom>
                <a:avLst/>
                <a:gdLst>
                  <a:gd name="connsiteX0" fmla="*/ 3832 w 10268"/>
                  <a:gd name="connsiteY0" fmla="*/ 13765 h 14796"/>
                  <a:gd name="connsiteX1" fmla="*/ 9996 w 10268"/>
                  <a:gd name="connsiteY1" fmla="*/ 3077 h 14796"/>
                  <a:gd name="connsiteX2" fmla="*/ 9238 w 10268"/>
                  <a:gd name="connsiteY2" fmla="*/ 272 h 14796"/>
                  <a:gd name="connsiteX3" fmla="*/ 6436 w 10268"/>
                  <a:gd name="connsiteY3" fmla="*/ 1031 h 14796"/>
                  <a:gd name="connsiteX4" fmla="*/ 272 w 10268"/>
                  <a:gd name="connsiteY4" fmla="*/ 11720 h 14796"/>
                  <a:gd name="connsiteX5" fmla="*/ 1030 w 10268"/>
                  <a:gd name="connsiteY5" fmla="*/ 14523 h 14796"/>
                  <a:gd name="connsiteX6" fmla="*/ 3832 w 10268"/>
                  <a:gd name="connsiteY6" fmla="*/ 13765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2" name="Freeform 1271">
                <a:extLst>
                  <a:ext uri="{FF2B5EF4-FFF2-40B4-BE49-F238E27FC236}">
                    <a16:creationId xmlns:a16="http://schemas.microsoft.com/office/drawing/2014/main" id="{AF41356B-5812-B305-38BE-BB22A30157F9}"/>
                  </a:ext>
                </a:extLst>
              </p:cNvPr>
              <p:cNvSpPr/>
              <p:nvPr/>
            </p:nvSpPr>
            <p:spPr>
              <a:xfrm>
                <a:off x="6796646" y="3755564"/>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3" name="Freeform 1272">
                <a:extLst>
                  <a:ext uri="{FF2B5EF4-FFF2-40B4-BE49-F238E27FC236}">
                    <a16:creationId xmlns:a16="http://schemas.microsoft.com/office/drawing/2014/main" id="{005DA1C7-D08B-FA93-E427-E3A3D904C2E5}"/>
                  </a:ext>
                </a:extLst>
              </p:cNvPr>
              <p:cNvSpPr/>
              <p:nvPr/>
            </p:nvSpPr>
            <p:spPr>
              <a:xfrm>
                <a:off x="6782241" y="3780536"/>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274" name="Freeform 1273">
                <a:extLst>
                  <a:ext uri="{FF2B5EF4-FFF2-40B4-BE49-F238E27FC236}">
                    <a16:creationId xmlns:a16="http://schemas.microsoft.com/office/drawing/2014/main" id="{A7E95FCB-84DD-0521-5E56-599BEE0AB14F}"/>
                  </a:ext>
                </a:extLst>
              </p:cNvPr>
              <p:cNvSpPr/>
              <p:nvPr/>
            </p:nvSpPr>
            <p:spPr>
              <a:xfrm>
                <a:off x="6768072" y="3805475"/>
                <a:ext cx="10065" cy="14916"/>
              </a:xfrm>
              <a:custGeom>
                <a:avLst/>
                <a:gdLst>
                  <a:gd name="connsiteX0" fmla="*/ 3893 w 10065"/>
                  <a:gd name="connsiteY0" fmla="*/ 13798 h 14916"/>
                  <a:gd name="connsiteX1" fmla="*/ 9794 w 10065"/>
                  <a:gd name="connsiteY1" fmla="*/ 3077 h 14916"/>
                  <a:gd name="connsiteX2" fmla="*/ 9036 w 10065"/>
                  <a:gd name="connsiteY2" fmla="*/ 272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6" y="272"/>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275" name="Freeform 1274">
                <a:extLst>
                  <a:ext uri="{FF2B5EF4-FFF2-40B4-BE49-F238E27FC236}">
                    <a16:creationId xmlns:a16="http://schemas.microsoft.com/office/drawing/2014/main" id="{0FF3D9CC-1864-4321-6DE7-6CD3C312D2A6}"/>
                  </a:ext>
                </a:extLst>
              </p:cNvPr>
              <p:cNvSpPr/>
              <p:nvPr/>
            </p:nvSpPr>
            <p:spPr>
              <a:xfrm>
                <a:off x="6758328" y="3831487"/>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4"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276" name="Freeform 1275">
                <a:extLst>
                  <a:ext uri="{FF2B5EF4-FFF2-40B4-BE49-F238E27FC236}">
                    <a16:creationId xmlns:a16="http://schemas.microsoft.com/office/drawing/2014/main" id="{0062DD24-A055-29B6-FFFE-71CD8AFDC658}"/>
                  </a:ext>
                </a:extLst>
              </p:cNvPr>
              <p:cNvSpPr/>
              <p:nvPr/>
            </p:nvSpPr>
            <p:spPr>
              <a:xfrm>
                <a:off x="6755022" y="3859604"/>
                <a:ext cx="4754" cy="16442"/>
              </a:xfrm>
              <a:custGeom>
                <a:avLst/>
                <a:gdLst>
                  <a:gd name="connsiteX0" fmla="*/ 4088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8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8" y="14397"/>
                    </a:moveTo>
                    <a:cubicBezTo>
                      <a:pt x="4219" y="10339"/>
                      <a:pt x="4219" y="6282"/>
                      <a:pt x="4747" y="2257"/>
                    </a:cubicBezTo>
                    <a:cubicBezTo>
                      <a:pt x="4846" y="1135"/>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8" y="14397"/>
                    </a:cubicBezTo>
                    <a:close/>
                  </a:path>
                </a:pathLst>
              </a:custGeom>
              <a:solidFill>
                <a:srgbClr val="5856D6"/>
              </a:solidFill>
              <a:ln w="3283" cap="flat">
                <a:noFill/>
                <a:prstDash val="solid"/>
                <a:miter/>
              </a:ln>
            </p:spPr>
            <p:txBody>
              <a:bodyPr rtlCol="0" anchor="ctr"/>
              <a:lstStyle/>
              <a:p>
                <a:endParaRPr lang="en-US"/>
              </a:p>
            </p:txBody>
          </p:sp>
          <p:sp>
            <p:nvSpPr>
              <p:cNvPr id="1277" name="Freeform 1276">
                <a:extLst>
                  <a:ext uri="{FF2B5EF4-FFF2-40B4-BE49-F238E27FC236}">
                    <a16:creationId xmlns:a16="http://schemas.microsoft.com/office/drawing/2014/main" id="{8B93BAC2-602F-E43A-E72D-6BAA6AA99E86}"/>
                  </a:ext>
                </a:extLst>
              </p:cNvPr>
              <p:cNvSpPr/>
              <p:nvPr/>
            </p:nvSpPr>
            <p:spPr>
              <a:xfrm>
                <a:off x="6756122" y="3888369"/>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2"/>
                      <a:pt x="4734" y="5787"/>
                      <a:pt x="4075" y="1795"/>
                    </a:cubicBezTo>
                    <a:cubicBezTo>
                      <a:pt x="3910" y="707"/>
                      <a:pt x="2954" y="-118"/>
                      <a:pt x="1833" y="14"/>
                    </a:cubicBezTo>
                    <a:cubicBezTo>
                      <a:pt x="713" y="146"/>
                      <a:pt x="-144" y="1202"/>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278" name="Freeform 1277">
                <a:extLst>
                  <a:ext uri="{FF2B5EF4-FFF2-40B4-BE49-F238E27FC236}">
                    <a16:creationId xmlns:a16="http://schemas.microsoft.com/office/drawing/2014/main" id="{663330E1-2EAC-7403-9441-14B04522ACE4}"/>
                  </a:ext>
                </a:extLst>
              </p:cNvPr>
              <p:cNvSpPr/>
              <p:nvPr/>
            </p:nvSpPr>
            <p:spPr>
              <a:xfrm>
                <a:off x="6763217" y="3916259"/>
                <a:ext cx="9048" cy="15440"/>
              </a:xfrm>
              <a:custGeom>
                <a:avLst/>
                <a:gdLst>
                  <a:gd name="connsiteX0" fmla="*/ 8814 w 9048"/>
                  <a:gd name="connsiteY0" fmla="*/ 12436 h 15440"/>
                  <a:gd name="connsiteX1" fmla="*/ 3969 w 9048"/>
                  <a:gd name="connsiteY1" fmla="*/ 1319 h 15440"/>
                  <a:gd name="connsiteX2" fmla="*/ 1331 w 9048"/>
                  <a:gd name="connsiteY2" fmla="*/ 132 h 15440"/>
                  <a:gd name="connsiteX3" fmla="*/ 145 w 9048"/>
                  <a:gd name="connsiteY3" fmla="*/ 2804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5"/>
                      <a:pt x="1331" y="132"/>
                    </a:cubicBezTo>
                    <a:cubicBezTo>
                      <a:pt x="277" y="527"/>
                      <a:pt x="-284" y="1715"/>
                      <a:pt x="145" y="2804"/>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279" name="Freeform 1278">
                <a:extLst>
                  <a:ext uri="{FF2B5EF4-FFF2-40B4-BE49-F238E27FC236}">
                    <a16:creationId xmlns:a16="http://schemas.microsoft.com/office/drawing/2014/main" id="{E6A516DF-EAF9-D8D2-1F2C-D4A768C206BB}"/>
                  </a:ext>
                </a:extLst>
              </p:cNvPr>
              <p:cNvSpPr/>
              <p:nvPr/>
            </p:nvSpPr>
            <p:spPr>
              <a:xfrm>
                <a:off x="6776176" y="3941948"/>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996 w 10268"/>
                  <a:gd name="connsiteY6"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20"/>
                    </a:moveTo>
                    <a:lnTo>
                      <a:pt x="3832" y="1031"/>
                    </a:lnTo>
                    <a:cubicBezTo>
                      <a:pt x="3272" y="42"/>
                      <a:pt x="1986" y="-288"/>
                      <a:pt x="1030" y="272"/>
                    </a:cubicBezTo>
                    <a:cubicBezTo>
                      <a:pt x="42" y="833"/>
                      <a:pt x="-288" y="2087"/>
                      <a:pt x="272" y="3077"/>
                    </a:cubicBezTo>
                    <a:lnTo>
                      <a:pt x="6436" y="13765"/>
                    </a:lnTo>
                    <a:cubicBezTo>
                      <a:pt x="6997" y="14754"/>
                      <a:pt x="8249" y="15084"/>
                      <a:pt x="9238" y="14523"/>
                    </a:cubicBez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280" name="Freeform 1279">
                <a:extLst>
                  <a:ext uri="{FF2B5EF4-FFF2-40B4-BE49-F238E27FC236}">
                    <a16:creationId xmlns:a16="http://schemas.microsoft.com/office/drawing/2014/main" id="{32E02F64-9B63-D735-3C67-C8C923169A06}"/>
                  </a:ext>
                </a:extLst>
              </p:cNvPr>
              <p:cNvSpPr/>
              <p:nvPr/>
            </p:nvSpPr>
            <p:spPr>
              <a:xfrm>
                <a:off x="6790581" y="3966920"/>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20"/>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281" name="Freeform 1280">
                <a:extLst>
                  <a:ext uri="{FF2B5EF4-FFF2-40B4-BE49-F238E27FC236}">
                    <a16:creationId xmlns:a16="http://schemas.microsoft.com/office/drawing/2014/main" id="{1C9E567E-1417-1581-9552-075FDD5377B0}"/>
                  </a:ext>
                </a:extLst>
              </p:cNvPr>
              <p:cNvSpPr/>
              <p:nvPr/>
            </p:nvSpPr>
            <p:spPr>
              <a:xfrm>
                <a:off x="6804986" y="3991892"/>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82" name="Freeform 1281">
                <a:extLst>
                  <a:ext uri="{FF2B5EF4-FFF2-40B4-BE49-F238E27FC236}">
                    <a16:creationId xmlns:a16="http://schemas.microsoft.com/office/drawing/2014/main" id="{39937C03-9039-97A4-BF8D-A7660EDBDB66}"/>
                  </a:ext>
                </a:extLst>
              </p:cNvPr>
              <p:cNvSpPr/>
              <p:nvPr/>
            </p:nvSpPr>
            <p:spPr>
              <a:xfrm>
                <a:off x="6819391" y="4016864"/>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83" name="Freeform 1282">
                <a:extLst>
                  <a:ext uri="{FF2B5EF4-FFF2-40B4-BE49-F238E27FC236}">
                    <a16:creationId xmlns:a16="http://schemas.microsoft.com/office/drawing/2014/main" id="{8AD87FC9-456A-202F-C228-98F2EF03205B}"/>
                  </a:ext>
                </a:extLst>
              </p:cNvPr>
              <p:cNvSpPr/>
              <p:nvPr/>
            </p:nvSpPr>
            <p:spPr>
              <a:xfrm>
                <a:off x="6833796" y="4041837"/>
                <a:ext cx="10268" cy="14796"/>
              </a:xfrm>
              <a:custGeom>
                <a:avLst/>
                <a:gdLst>
                  <a:gd name="connsiteX0" fmla="*/ 9996 w 10268"/>
                  <a:gd name="connsiteY0" fmla="*/ 11719 h 14796"/>
                  <a:gd name="connsiteX1" fmla="*/ 3832 w 10268"/>
                  <a:gd name="connsiteY1" fmla="*/ 1031 h 14796"/>
                  <a:gd name="connsiteX2" fmla="*/ 1031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1" y="273"/>
                    </a:cubicBezTo>
                    <a:cubicBezTo>
                      <a:pt x="42" y="833"/>
                      <a:pt x="-288" y="2087"/>
                      <a:pt x="272" y="3077"/>
                    </a:cubicBezTo>
                    <a:lnTo>
                      <a:pt x="6436" y="13765"/>
                    </a:lnTo>
                    <a:cubicBezTo>
                      <a:pt x="6997" y="14755"/>
                      <a:pt x="8282"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284" name="Freeform 1283">
                <a:extLst>
                  <a:ext uri="{FF2B5EF4-FFF2-40B4-BE49-F238E27FC236}">
                    <a16:creationId xmlns:a16="http://schemas.microsoft.com/office/drawing/2014/main" id="{20225F8F-C943-BD81-184A-7EE219ACA08C}"/>
                  </a:ext>
                </a:extLst>
              </p:cNvPr>
              <p:cNvSpPr/>
              <p:nvPr/>
            </p:nvSpPr>
            <p:spPr>
              <a:xfrm>
                <a:off x="6848168" y="4066776"/>
                <a:ext cx="10335" cy="14762"/>
              </a:xfrm>
              <a:custGeom>
                <a:avLst/>
                <a:gdLst>
                  <a:gd name="connsiteX0" fmla="*/ 10062 w 10335"/>
                  <a:gd name="connsiteY0" fmla="*/ 11654 h 14762"/>
                  <a:gd name="connsiteX1" fmla="*/ 3832 w 10335"/>
                  <a:gd name="connsiteY1" fmla="*/ 1031 h 14762"/>
                  <a:gd name="connsiteX2" fmla="*/ 1030 w 10335"/>
                  <a:gd name="connsiteY2" fmla="*/ 272 h 14762"/>
                  <a:gd name="connsiteX3" fmla="*/ 272 w 10335"/>
                  <a:gd name="connsiteY3" fmla="*/ 3076 h 14762"/>
                  <a:gd name="connsiteX4" fmla="*/ 6535 w 10335"/>
                  <a:gd name="connsiteY4" fmla="*/ 13765 h 14762"/>
                  <a:gd name="connsiteX5" fmla="*/ 9370 w 10335"/>
                  <a:gd name="connsiteY5" fmla="*/ 14457 h 14762"/>
                  <a:gd name="connsiteX6" fmla="*/ 10029 w 10335"/>
                  <a:gd name="connsiteY6" fmla="*/ 11654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4"/>
                    </a:moveTo>
                    <a:cubicBezTo>
                      <a:pt x="7887" y="8256"/>
                      <a:pt x="5909" y="4561"/>
                      <a:pt x="3832" y="1031"/>
                    </a:cubicBezTo>
                    <a:cubicBezTo>
                      <a:pt x="3272" y="42"/>
                      <a:pt x="2019" y="-288"/>
                      <a:pt x="1030" y="272"/>
                    </a:cubicBezTo>
                    <a:cubicBezTo>
                      <a:pt x="42" y="833"/>
                      <a:pt x="-288" y="2087"/>
                      <a:pt x="272" y="3076"/>
                    </a:cubicBezTo>
                    <a:cubicBezTo>
                      <a:pt x="2382" y="6639"/>
                      <a:pt x="4294" y="10202"/>
                      <a:pt x="6535" y="13765"/>
                    </a:cubicBezTo>
                    <a:cubicBezTo>
                      <a:pt x="7129" y="14754"/>
                      <a:pt x="8414" y="15051"/>
                      <a:pt x="9370" y="14457"/>
                    </a:cubicBezTo>
                    <a:cubicBezTo>
                      <a:pt x="10326" y="13864"/>
                      <a:pt x="10623" y="12577"/>
                      <a:pt x="10029" y="11654"/>
                    </a:cubicBezTo>
                    <a:close/>
                  </a:path>
                </a:pathLst>
              </a:custGeom>
              <a:solidFill>
                <a:srgbClr val="5856D6"/>
              </a:solidFill>
              <a:ln w="3283" cap="flat">
                <a:noFill/>
                <a:prstDash val="solid"/>
                <a:miter/>
              </a:ln>
            </p:spPr>
            <p:txBody>
              <a:bodyPr rtlCol="0" anchor="ctr"/>
              <a:lstStyle/>
              <a:p>
                <a:endParaRPr lang="en-US"/>
              </a:p>
            </p:txBody>
          </p:sp>
          <p:sp>
            <p:nvSpPr>
              <p:cNvPr id="1285" name="Freeform 1284">
                <a:extLst>
                  <a:ext uri="{FF2B5EF4-FFF2-40B4-BE49-F238E27FC236}">
                    <a16:creationId xmlns:a16="http://schemas.microsoft.com/office/drawing/2014/main" id="{7BD8881F-0799-7603-1631-F97C97E90506}"/>
                  </a:ext>
                </a:extLst>
              </p:cNvPr>
              <p:cNvSpPr/>
              <p:nvPr/>
            </p:nvSpPr>
            <p:spPr>
              <a:xfrm>
                <a:off x="6863893" y="4090917"/>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286" name="Freeform 1285">
                <a:extLst>
                  <a:ext uri="{FF2B5EF4-FFF2-40B4-BE49-F238E27FC236}">
                    <a16:creationId xmlns:a16="http://schemas.microsoft.com/office/drawing/2014/main" id="{2182A6D9-9B3A-D8E9-0DDF-B224BFD91881}"/>
                  </a:ext>
                </a:extLst>
              </p:cNvPr>
              <p:cNvSpPr/>
              <p:nvPr/>
            </p:nvSpPr>
            <p:spPr>
              <a:xfrm>
                <a:off x="6884409" y="4111075"/>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5"/>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287" name="Freeform 1286">
                <a:extLst>
                  <a:ext uri="{FF2B5EF4-FFF2-40B4-BE49-F238E27FC236}">
                    <a16:creationId xmlns:a16="http://schemas.microsoft.com/office/drawing/2014/main" id="{63ACEA74-4963-2E93-EF6A-9401B4333981}"/>
                  </a:ext>
                </a:extLst>
              </p:cNvPr>
              <p:cNvSpPr/>
              <p:nvPr/>
            </p:nvSpPr>
            <p:spPr>
              <a:xfrm>
                <a:off x="6908965" y="4125951"/>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1"/>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288" name="Freeform 1287">
                <a:extLst>
                  <a:ext uri="{FF2B5EF4-FFF2-40B4-BE49-F238E27FC236}">
                    <a16:creationId xmlns:a16="http://schemas.microsoft.com/office/drawing/2014/main" id="{00C3D909-9C10-5D03-7271-551E4AE82DD4}"/>
                  </a:ext>
                </a:extLst>
              </p:cNvPr>
              <p:cNvSpPr/>
              <p:nvPr/>
            </p:nvSpPr>
            <p:spPr>
              <a:xfrm>
                <a:off x="6936309" y="4134859"/>
                <a:ext cx="16336" cy="5865"/>
              </a:xfrm>
              <a:custGeom>
                <a:avLst/>
                <a:gdLst>
                  <a:gd name="connsiteX0" fmla="*/ 14449 w 16336"/>
                  <a:gd name="connsiteY0" fmla="*/ 1794 h 5865"/>
                  <a:gd name="connsiteX1" fmla="*/ 2451 w 16336"/>
                  <a:gd name="connsiteY1" fmla="*/ 46 h 5865"/>
                  <a:gd name="connsiteX2" fmla="*/ 44 w 16336"/>
                  <a:gd name="connsiteY2" fmla="*/ 1596 h 5865"/>
                  <a:gd name="connsiteX3" fmla="*/ 1659 w 16336"/>
                  <a:gd name="connsiteY3" fmla="*/ 4070 h 5865"/>
                  <a:gd name="connsiteX4" fmla="*/ 14087 w 16336"/>
                  <a:gd name="connsiteY4" fmla="*/ 5852 h 5865"/>
                  <a:gd name="connsiteX5" fmla="*/ 16328 w 16336"/>
                  <a:gd name="connsiteY5" fmla="*/ 4004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5"/>
                      <a:pt x="2451" y="46"/>
                    </a:cubicBezTo>
                    <a:cubicBezTo>
                      <a:pt x="1363" y="-185"/>
                      <a:pt x="275" y="475"/>
                      <a:pt x="44" y="1596"/>
                    </a:cubicBezTo>
                    <a:cubicBezTo>
                      <a:pt x="-187" y="2685"/>
                      <a:pt x="506" y="3839"/>
                      <a:pt x="1659" y="4070"/>
                    </a:cubicBezTo>
                    <a:cubicBezTo>
                      <a:pt x="5780" y="4763"/>
                      <a:pt x="9900" y="5555"/>
                      <a:pt x="14087" y="5852"/>
                    </a:cubicBezTo>
                    <a:cubicBezTo>
                      <a:pt x="15240" y="5984"/>
                      <a:pt x="16262" y="5126"/>
                      <a:pt x="16328" y="4004"/>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289" name="Freeform 1288">
                <a:extLst>
                  <a:ext uri="{FF2B5EF4-FFF2-40B4-BE49-F238E27FC236}">
                    <a16:creationId xmlns:a16="http://schemas.microsoft.com/office/drawing/2014/main" id="{B93BDCD6-066D-22D1-410A-FB05D6B80559}"/>
                  </a:ext>
                </a:extLst>
              </p:cNvPr>
              <p:cNvSpPr/>
              <p:nvPr/>
            </p:nvSpPr>
            <p:spPr>
              <a:xfrm>
                <a:off x="696496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0" name="Freeform 1289">
                <a:extLst>
                  <a:ext uri="{FF2B5EF4-FFF2-40B4-BE49-F238E27FC236}">
                    <a16:creationId xmlns:a16="http://schemas.microsoft.com/office/drawing/2014/main" id="{66FEAD98-D31E-4B70-6FB7-388CD2276D52}"/>
                  </a:ext>
                </a:extLst>
              </p:cNvPr>
              <p:cNvSpPr/>
              <p:nvPr/>
            </p:nvSpPr>
            <p:spPr>
              <a:xfrm>
                <a:off x="699377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1" name="Freeform 1290">
                <a:extLst>
                  <a:ext uri="{FF2B5EF4-FFF2-40B4-BE49-F238E27FC236}">
                    <a16:creationId xmlns:a16="http://schemas.microsoft.com/office/drawing/2014/main" id="{47F28214-E196-0FD3-B703-7A7072C1A5C8}"/>
                  </a:ext>
                </a:extLst>
              </p:cNvPr>
              <p:cNvSpPr/>
              <p:nvPr/>
            </p:nvSpPr>
            <p:spPr>
              <a:xfrm>
                <a:off x="702258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2" name="Freeform 1291">
                <a:extLst>
                  <a:ext uri="{FF2B5EF4-FFF2-40B4-BE49-F238E27FC236}">
                    <a16:creationId xmlns:a16="http://schemas.microsoft.com/office/drawing/2014/main" id="{68497A73-A2F7-86A8-0B4B-0AB53CC689DB}"/>
                  </a:ext>
                </a:extLst>
              </p:cNvPr>
              <p:cNvSpPr/>
              <p:nvPr/>
            </p:nvSpPr>
            <p:spPr>
              <a:xfrm>
                <a:off x="7051395"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3" name="Freeform 1292">
                <a:extLst>
                  <a:ext uri="{FF2B5EF4-FFF2-40B4-BE49-F238E27FC236}">
                    <a16:creationId xmlns:a16="http://schemas.microsoft.com/office/drawing/2014/main" id="{87AFCF19-4F11-888B-D68A-856B34CB3C8E}"/>
                  </a:ext>
                </a:extLst>
              </p:cNvPr>
              <p:cNvSpPr/>
              <p:nvPr/>
            </p:nvSpPr>
            <p:spPr>
              <a:xfrm>
                <a:off x="7080204" y="4137313"/>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294" name="Freeform 1293">
                <a:extLst>
                  <a:ext uri="{FF2B5EF4-FFF2-40B4-BE49-F238E27FC236}">
                    <a16:creationId xmlns:a16="http://schemas.microsoft.com/office/drawing/2014/main" id="{84834729-964C-D2DE-F9AE-7641F21F275C}"/>
                  </a:ext>
                </a:extLst>
              </p:cNvPr>
              <p:cNvSpPr/>
              <p:nvPr/>
            </p:nvSpPr>
            <p:spPr>
              <a:xfrm>
                <a:off x="7108981" y="4137313"/>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295" name="Freeform 1294">
            <a:extLst>
              <a:ext uri="{FF2B5EF4-FFF2-40B4-BE49-F238E27FC236}">
                <a16:creationId xmlns:a16="http://schemas.microsoft.com/office/drawing/2014/main" id="{7C46318E-82C9-565B-4B8A-ED743CFF54CE}"/>
              </a:ext>
            </a:extLst>
          </p:cNvPr>
          <p:cNvSpPr/>
          <p:nvPr/>
        </p:nvSpPr>
        <p:spPr>
          <a:xfrm>
            <a:off x="7283816" y="3669502"/>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3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3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3"/>
                </a:cubicBezTo>
                <a:lnTo>
                  <a:pt x="399498" y="41697"/>
                </a:lnTo>
                <a:cubicBezTo>
                  <a:pt x="384665" y="15966"/>
                  <a:pt x="357008" y="0"/>
                  <a:pt x="327342" y="0"/>
                </a:cubicBezTo>
                <a:lnTo>
                  <a:pt x="164635" y="0"/>
                </a:lnTo>
                <a:cubicBezTo>
                  <a:pt x="134968" y="0"/>
                  <a:pt x="107312" y="15966"/>
                  <a:pt x="92478" y="41697"/>
                </a:cubicBezTo>
                <a:lnTo>
                  <a:pt x="11125" y="182723"/>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296" name="Freeform 1295">
            <a:extLst>
              <a:ext uri="{FF2B5EF4-FFF2-40B4-BE49-F238E27FC236}">
                <a16:creationId xmlns:a16="http://schemas.microsoft.com/office/drawing/2014/main" id="{07AD171B-6D1C-7A0B-9D99-A9B173063ED9}"/>
              </a:ext>
            </a:extLst>
          </p:cNvPr>
          <p:cNvSpPr/>
          <p:nvPr/>
        </p:nvSpPr>
        <p:spPr>
          <a:xfrm>
            <a:off x="7324782" y="3710572"/>
            <a:ext cx="410046" cy="366764"/>
          </a:xfrm>
          <a:custGeom>
            <a:avLst/>
            <a:gdLst>
              <a:gd name="connsiteX0" fmla="*/ 123670 w 410046"/>
              <a:gd name="connsiteY0" fmla="*/ 0 h 366764"/>
              <a:gd name="connsiteX1" fmla="*/ 286376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297" name="Freeform 1296">
            <a:extLst>
              <a:ext uri="{FF2B5EF4-FFF2-40B4-BE49-F238E27FC236}">
                <a16:creationId xmlns:a16="http://schemas.microsoft.com/office/drawing/2014/main" id="{F9D544B4-5E10-920E-0BA1-EA72A8D633B6}"/>
              </a:ext>
            </a:extLst>
          </p:cNvPr>
          <p:cNvSpPr/>
          <p:nvPr/>
        </p:nvSpPr>
        <p:spPr>
          <a:xfrm>
            <a:off x="7478712" y="3788590"/>
            <a:ext cx="102153" cy="210729"/>
          </a:xfrm>
          <a:custGeom>
            <a:avLst/>
            <a:gdLst>
              <a:gd name="connsiteX0" fmla="*/ 11702 w 102153"/>
              <a:gd name="connsiteY0" fmla="*/ 195390 h 210729"/>
              <a:gd name="connsiteX1" fmla="*/ 0 w 102153"/>
              <a:gd name="connsiteY1" fmla="*/ 150196 h 210729"/>
              <a:gd name="connsiteX2" fmla="*/ 27557 w 102153"/>
              <a:gd name="connsiteY2" fmla="*/ 150196 h 210729"/>
              <a:gd name="connsiteX3" fmla="*/ 32304 w 102153"/>
              <a:gd name="connsiteY3" fmla="*/ 178269 h 210729"/>
              <a:gd name="connsiteX4" fmla="*/ 50961 w 102153"/>
              <a:gd name="connsiteY4" fmla="*/ 188825 h 210729"/>
              <a:gd name="connsiteX5" fmla="*/ 66652 w 102153"/>
              <a:gd name="connsiteY5" fmla="*/ 182624 h 210729"/>
              <a:gd name="connsiteX6" fmla="*/ 73211 w 102153"/>
              <a:gd name="connsiteY6" fmla="*/ 166261 h 210729"/>
              <a:gd name="connsiteX7" fmla="*/ 74629 w 102153"/>
              <a:gd name="connsiteY7" fmla="*/ 139079 h 210729"/>
              <a:gd name="connsiteX8" fmla="*/ 72948 w 102153"/>
              <a:gd name="connsiteY8" fmla="*/ 113975 h 210729"/>
              <a:gd name="connsiteX9" fmla="*/ 66256 w 102153"/>
              <a:gd name="connsiteY9" fmla="*/ 99559 h 210729"/>
              <a:gd name="connsiteX10" fmla="*/ 51192 w 102153"/>
              <a:gd name="connsiteY10" fmla="*/ 94512 h 210729"/>
              <a:gd name="connsiteX11" fmla="*/ 37150 w 102153"/>
              <a:gd name="connsiteY11" fmla="*/ 99427 h 210729"/>
              <a:gd name="connsiteX12" fmla="*/ 28019 w 102153"/>
              <a:gd name="connsiteY12" fmla="*/ 111798 h 210729"/>
              <a:gd name="connsiteX13" fmla="*/ 4582 w 102153"/>
              <a:gd name="connsiteY13" fmla="*/ 111798 h 210729"/>
              <a:gd name="connsiteX14" fmla="*/ 4582 w 102153"/>
              <a:gd name="connsiteY14" fmla="*/ 0 h 210729"/>
              <a:gd name="connsiteX15" fmla="*/ 94407 w 102153"/>
              <a:gd name="connsiteY15" fmla="*/ 0 h 210729"/>
              <a:gd name="connsiteX16" fmla="*/ 94407 w 102153"/>
              <a:gd name="connsiteY16" fmla="*/ 27578 h 210729"/>
              <a:gd name="connsiteX17" fmla="*/ 29535 w 102153"/>
              <a:gd name="connsiteY17" fmla="*/ 27578 h 210729"/>
              <a:gd name="connsiteX18" fmla="*/ 27722 w 102153"/>
              <a:gd name="connsiteY18" fmla="*/ 85275 h 210729"/>
              <a:gd name="connsiteX19" fmla="*/ 57851 w 102153"/>
              <a:gd name="connsiteY19" fmla="*/ 73696 h 210729"/>
              <a:gd name="connsiteX20" fmla="*/ 91967 w 102153"/>
              <a:gd name="connsiteY20" fmla="*/ 90058 h 210729"/>
              <a:gd name="connsiteX21" fmla="*/ 102153 w 102153"/>
              <a:gd name="connsiteY21" fmla="*/ 135516 h 210729"/>
              <a:gd name="connsiteX22" fmla="*/ 90583 w 102153"/>
              <a:gd name="connsiteY22" fmla="*/ 190904 h 210729"/>
              <a:gd name="connsiteX23" fmla="*/ 50434 w 102153"/>
              <a:gd name="connsiteY23" fmla="*/ 210730 h 210729"/>
              <a:gd name="connsiteX24" fmla="*/ 11702 w 102153"/>
              <a:gd name="connsiteY24" fmla="*/ 195390 h 2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2153" h="210729">
                <a:moveTo>
                  <a:pt x="11702" y="195390"/>
                </a:moveTo>
                <a:cubicBezTo>
                  <a:pt x="3890" y="185197"/>
                  <a:pt x="0" y="170121"/>
                  <a:pt x="0" y="150196"/>
                </a:cubicBezTo>
                <a:lnTo>
                  <a:pt x="27557" y="150196"/>
                </a:lnTo>
                <a:cubicBezTo>
                  <a:pt x="27557" y="161874"/>
                  <a:pt x="29140" y="171210"/>
                  <a:pt x="32304" y="178269"/>
                </a:cubicBezTo>
                <a:cubicBezTo>
                  <a:pt x="35468" y="185329"/>
                  <a:pt x="41698" y="188825"/>
                  <a:pt x="50961" y="188825"/>
                </a:cubicBezTo>
                <a:cubicBezTo>
                  <a:pt x="58015" y="188825"/>
                  <a:pt x="63223" y="186780"/>
                  <a:pt x="66652" y="182624"/>
                </a:cubicBezTo>
                <a:cubicBezTo>
                  <a:pt x="70080" y="178500"/>
                  <a:pt x="72288" y="173057"/>
                  <a:pt x="73211" y="166261"/>
                </a:cubicBezTo>
                <a:cubicBezTo>
                  <a:pt x="74167" y="159466"/>
                  <a:pt x="74629" y="150427"/>
                  <a:pt x="74629" y="139079"/>
                </a:cubicBezTo>
                <a:cubicBezTo>
                  <a:pt x="74629" y="128622"/>
                  <a:pt x="74068" y="120243"/>
                  <a:pt x="72948" y="113975"/>
                </a:cubicBezTo>
                <a:cubicBezTo>
                  <a:pt x="71827" y="107707"/>
                  <a:pt x="69618" y="102891"/>
                  <a:pt x="66256" y="99559"/>
                </a:cubicBezTo>
                <a:cubicBezTo>
                  <a:pt x="62927" y="96194"/>
                  <a:pt x="57883" y="94512"/>
                  <a:pt x="51192" y="94512"/>
                </a:cubicBezTo>
                <a:cubicBezTo>
                  <a:pt x="45885" y="94512"/>
                  <a:pt x="41204" y="96161"/>
                  <a:pt x="37150" y="99427"/>
                </a:cubicBezTo>
                <a:cubicBezTo>
                  <a:pt x="33095" y="102693"/>
                  <a:pt x="30062" y="106816"/>
                  <a:pt x="28019" y="111798"/>
                </a:cubicBezTo>
                <a:lnTo>
                  <a:pt x="4582" y="111798"/>
                </a:lnTo>
                <a:cubicBezTo>
                  <a:pt x="4582" y="111798"/>
                  <a:pt x="4582" y="0"/>
                  <a:pt x="4582" y="0"/>
                </a:cubicBezTo>
                <a:lnTo>
                  <a:pt x="94407" y="0"/>
                </a:lnTo>
                <a:lnTo>
                  <a:pt x="94407" y="27578"/>
                </a:lnTo>
                <a:lnTo>
                  <a:pt x="29535" y="27578"/>
                </a:lnTo>
                <a:lnTo>
                  <a:pt x="27722" y="85275"/>
                </a:lnTo>
                <a:cubicBezTo>
                  <a:pt x="35106" y="77523"/>
                  <a:pt x="45127" y="73696"/>
                  <a:pt x="57851" y="73696"/>
                </a:cubicBezTo>
                <a:cubicBezTo>
                  <a:pt x="73805" y="73696"/>
                  <a:pt x="85177" y="79139"/>
                  <a:pt x="91967" y="90058"/>
                </a:cubicBezTo>
                <a:cubicBezTo>
                  <a:pt x="98758" y="100977"/>
                  <a:pt x="102153" y="116152"/>
                  <a:pt x="102153" y="135516"/>
                </a:cubicBezTo>
                <a:cubicBezTo>
                  <a:pt x="102153" y="159235"/>
                  <a:pt x="98296" y="177675"/>
                  <a:pt x="90583" y="190904"/>
                </a:cubicBezTo>
                <a:cubicBezTo>
                  <a:pt x="82870" y="204132"/>
                  <a:pt x="69487" y="210730"/>
                  <a:pt x="50434" y="210730"/>
                </a:cubicBezTo>
                <a:cubicBezTo>
                  <a:pt x="32403" y="210730"/>
                  <a:pt x="19514" y="205649"/>
                  <a:pt x="11702" y="195390"/>
                </a:cubicBezTo>
                <a:close/>
              </a:path>
            </a:pathLst>
          </a:custGeom>
          <a:solidFill>
            <a:srgbClr val="5856D6"/>
          </a:solidFill>
          <a:ln w="3283" cap="flat">
            <a:noFill/>
            <a:prstDash val="solid"/>
            <a:miter/>
          </a:ln>
        </p:spPr>
        <p:txBody>
          <a:bodyPr rtlCol="0" anchor="ctr"/>
          <a:lstStyle/>
          <a:p>
            <a:endParaRPr lang="en-US"/>
          </a:p>
        </p:txBody>
      </p:sp>
      <p:grpSp>
        <p:nvGrpSpPr>
          <p:cNvPr id="1298" name="Graphic 776">
            <a:extLst>
              <a:ext uri="{FF2B5EF4-FFF2-40B4-BE49-F238E27FC236}">
                <a16:creationId xmlns:a16="http://schemas.microsoft.com/office/drawing/2014/main" id="{0C3CC2A8-3C7C-C8FF-D391-016F6DC9749D}"/>
              </a:ext>
            </a:extLst>
          </p:cNvPr>
          <p:cNvGrpSpPr/>
          <p:nvPr/>
        </p:nvGrpSpPr>
        <p:grpSpPr>
          <a:xfrm>
            <a:off x="6460606" y="3424778"/>
            <a:ext cx="113571" cy="103352"/>
            <a:chOff x="6462671" y="3515384"/>
            <a:chExt cx="113571" cy="103352"/>
          </a:xfrm>
        </p:grpSpPr>
        <p:grpSp>
          <p:nvGrpSpPr>
            <p:cNvPr id="1299" name="Graphic 776">
              <a:extLst>
                <a:ext uri="{FF2B5EF4-FFF2-40B4-BE49-F238E27FC236}">
                  <a16:creationId xmlns:a16="http://schemas.microsoft.com/office/drawing/2014/main" id="{1191DF93-114F-2D30-D881-BABC976F0628}"/>
                </a:ext>
              </a:extLst>
            </p:cNvPr>
            <p:cNvGrpSpPr/>
            <p:nvPr/>
          </p:nvGrpSpPr>
          <p:grpSpPr>
            <a:xfrm>
              <a:off x="6462671" y="3515384"/>
              <a:ext cx="113571" cy="103352"/>
              <a:chOff x="6462671" y="3515384"/>
              <a:chExt cx="113571" cy="103352"/>
            </a:xfrm>
          </p:grpSpPr>
          <p:sp>
            <p:nvSpPr>
              <p:cNvPr id="1300" name="Freeform 1299">
                <a:extLst>
                  <a:ext uri="{FF2B5EF4-FFF2-40B4-BE49-F238E27FC236}">
                    <a16:creationId xmlns:a16="http://schemas.microsoft.com/office/drawing/2014/main" id="{40B0B5DE-454A-53C3-57DF-D5CC8372C575}"/>
                  </a:ext>
                </a:extLst>
              </p:cNvPr>
              <p:cNvSpPr/>
              <p:nvPr/>
            </p:nvSpPr>
            <p:spPr>
              <a:xfrm>
                <a:off x="6463981" y="3518155"/>
                <a:ext cx="109520" cy="97843"/>
              </a:xfrm>
              <a:custGeom>
                <a:avLst/>
                <a:gdLst>
                  <a:gd name="connsiteX0" fmla="*/ 108062 w 109520"/>
                  <a:gd name="connsiteY0" fmla="*/ 43446 h 97843"/>
                  <a:gd name="connsiteX1" fmla="*/ 86141 w 109520"/>
                  <a:gd name="connsiteY1" fmla="*/ 5476 h 97843"/>
                  <a:gd name="connsiteX2" fmla="*/ 76681 w 109520"/>
                  <a:gd name="connsiteY2" fmla="*/ 0 h 97843"/>
                  <a:gd name="connsiteX3" fmla="*/ 32840 w 109520"/>
                  <a:gd name="connsiteY3" fmla="*/ 0 h 97843"/>
                  <a:gd name="connsiteX4" fmla="*/ 23379 w 109520"/>
                  <a:gd name="connsiteY4" fmla="*/ 5476 h 97843"/>
                  <a:gd name="connsiteX5" fmla="*/ 1459 w 109520"/>
                  <a:gd name="connsiteY5" fmla="*/ 43446 h 97843"/>
                  <a:gd name="connsiteX6" fmla="*/ 1459 w 109520"/>
                  <a:gd name="connsiteY6" fmla="*/ 54398 h 97843"/>
                  <a:gd name="connsiteX7" fmla="*/ 23379 w 109520"/>
                  <a:gd name="connsiteY7" fmla="*/ 92367 h 97843"/>
                  <a:gd name="connsiteX8" fmla="*/ 32840 w 109520"/>
                  <a:gd name="connsiteY8" fmla="*/ 97843 h 97843"/>
                  <a:gd name="connsiteX9" fmla="*/ 76681 w 109520"/>
                  <a:gd name="connsiteY9" fmla="*/ 97843 h 97843"/>
                  <a:gd name="connsiteX10" fmla="*/ 86141 w 109520"/>
                  <a:gd name="connsiteY10" fmla="*/ 92367 h 97843"/>
                  <a:gd name="connsiteX11" fmla="*/ 108062 w 109520"/>
                  <a:gd name="connsiteY11" fmla="*/ 54398 h 97843"/>
                  <a:gd name="connsiteX12" fmla="*/ 108062 w 109520"/>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20" h="97843">
                    <a:moveTo>
                      <a:pt x="108062" y="43446"/>
                    </a:moveTo>
                    <a:lnTo>
                      <a:pt x="86141" y="5476"/>
                    </a:lnTo>
                    <a:cubicBezTo>
                      <a:pt x="84196" y="2078"/>
                      <a:pt x="80570" y="0"/>
                      <a:pt x="76681" y="0"/>
                    </a:cubicBezTo>
                    <a:lnTo>
                      <a:pt x="32840" y="0"/>
                    </a:lnTo>
                    <a:cubicBezTo>
                      <a:pt x="28917" y="0"/>
                      <a:pt x="25324" y="2078"/>
                      <a:pt x="23379" y="5476"/>
                    </a:cubicBezTo>
                    <a:lnTo>
                      <a:pt x="1459" y="43446"/>
                    </a:lnTo>
                    <a:cubicBezTo>
                      <a:pt x="-486" y="46843"/>
                      <a:pt x="-486" y="51000"/>
                      <a:pt x="1459" y="54398"/>
                    </a:cubicBezTo>
                    <a:lnTo>
                      <a:pt x="23379" y="92367"/>
                    </a:lnTo>
                    <a:cubicBezTo>
                      <a:pt x="25324" y="95765"/>
                      <a:pt x="28950" y="97843"/>
                      <a:pt x="32840" y="97843"/>
                    </a:cubicBezTo>
                    <a:lnTo>
                      <a:pt x="76681" y="97843"/>
                    </a:lnTo>
                    <a:cubicBezTo>
                      <a:pt x="80603" y="97843"/>
                      <a:pt x="84196" y="95765"/>
                      <a:pt x="86141" y="92367"/>
                    </a:cubicBezTo>
                    <a:lnTo>
                      <a:pt x="108062" y="54398"/>
                    </a:lnTo>
                    <a:cubicBezTo>
                      <a:pt x="110007" y="51000"/>
                      <a:pt x="110007" y="46843"/>
                      <a:pt x="108062" y="43446"/>
                    </a:cubicBezTo>
                    <a:close/>
                  </a:path>
                </a:pathLst>
              </a:custGeom>
              <a:solidFill>
                <a:srgbClr val="FFFFFF"/>
              </a:solidFill>
              <a:ln w="3283" cap="flat">
                <a:noFill/>
                <a:prstDash val="solid"/>
                <a:miter/>
              </a:ln>
            </p:spPr>
            <p:txBody>
              <a:bodyPr rtlCol="0" anchor="ctr"/>
              <a:lstStyle/>
              <a:p>
                <a:endParaRPr lang="en-US"/>
              </a:p>
            </p:txBody>
          </p:sp>
          <p:grpSp>
            <p:nvGrpSpPr>
              <p:cNvPr id="1301" name="Graphic 776">
                <a:extLst>
                  <a:ext uri="{FF2B5EF4-FFF2-40B4-BE49-F238E27FC236}">
                    <a16:creationId xmlns:a16="http://schemas.microsoft.com/office/drawing/2014/main" id="{4E8FA57D-C056-EB7D-18D7-AF2D4E684AA4}"/>
                  </a:ext>
                </a:extLst>
              </p:cNvPr>
              <p:cNvGrpSpPr/>
              <p:nvPr/>
            </p:nvGrpSpPr>
            <p:grpSpPr>
              <a:xfrm>
                <a:off x="6462671" y="3515384"/>
                <a:ext cx="113571" cy="103352"/>
                <a:chOff x="6462671" y="3515384"/>
                <a:chExt cx="113571" cy="103352"/>
              </a:xfrm>
              <a:solidFill>
                <a:srgbClr val="5856D6"/>
              </a:solidFill>
            </p:grpSpPr>
            <p:sp>
              <p:nvSpPr>
                <p:cNvPr id="1302" name="Freeform 1301">
                  <a:extLst>
                    <a:ext uri="{FF2B5EF4-FFF2-40B4-BE49-F238E27FC236}">
                      <a16:creationId xmlns:a16="http://schemas.microsoft.com/office/drawing/2014/main" id="{B2409DB5-A437-D7B6-AAF4-37C0D742E30C}"/>
                    </a:ext>
                  </a:extLst>
                </p:cNvPr>
                <p:cNvSpPr/>
                <p:nvPr/>
              </p:nvSpPr>
              <p:spPr>
                <a:xfrm>
                  <a:off x="6552219" y="3529259"/>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303" name="Freeform 1302">
                  <a:extLst>
                    <a:ext uri="{FF2B5EF4-FFF2-40B4-BE49-F238E27FC236}">
                      <a16:creationId xmlns:a16="http://schemas.microsoft.com/office/drawing/2014/main" id="{6BB23524-E388-3665-21AA-50B02A30877C}"/>
                    </a:ext>
                  </a:extLst>
                </p:cNvPr>
                <p:cNvSpPr/>
                <p:nvPr/>
              </p:nvSpPr>
              <p:spPr>
                <a:xfrm>
                  <a:off x="6522236" y="3515384"/>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7"/>
                        <a:pt x="21031" y="3068"/>
                      </a:cubicBezTo>
                      <a:cubicBezTo>
                        <a:pt x="20602" y="4520"/>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304" name="Freeform 1303">
                  <a:extLst>
                    <a:ext uri="{FF2B5EF4-FFF2-40B4-BE49-F238E27FC236}">
                      <a16:creationId xmlns:a16="http://schemas.microsoft.com/office/drawing/2014/main" id="{7A8370E4-6FC1-4E5B-40D9-A92B6C547AC8}"/>
                    </a:ext>
                  </a:extLst>
                </p:cNvPr>
                <p:cNvSpPr/>
                <p:nvPr/>
              </p:nvSpPr>
              <p:spPr>
                <a:xfrm>
                  <a:off x="6486152" y="3515384"/>
                  <a:ext cx="20294" cy="8655"/>
                </a:xfrm>
                <a:custGeom>
                  <a:avLst/>
                  <a:gdLst>
                    <a:gd name="connsiteX0" fmla="*/ 813 w 20294"/>
                    <a:gd name="connsiteY0" fmla="*/ 4223 h 8655"/>
                    <a:gd name="connsiteX1" fmla="*/ 9515 w 20294"/>
                    <a:gd name="connsiteY1" fmla="*/ 66 h 8655"/>
                    <a:gd name="connsiteX2" fmla="*/ 17657 w 20294"/>
                    <a:gd name="connsiteY2" fmla="*/ 0 h 8655"/>
                    <a:gd name="connsiteX3" fmla="*/ 20294 w 20294"/>
                    <a:gd name="connsiteY3" fmla="*/ 2738 h 8655"/>
                    <a:gd name="connsiteX4" fmla="*/ 17657 w 20294"/>
                    <a:gd name="connsiteY4" fmla="*/ 5476 h 8655"/>
                    <a:gd name="connsiteX5" fmla="*/ 9977 w 20294"/>
                    <a:gd name="connsiteY5" fmla="*/ 5476 h 8655"/>
                    <a:gd name="connsiteX6" fmla="*/ 4769 w 20294"/>
                    <a:gd name="connsiteY6" fmla="*/ 8016 h 8655"/>
                    <a:gd name="connsiteX7" fmla="*/ 1209 w 20294"/>
                    <a:gd name="connsiteY7" fmla="*/ 8214 h 8655"/>
                    <a:gd name="connsiteX8" fmla="*/ 813 w 20294"/>
                    <a:gd name="connsiteY8" fmla="*/ 4223 h 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55">
                      <a:moveTo>
                        <a:pt x="813" y="4223"/>
                      </a:moveTo>
                      <a:cubicBezTo>
                        <a:pt x="3088" y="1848"/>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07"/>
                        <a:pt x="1209" y="8214"/>
                      </a:cubicBezTo>
                      <a:cubicBezTo>
                        <a:pt x="-110" y="7521"/>
                        <a:pt x="-505" y="5575"/>
                        <a:pt x="813" y="4223"/>
                      </a:cubicBezTo>
                      <a:close/>
                    </a:path>
                  </a:pathLst>
                </a:custGeom>
                <a:solidFill>
                  <a:srgbClr val="5856D6"/>
                </a:solidFill>
                <a:ln w="3283" cap="flat">
                  <a:noFill/>
                  <a:prstDash val="solid"/>
                  <a:miter/>
                </a:ln>
              </p:spPr>
              <p:txBody>
                <a:bodyPr rtlCol="0" anchor="ctr"/>
                <a:lstStyle/>
                <a:p>
                  <a:endParaRPr lang="en-US"/>
                </a:p>
              </p:txBody>
            </p:sp>
            <p:sp>
              <p:nvSpPr>
                <p:cNvPr id="1305" name="Freeform 1304">
                  <a:extLst>
                    <a:ext uri="{FF2B5EF4-FFF2-40B4-BE49-F238E27FC236}">
                      <a16:creationId xmlns:a16="http://schemas.microsoft.com/office/drawing/2014/main" id="{6568A5CB-13C2-337D-5D26-64CEC42A5669}"/>
                    </a:ext>
                  </a:extLst>
                </p:cNvPr>
                <p:cNvSpPr/>
                <p:nvPr/>
              </p:nvSpPr>
              <p:spPr>
                <a:xfrm>
                  <a:off x="6467537" y="3536927"/>
                  <a:ext cx="13342" cy="18998"/>
                </a:xfrm>
                <a:custGeom>
                  <a:avLst/>
                  <a:gdLst>
                    <a:gd name="connsiteX0" fmla="*/ 342 w 13342"/>
                    <a:gd name="connsiteY0" fmla="*/ 14975 h 18998"/>
                    <a:gd name="connsiteX1" fmla="*/ 8254 w 13342"/>
                    <a:gd name="connsiteY1" fmla="*/ 1285 h 18998"/>
                    <a:gd name="connsiteX2" fmla="*/ 11945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5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5"/>
                      </a:moveTo>
                      <a:lnTo>
                        <a:pt x="8254" y="1285"/>
                      </a:lnTo>
                      <a:cubicBezTo>
                        <a:pt x="8979" y="32"/>
                        <a:pt x="10627" y="-364"/>
                        <a:pt x="11945" y="362"/>
                      </a:cubicBezTo>
                      <a:cubicBezTo>
                        <a:pt x="13264" y="1120"/>
                        <a:pt x="13726" y="2770"/>
                        <a:pt x="13000" y="4023"/>
                      </a:cubicBezTo>
                      <a:lnTo>
                        <a:pt x="5089" y="17714"/>
                      </a:lnTo>
                      <a:cubicBezTo>
                        <a:pt x="4364" y="18967"/>
                        <a:pt x="2716" y="19363"/>
                        <a:pt x="1397" y="18637"/>
                      </a:cubicBezTo>
                      <a:cubicBezTo>
                        <a:pt x="79" y="17878"/>
                        <a:pt x="-383" y="16229"/>
                        <a:pt x="342" y="14975"/>
                      </a:cubicBezTo>
                      <a:close/>
                    </a:path>
                  </a:pathLst>
                </a:custGeom>
                <a:solidFill>
                  <a:srgbClr val="5856D6"/>
                </a:solidFill>
                <a:ln w="3283" cap="flat">
                  <a:noFill/>
                  <a:prstDash val="solid"/>
                  <a:miter/>
                </a:ln>
              </p:spPr>
              <p:txBody>
                <a:bodyPr rtlCol="0" anchor="ctr"/>
                <a:lstStyle/>
                <a:p>
                  <a:endParaRPr lang="en-US"/>
                </a:p>
              </p:txBody>
            </p:sp>
            <p:sp>
              <p:nvSpPr>
                <p:cNvPr id="1306" name="Freeform 1305">
                  <a:extLst>
                    <a:ext uri="{FF2B5EF4-FFF2-40B4-BE49-F238E27FC236}">
                      <a16:creationId xmlns:a16="http://schemas.microsoft.com/office/drawing/2014/main" id="{DB783D61-F6FB-CB56-1648-C86F0B3E95C7}"/>
                    </a:ext>
                  </a:extLst>
                </p:cNvPr>
                <p:cNvSpPr/>
                <p:nvPr/>
              </p:nvSpPr>
              <p:spPr>
                <a:xfrm>
                  <a:off x="6462671" y="3569996"/>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4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15" y="281"/>
                        <a:pt x="5142" y="1171"/>
                      </a:cubicBezTo>
                      <a:lnTo>
                        <a:pt x="13054" y="14862"/>
                      </a:lnTo>
                      <a:cubicBezTo>
                        <a:pt x="13779" y="16115"/>
                        <a:pt x="13317" y="17764"/>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307" name="Freeform 1306">
                  <a:extLst>
                    <a:ext uri="{FF2B5EF4-FFF2-40B4-BE49-F238E27FC236}">
                      <a16:creationId xmlns:a16="http://schemas.microsoft.com/office/drawing/2014/main" id="{9A741A81-0BEE-ED90-6692-348A8397FD53}"/>
                    </a:ext>
                  </a:extLst>
                </p:cNvPr>
                <p:cNvSpPr/>
                <p:nvPr/>
              </p:nvSpPr>
              <p:spPr>
                <a:xfrm>
                  <a:off x="6481151" y="3601800"/>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6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2" y="15749"/>
                        <a:pt x="6342" y="13803"/>
                        <a:pt x="4463" y="11065"/>
                      </a:cubicBezTo>
                      <a:cubicBezTo>
                        <a:pt x="2815" y="8425"/>
                        <a:pt x="1727" y="6413"/>
                        <a:pt x="342" y="4038"/>
                      </a:cubicBezTo>
                      <a:cubicBezTo>
                        <a:pt x="-383" y="2785"/>
                        <a:pt x="79" y="1135"/>
                        <a:pt x="1397" y="376"/>
                      </a:cubicBezTo>
                      <a:cubicBezTo>
                        <a:pt x="2716" y="-382"/>
                        <a:pt x="4364" y="46"/>
                        <a:pt x="5089" y="1300"/>
                      </a:cubicBezTo>
                      <a:lnTo>
                        <a:pt x="8946" y="7931"/>
                      </a:lnTo>
                      <a:cubicBezTo>
                        <a:pt x="10067" y="9547"/>
                        <a:pt x="11814" y="10735"/>
                        <a:pt x="13726" y="11197"/>
                      </a:cubicBezTo>
                      <a:cubicBezTo>
                        <a:pt x="14714" y="11460"/>
                        <a:pt x="15604" y="12648"/>
                        <a:pt x="15670" y="14166"/>
                      </a:cubicBezTo>
                      <a:cubicBezTo>
                        <a:pt x="15736" y="15650"/>
                        <a:pt x="14253" y="16969"/>
                        <a:pt x="12407" y="16508"/>
                      </a:cubicBezTo>
                      <a:close/>
                    </a:path>
                  </a:pathLst>
                </a:custGeom>
                <a:solidFill>
                  <a:srgbClr val="5856D6"/>
                </a:solidFill>
                <a:ln w="3283" cap="flat">
                  <a:noFill/>
                  <a:prstDash val="solid"/>
                  <a:miter/>
                </a:ln>
              </p:spPr>
              <p:txBody>
                <a:bodyPr rtlCol="0" anchor="ctr"/>
                <a:lstStyle/>
                <a:p>
                  <a:endParaRPr lang="en-US"/>
                </a:p>
              </p:txBody>
            </p:sp>
            <p:sp>
              <p:nvSpPr>
                <p:cNvPr id="1308" name="Freeform 1307">
                  <a:extLst>
                    <a:ext uri="{FF2B5EF4-FFF2-40B4-BE49-F238E27FC236}">
                      <a16:creationId xmlns:a16="http://schemas.microsoft.com/office/drawing/2014/main" id="{247C05D9-0C64-80C3-3465-0EEA0A9F90E8}"/>
                    </a:ext>
                  </a:extLst>
                </p:cNvPr>
                <p:cNvSpPr/>
                <p:nvPr/>
              </p:nvSpPr>
              <p:spPr>
                <a:xfrm>
                  <a:off x="6512643" y="3613261"/>
                  <a:ext cx="21063" cy="5475"/>
                </a:xfrm>
                <a:custGeom>
                  <a:avLst/>
                  <a:gdLst>
                    <a:gd name="connsiteX0" fmla="*/ 18426 w 21063"/>
                    <a:gd name="connsiteY0" fmla="*/ 5476 h 5475"/>
                    <a:gd name="connsiteX1" fmla="*/ 2637 w 21063"/>
                    <a:gd name="connsiteY1" fmla="*/ 5476 h 5475"/>
                    <a:gd name="connsiteX2" fmla="*/ 0 w 21063"/>
                    <a:gd name="connsiteY2" fmla="*/ 2738 h 5475"/>
                    <a:gd name="connsiteX3" fmla="*/ 2637 w 21063"/>
                    <a:gd name="connsiteY3" fmla="*/ 0 h 5475"/>
                    <a:gd name="connsiteX4" fmla="*/ 18426 w 21063"/>
                    <a:gd name="connsiteY4" fmla="*/ 0 h 5475"/>
                    <a:gd name="connsiteX5" fmla="*/ 21064 w 21063"/>
                    <a:gd name="connsiteY5" fmla="*/ 2738 h 5475"/>
                    <a:gd name="connsiteX6" fmla="*/ 18426 w 21063"/>
                    <a:gd name="connsiteY6" fmla="*/ 5476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5">
                      <a:moveTo>
                        <a:pt x="18426" y="5476"/>
                      </a:moveTo>
                      <a:lnTo>
                        <a:pt x="2637" y="5476"/>
                      </a:lnTo>
                      <a:cubicBezTo>
                        <a:pt x="1187" y="5476"/>
                        <a:pt x="0" y="4255"/>
                        <a:pt x="0" y="2738"/>
                      </a:cubicBezTo>
                      <a:cubicBezTo>
                        <a:pt x="0" y="1221"/>
                        <a:pt x="1187" y="0"/>
                        <a:pt x="2637" y="0"/>
                      </a:cubicBezTo>
                      <a:lnTo>
                        <a:pt x="18426" y="0"/>
                      </a:lnTo>
                      <a:cubicBezTo>
                        <a:pt x="19877" y="0"/>
                        <a:pt x="21064" y="1221"/>
                        <a:pt x="21064" y="2738"/>
                      </a:cubicBezTo>
                      <a:cubicBezTo>
                        <a:pt x="21064" y="4255"/>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309" name="Freeform 1308">
                  <a:extLst>
                    <a:ext uri="{FF2B5EF4-FFF2-40B4-BE49-F238E27FC236}">
                      <a16:creationId xmlns:a16="http://schemas.microsoft.com/office/drawing/2014/main" id="{7B9698A6-CFCC-B63F-5879-B9B2ECB9438D}"/>
                    </a:ext>
                  </a:extLst>
                </p:cNvPr>
                <p:cNvSpPr/>
                <p:nvPr/>
              </p:nvSpPr>
              <p:spPr>
                <a:xfrm>
                  <a:off x="6547500" y="3594194"/>
                  <a:ext cx="13249" cy="19120"/>
                </a:xfrm>
                <a:custGeom>
                  <a:avLst/>
                  <a:gdLst>
                    <a:gd name="connsiteX0" fmla="*/ 12907 w 13249"/>
                    <a:gd name="connsiteY0" fmla="*/ 4023 h 19120"/>
                    <a:gd name="connsiteX1" fmla="*/ 4996 w 13249"/>
                    <a:gd name="connsiteY1" fmla="*/ 17714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4"/>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310" name="Freeform 1309">
                  <a:extLst>
                    <a:ext uri="{FF2B5EF4-FFF2-40B4-BE49-F238E27FC236}">
                      <a16:creationId xmlns:a16="http://schemas.microsoft.com/office/drawing/2014/main" id="{7027C6BF-185F-B19B-185F-FB139ED8E131}"/>
                    </a:ext>
                  </a:extLst>
                </p:cNvPr>
                <p:cNvSpPr/>
                <p:nvPr/>
              </p:nvSpPr>
              <p:spPr>
                <a:xfrm>
                  <a:off x="6565833" y="3561231"/>
                  <a:ext cx="10409" cy="19996"/>
                </a:xfrm>
                <a:custGeom>
                  <a:avLst/>
                  <a:gdLst>
                    <a:gd name="connsiteX0" fmla="*/ 9869 w 10409"/>
                    <a:gd name="connsiteY0" fmla="*/ 2019 h 19996"/>
                    <a:gd name="connsiteX1" fmla="*/ 9111 w 10409"/>
                    <a:gd name="connsiteY1" fmla="*/ 11652 h 19996"/>
                    <a:gd name="connsiteX2" fmla="*/ 5089 w 10409"/>
                    <a:gd name="connsiteY2" fmla="*/ 18711 h 19996"/>
                    <a:gd name="connsiteX3" fmla="*/ 1397 w 10409"/>
                    <a:gd name="connsiteY3" fmla="*/ 19635 h 19996"/>
                    <a:gd name="connsiteX4" fmla="*/ 342 w 10409"/>
                    <a:gd name="connsiteY4" fmla="*/ 15973 h 19996"/>
                    <a:gd name="connsiteX5" fmla="*/ 4133 w 10409"/>
                    <a:gd name="connsiteY5" fmla="*/ 9310 h 19996"/>
                    <a:gd name="connsiteX6" fmla="*/ 4595 w 10409"/>
                    <a:gd name="connsiteY6" fmla="*/ 3537 h 19996"/>
                    <a:gd name="connsiteX7" fmla="*/ 6210 w 10409"/>
                    <a:gd name="connsiteY7" fmla="*/ 337 h 19996"/>
                    <a:gd name="connsiteX8" fmla="*/ 9869 w 10409"/>
                    <a:gd name="connsiteY8" fmla="*/ 1986 h 1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96">
                      <a:moveTo>
                        <a:pt x="9869" y="2019"/>
                      </a:moveTo>
                      <a:cubicBezTo>
                        <a:pt x="10792" y="5186"/>
                        <a:pt x="10528" y="8683"/>
                        <a:pt x="9111" y="11652"/>
                      </a:cubicBezTo>
                      <a:cubicBezTo>
                        <a:pt x="7660" y="14390"/>
                        <a:pt x="6441" y="16336"/>
                        <a:pt x="5089" y="18711"/>
                      </a:cubicBezTo>
                      <a:cubicBezTo>
                        <a:pt x="4364" y="19965"/>
                        <a:pt x="2716" y="20361"/>
                        <a:pt x="1397" y="19635"/>
                      </a:cubicBezTo>
                      <a:cubicBezTo>
                        <a:pt x="79" y="18876"/>
                        <a:pt x="-383" y="17227"/>
                        <a:pt x="342" y="15973"/>
                      </a:cubicBezTo>
                      <a:lnTo>
                        <a:pt x="4133" y="9310"/>
                      </a:lnTo>
                      <a:cubicBezTo>
                        <a:pt x="4990" y="7528"/>
                        <a:pt x="5122" y="5417"/>
                        <a:pt x="4595" y="3537"/>
                      </a:cubicBezTo>
                      <a:cubicBezTo>
                        <a:pt x="4331" y="2547"/>
                        <a:pt x="4924" y="1161"/>
                        <a:pt x="6210" y="337"/>
                      </a:cubicBezTo>
                      <a:cubicBezTo>
                        <a:pt x="7462"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311" name="Freeform 1310">
              <a:extLst>
                <a:ext uri="{FF2B5EF4-FFF2-40B4-BE49-F238E27FC236}">
                  <a16:creationId xmlns:a16="http://schemas.microsoft.com/office/drawing/2014/main" id="{67A5F036-A5CD-D509-C6C3-1754A0E87A77}"/>
                </a:ext>
              </a:extLst>
            </p:cNvPr>
            <p:cNvSpPr/>
            <p:nvPr/>
          </p:nvSpPr>
          <p:spPr>
            <a:xfrm>
              <a:off x="6491332" y="3542599"/>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312" name="Graphic 776">
            <a:extLst>
              <a:ext uri="{FF2B5EF4-FFF2-40B4-BE49-F238E27FC236}">
                <a16:creationId xmlns:a16="http://schemas.microsoft.com/office/drawing/2014/main" id="{8D795160-7BED-7D2F-5BA5-A02A67A89A9E}"/>
              </a:ext>
            </a:extLst>
          </p:cNvPr>
          <p:cNvGrpSpPr/>
          <p:nvPr/>
        </p:nvGrpSpPr>
        <p:grpSpPr>
          <a:xfrm>
            <a:off x="6791965" y="4215039"/>
            <a:ext cx="578011" cy="535005"/>
            <a:chOff x="6231961" y="4129891"/>
            <a:chExt cx="578011" cy="535005"/>
          </a:xfrm>
        </p:grpSpPr>
        <p:sp>
          <p:nvSpPr>
            <p:cNvPr id="1313" name="Freeform 1312">
              <a:extLst>
                <a:ext uri="{FF2B5EF4-FFF2-40B4-BE49-F238E27FC236}">
                  <a16:creationId xmlns:a16="http://schemas.microsoft.com/office/drawing/2014/main" id="{E8212760-C647-D0E8-B5ED-AC6F45A4D6AF}"/>
                </a:ext>
              </a:extLst>
            </p:cNvPr>
            <p:cNvSpPr/>
            <p:nvPr/>
          </p:nvSpPr>
          <p:spPr>
            <a:xfrm>
              <a:off x="6234005" y="4131903"/>
              <a:ext cx="573989" cy="530947"/>
            </a:xfrm>
            <a:custGeom>
              <a:avLst/>
              <a:gdLst>
                <a:gd name="connsiteX0" fmla="*/ 368364 w 573989"/>
                <a:gd name="connsiteY0" fmla="*/ 530948 h 530947"/>
                <a:gd name="connsiteX1" fmla="*/ 476022 w 573989"/>
                <a:gd name="connsiteY1" fmla="*/ 468732 h 530947"/>
                <a:gd name="connsiteX2" fmla="*/ 557376 w 573989"/>
                <a:gd name="connsiteY2" fmla="*/ 327673 h 530947"/>
                <a:gd name="connsiteX3" fmla="*/ 557376 w 573989"/>
                <a:gd name="connsiteY3" fmla="*/ 203241 h 530947"/>
                <a:gd name="connsiteX4" fmla="*/ 476022 w 573989"/>
                <a:gd name="connsiteY4" fmla="*/ 62216 h 530947"/>
                <a:gd name="connsiteX5" fmla="*/ 368331 w 573989"/>
                <a:gd name="connsiteY5" fmla="*/ 0 h 530947"/>
                <a:gd name="connsiteX6" fmla="*/ 205625 w 573989"/>
                <a:gd name="connsiteY6" fmla="*/ 0 h 530947"/>
                <a:gd name="connsiteX7" fmla="*/ 97967 w 573989"/>
                <a:gd name="connsiteY7" fmla="*/ 62216 h 530947"/>
                <a:gd name="connsiteX8" fmla="*/ 16613 w 573989"/>
                <a:gd name="connsiteY8" fmla="*/ 203241 h 530947"/>
                <a:gd name="connsiteX9" fmla="*/ 16613 w 573989"/>
                <a:gd name="connsiteY9" fmla="*/ 327673 h 530947"/>
                <a:gd name="connsiteX10" fmla="*/ 97967 w 573989"/>
                <a:gd name="connsiteY10" fmla="*/ 468699 h 530947"/>
                <a:gd name="connsiteX11" fmla="*/ 205625 w 573989"/>
                <a:gd name="connsiteY11" fmla="*/ 530915 h 530947"/>
                <a:gd name="connsiteX12" fmla="*/ 368331 w 573989"/>
                <a:gd name="connsiteY12" fmla="*/ 530915 h 53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47">
                  <a:moveTo>
                    <a:pt x="368364" y="530948"/>
                  </a:moveTo>
                  <a:cubicBezTo>
                    <a:pt x="412634" y="530948"/>
                    <a:pt x="453904" y="507130"/>
                    <a:pt x="476022" y="468732"/>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9"/>
                  </a:lnTo>
                  <a:cubicBezTo>
                    <a:pt x="120118" y="507064"/>
                    <a:pt x="161355" y="530915"/>
                    <a:pt x="205625" y="530915"/>
                  </a:cubicBezTo>
                  <a:lnTo>
                    <a:pt x="368331" y="530915"/>
                  </a:lnTo>
                  <a:close/>
                </a:path>
              </a:pathLst>
            </a:custGeom>
            <a:solidFill>
              <a:srgbClr val="FFFFFF"/>
            </a:solidFill>
            <a:ln w="3283" cap="flat">
              <a:noFill/>
              <a:prstDash val="solid"/>
              <a:miter/>
            </a:ln>
          </p:spPr>
          <p:txBody>
            <a:bodyPr rtlCol="0" anchor="ctr"/>
            <a:lstStyle/>
            <a:p>
              <a:endParaRPr lang="en-US"/>
            </a:p>
          </p:txBody>
        </p:sp>
        <p:grpSp>
          <p:nvGrpSpPr>
            <p:cNvPr id="1314" name="Graphic 776">
              <a:extLst>
                <a:ext uri="{FF2B5EF4-FFF2-40B4-BE49-F238E27FC236}">
                  <a16:creationId xmlns:a16="http://schemas.microsoft.com/office/drawing/2014/main" id="{CF1CAB1E-C4D0-5813-A06F-F0690ACBDD8A}"/>
                </a:ext>
              </a:extLst>
            </p:cNvPr>
            <p:cNvGrpSpPr/>
            <p:nvPr/>
          </p:nvGrpSpPr>
          <p:grpSpPr>
            <a:xfrm>
              <a:off x="6231961" y="4129891"/>
              <a:ext cx="578011" cy="535005"/>
              <a:chOff x="6231961" y="4129891"/>
              <a:chExt cx="578011" cy="535005"/>
            </a:xfrm>
            <a:solidFill>
              <a:srgbClr val="5856D6"/>
            </a:solidFill>
          </p:grpSpPr>
          <p:sp>
            <p:nvSpPr>
              <p:cNvPr id="1315" name="Freeform 1314">
                <a:extLst>
                  <a:ext uri="{FF2B5EF4-FFF2-40B4-BE49-F238E27FC236}">
                    <a16:creationId xmlns:a16="http://schemas.microsoft.com/office/drawing/2014/main" id="{C9326CCF-0974-D7FF-3F0E-D5003D7A6DD9}"/>
                  </a:ext>
                </a:extLst>
              </p:cNvPr>
              <p:cNvSpPr/>
              <p:nvPr/>
            </p:nvSpPr>
            <p:spPr>
              <a:xfrm>
                <a:off x="6614656" y="4657879"/>
                <a:ext cx="16249" cy="6133"/>
              </a:xfrm>
              <a:custGeom>
                <a:avLst/>
                <a:gdLst>
                  <a:gd name="connsiteX0" fmla="*/ 13787 w 16249"/>
                  <a:gd name="connsiteY0" fmla="*/ 23 h 6133"/>
                  <a:gd name="connsiteX1" fmla="*/ 7820 w 16249"/>
                  <a:gd name="connsiteY1" fmla="*/ 1178 h 6133"/>
                  <a:gd name="connsiteX2" fmla="*/ 1821 w 16249"/>
                  <a:gd name="connsiteY2" fmla="*/ 2035 h 6133"/>
                  <a:gd name="connsiteX3" fmla="*/ 8 w 16249"/>
                  <a:gd name="connsiteY3" fmla="*/ 4279 h 6133"/>
                  <a:gd name="connsiteX4" fmla="*/ 2283 w 16249"/>
                  <a:gd name="connsiteY4" fmla="*/ 6126 h 6133"/>
                  <a:gd name="connsiteX5" fmla="*/ 8480 w 16249"/>
                  <a:gd name="connsiteY5" fmla="*/ 5235 h 6133"/>
                  <a:gd name="connsiteX6" fmla="*/ 14644 w 16249"/>
                  <a:gd name="connsiteY6" fmla="*/ 4048 h 6133"/>
                  <a:gd name="connsiteX7" fmla="*/ 16193 w 16249"/>
                  <a:gd name="connsiteY7" fmla="*/ 1574 h 6133"/>
                  <a:gd name="connsiteX8" fmla="*/ 13754 w 16249"/>
                  <a:gd name="connsiteY8" fmla="*/ 56 h 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3">
                    <a:moveTo>
                      <a:pt x="13787" y="23"/>
                    </a:moveTo>
                    <a:cubicBezTo>
                      <a:pt x="11842" y="551"/>
                      <a:pt x="9831" y="815"/>
                      <a:pt x="7820" y="1178"/>
                    </a:cubicBezTo>
                    <a:cubicBezTo>
                      <a:pt x="5810" y="1508"/>
                      <a:pt x="3832" y="1904"/>
                      <a:pt x="1821" y="2035"/>
                    </a:cubicBezTo>
                    <a:cubicBezTo>
                      <a:pt x="733" y="2134"/>
                      <a:pt x="-91" y="3157"/>
                      <a:pt x="8" y="4279"/>
                    </a:cubicBezTo>
                    <a:cubicBezTo>
                      <a:pt x="107" y="5400"/>
                      <a:pt x="1129" y="6225"/>
                      <a:pt x="2283" y="6126"/>
                    </a:cubicBezTo>
                    <a:cubicBezTo>
                      <a:pt x="4359" y="5961"/>
                      <a:pt x="6436" y="5565"/>
                      <a:pt x="8480" y="5235"/>
                    </a:cubicBezTo>
                    <a:cubicBezTo>
                      <a:pt x="10556" y="4873"/>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316" name="Freeform 1315">
                <a:extLst>
                  <a:ext uri="{FF2B5EF4-FFF2-40B4-BE49-F238E27FC236}">
                    <a16:creationId xmlns:a16="http://schemas.microsoft.com/office/drawing/2014/main" id="{7BF1CBEE-9A3B-3300-D594-03DEA928C085}"/>
                  </a:ext>
                </a:extLst>
              </p:cNvPr>
              <p:cNvSpPr/>
              <p:nvPr/>
            </p:nvSpPr>
            <p:spPr>
              <a:xfrm>
                <a:off x="6642639" y="4648513"/>
                <a:ext cx="15499" cy="8874"/>
              </a:xfrm>
              <a:custGeom>
                <a:avLst/>
                <a:gdLst>
                  <a:gd name="connsiteX0" fmla="*/ 12538 w 15499"/>
                  <a:gd name="connsiteY0" fmla="*/ 186 h 8874"/>
                  <a:gd name="connsiteX1" fmla="*/ 7000 w 15499"/>
                  <a:gd name="connsiteY1" fmla="*/ 2693 h 8874"/>
                  <a:gd name="connsiteX2" fmla="*/ 1330 w 15499"/>
                  <a:gd name="connsiteY2" fmla="*/ 4870 h 8874"/>
                  <a:gd name="connsiteX3" fmla="*/ 111 w 15499"/>
                  <a:gd name="connsiteY3" fmla="*/ 7542 h 8874"/>
                  <a:gd name="connsiteX4" fmla="*/ 2748 w 15499"/>
                  <a:gd name="connsiteY4" fmla="*/ 8730 h 8874"/>
                  <a:gd name="connsiteX5" fmla="*/ 8615 w 15499"/>
                  <a:gd name="connsiteY5" fmla="*/ 6487 h 8874"/>
                  <a:gd name="connsiteX6" fmla="*/ 14318 w 15499"/>
                  <a:gd name="connsiteY6" fmla="*/ 3881 h 8874"/>
                  <a:gd name="connsiteX7" fmla="*/ 15274 w 15499"/>
                  <a:gd name="connsiteY7" fmla="*/ 1142 h 8874"/>
                  <a:gd name="connsiteX8" fmla="*/ 12538 w 15499"/>
                  <a:gd name="connsiteY8" fmla="*/ 186 h 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74">
                    <a:moveTo>
                      <a:pt x="12538" y="186"/>
                    </a:moveTo>
                    <a:lnTo>
                      <a:pt x="7000" y="2693"/>
                    </a:lnTo>
                    <a:lnTo>
                      <a:pt x="1330" y="4870"/>
                    </a:lnTo>
                    <a:cubicBezTo>
                      <a:pt x="308" y="5266"/>
                      <a:pt x="-252" y="6454"/>
                      <a:pt x="111" y="7542"/>
                    </a:cubicBezTo>
                    <a:cubicBezTo>
                      <a:pt x="473" y="8598"/>
                      <a:pt x="1660" y="9159"/>
                      <a:pt x="2748" y="8730"/>
                    </a:cubicBezTo>
                    <a:lnTo>
                      <a:pt x="8615" y="6487"/>
                    </a:lnTo>
                    <a:lnTo>
                      <a:pt x="14318" y="3881"/>
                    </a:lnTo>
                    <a:cubicBezTo>
                      <a:pt x="15373" y="3419"/>
                      <a:pt x="15801" y="2165"/>
                      <a:pt x="15274" y="1142"/>
                    </a:cubicBezTo>
                    <a:cubicBezTo>
                      <a:pt x="14779" y="153"/>
                      <a:pt x="13560" y="-276"/>
                      <a:pt x="12538" y="186"/>
                    </a:cubicBezTo>
                    <a:close/>
                  </a:path>
                </a:pathLst>
              </a:custGeom>
              <a:solidFill>
                <a:srgbClr val="5856D6"/>
              </a:solidFill>
              <a:ln w="3283" cap="flat">
                <a:noFill/>
                <a:prstDash val="solid"/>
                <a:miter/>
              </a:ln>
            </p:spPr>
            <p:txBody>
              <a:bodyPr rtlCol="0" anchor="ctr"/>
              <a:lstStyle/>
              <a:p>
                <a:endParaRPr lang="en-US"/>
              </a:p>
            </p:txBody>
          </p:sp>
          <p:sp>
            <p:nvSpPr>
              <p:cNvPr id="1317" name="Freeform 1316">
                <a:extLst>
                  <a:ext uri="{FF2B5EF4-FFF2-40B4-BE49-F238E27FC236}">
                    <a16:creationId xmlns:a16="http://schemas.microsoft.com/office/drawing/2014/main" id="{367D4892-5CBF-402B-5DFB-C1C150B0C331}"/>
                  </a:ext>
                </a:extLst>
              </p:cNvPr>
              <p:cNvSpPr/>
              <p:nvPr/>
            </p:nvSpPr>
            <p:spPr>
              <a:xfrm>
                <a:off x="6668343" y="4633113"/>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40 h 11396"/>
                  <a:gd name="connsiteX4" fmla="*/ 315 w 14067"/>
                  <a:gd name="connsiteY4" fmla="*/ 10440 h 11396"/>
                  <a:gd name="connsiteX5" fmla="*/ 3183 w 14067"/>
                  <a:gd name="connsiteY5" fmla="*/ 11066 h 11396"/>
                  <a:gd name="connsiteX6" fmla="*/ 8325 w 14067"/>
                  <a:gd name="connsiteY6" fmla="*/ 7471 h 11396"/>
                  <a:gd name="connsiteX7" fmla="*/ 13303 w 14067"/>
                  <a:gd name="connsiteY7" fmla="*/ 3644 h 11396"/>
                  <a:gd name="connsiteX8" fmla="*/ 13600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6"/>
                      <a:pt x="2656" y="6580"/>
                      <a:pt x="942" y="7636"/>
                    </a:cubicBezTo>
                    <a:cubicBezTo>
                      <a:pt x="-14" y="8229"/>
                      <a:pt x="-278" y="9483"/>
                      <a:pt x="315" y="10440"/>
                    </a:cubicBezTo>
                    <a:lnTo>
                      <a:pt x="315" y="10440"/>
                    </a:lnTo>
                    <a:cubicBezTo>
                      <a:pt x="909" y="11396"/>
                      <a:pt x="2194" y="11693"/>
                      <a:pt x="3183" y="11066"/>
                    </a:cubicBezTo>
                    <a:cubicBezTo>
                      <a:pt x="4963" y="9978"/>
                      <a:pt x="6611" y="8658"/>
                      <a:pt x="8325" y="7471"/>
                    </a:cubicBezTo>
                    <a:cubicBezTo>
                      <a:pt x="10039" y="6283"/>
                      <a:pt x="11721" y="4996"/>
                      <a:pt x="13303" y="3644"/>
                    </a:cubicBezTo>
                    <a:cubicBezTo>
                      <a:pt x="14193" y="2918"/>
                      <a:pt x="14325" y="1599"/>
                      <a:pt x="13600"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318" name="Freeform 1317">
                <a:extLst>
                  <a:ext uri="{FF2B5EF4-FFF2-40B4-BE49-F238E27FC236}">
                    <a16:creationId xmlns:a16="http://schemas.microsoft.com/office/drawing/2014/main" id="{4EF4AACB-3A4C-E3F9-6E00-EC5554CA6E58}"/>
                  </a:ext>
                </a:extLst>
              </p:cNvPr>
              <p:cNvSpPr/>
              <p:nvPr/>
            </p:nvSpPr>
            <p:spPr>
              <a:xfrm>
                <a:off x="6690426" y="4612664"/>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7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10" y="10765"/>
                      <a:pt x="-177" y="12085"/>
                      <a:pt x="615" y="12877"/>
                    </a:cubicBezTo>
                    <a:lnTo>
                      <a:pt x="615" y="12877"/>
                    </a:lnTo>
                    <a:cubicBezTo>
                      <a:pt x="1406" y="13668"/>
                      <a:pt x="2724" y="13635"/>
                      <a:pt x="3515" y="12777"/>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319" name="Freeform 1318">
                <a:extLst>
                  <a:ext uri="{FF2B5EF4-FFF2-40B4-BE49-F238E27FC236}">
                    <a16:creationId xmlns:a16="http://schemas.microsoft.com/office/drawing/2014/main" id="{33E53C92-F775-BB42-7F96-016033DA1917}"/>
                  </a:ext>
                </a:extLst>
              </p:cNvPr>
              <p:cNvSpPr/>
              <p:nvPr/>
            </p:nvSpPr>
            <p:spPr>
              <a:xfrm>
                <a:off x="6707687" y="4588322"/>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7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43"/>
                      <a:pt x="33" y="13897"/>
                      <a:pt x="989" y="14490"/>
                    </a:cubicBezTo>
                    <a:cubicBezTo>
                      <a:pt x="1945" y="15084"/>
                      <a:pt x="3230" y="14754"/>
                      <a:pt x="3857" y="13765"/>
                    </a:cubicBezTo>
                    <a:lnTo>
                      <a:pt x="10054" y="3077"/>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320" name="Freeform 1319">
                <a:extLst>
                  <a:ext uri="{FF2B5EF4-FFF2-40B4-BE49-F238E27FC236}">
                    <a16:creationId xmlns:a16="http://schemas.microsoft.com/office/drawing/2014/main" id="{7238FA84-314E-B190-F0A2-9E4D094C5571}"/>
                  </a:ext>
                </a:extLst>
              </p:cNvPr>
              <p:cNvSpPr/>
              <p:nvPr/>
            </p:nvSpPr>
            <p:spPr>
              <a:xfrm>
                <a:off x="6722149" y="4563349"/>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1" name="Freeform 1320">
                <a:extLst>
                  <a:ext uri="{FF2B5EF4-FFF2-40B4-BE49-F238E27FC236}">
                    <a16:creationId xmlns:a16="http://schemas.microsoft.com/office/drawing/2014/main" id="{A5EA415B-2847-EF00-B2C0-A42A72B19657}"/>
                  </a:ext>
                </a:extLst>
              </p:cNvPr>
              <p:cNvSpPr/>
              <p:nvPr/>
            </p:nvSpPr>
            <p:spPr>
              <a:xfrm>
                <a:off x="6736554" y="4538377"/>
                <a:ext cx="10268" cy="14796"/>
              </a:xfrm>
              <a:custGeom>
                <a:avLst/>
                <a:gdLst>
                  <a:gd name="connsiteX0" fmla="*/ 6436 w 10268"/>
                  <a:gd name="connsiteY0" fmla="*/ 1031 h 14796"/>
                  <a:gd name="connsiteX1" fmla="*/ 272 w 10268"/>
                  <a:gd name="connsiteY1" fmla="*/ 11720 h 14796"/>
                  <a:gd name="connsiteX2" fmla="*/ 1031 w 10268"/>
                  <a:gd name="connsiteY2" fmla="*/ 14523 h 14796"/>
                  <a:gd name="connsiteX3" fmla="*/ 3832 w 10268"/>
                  <a:gd name="connsiteY3" fmla="*/ 13765 h 14796"/>
                  <a:gd name="connsiteX4" fmla="*/ 9996 w 10268"/>
                  <a:gd name="connsiteY4" fmla="*/ 3077 h 14796"/>
                  <a:gd name="connsiteX5" fmla="*/ 9238 w 10268"/>
                  <a:gd name="connsiteY5" fmla="*/ 272 h 14796"/>
                  <a:gd name="connsiteX6" fmla="*/ 9238 w 10268"/>
                  <a:gd name="connsiteY6" fmla="*/ 272 h 14796"/>
                  <a:gd name="connsiteX7" fmla="*/ 6436 w 10268"/>
                  <a:gd name="connsiteY7"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6436" y="1031"/>
                    </a:moveTo>
                    <a:lnTo>
                      <a:pt x="272" y="11720"/>
                    </a:lnTo>
                    <a:cubicBezTo>
                      <a:pt x="-288" y="12709"/>
                      <a:pt x="42" y="13963"/>
                      <a:pt x="1031" y="14523"/>
                    </a:cubicBezTo>
                    <a:cubicBezTo>
                      <a:pt x="2019" y="15084"/>
                      <a:pt x="3272" y="14754"/>
                      <a:pt x="3832" y="13765"/>
                    </a:cubicBezTo>
                    <a:lnTo>
                      <a:pt x="9996" y="3077"/>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2" name="Freeform 1321">
                <a:extLst>
                  <a:ext uri="{FF2B5EF4-FFF2-40B4-BE49-F238E27FC236}">
                    <a16:creationId xmlns:a16="http://schemas.microsoft.com/office/drawing/2014/main" id="{D27585CB-6205-A1DA-137C-27DEE263C28E}"/>
                  </a:ext>
                </a:extLst>
              </p:cNvPr>
              <p:cNvSpPr/>
              <p:nvPr/>
            </p:nvSpPr>
            <p:spPr>
              <a:xfrm>
                <a:off x="6750959" y="4513438"/>
                <a:ext cx="10268" cy="14796"/>
              </a:xfrm>
              <a:custGeom>
                <a:avLst/>
                <a:gdLst>
                  <a:gd name="connsiteX0" fmla="*/ 6436 w 10268"/>
                  <a:gd name="connsiteY0" fmla="*/ 1031 h 14796"/>
                  <a:gd name="connsiteX1" fmla="*/ 272 w 10268"/>
                  <a:gd name="connsiteY1" fmla="*/ 11720 h 14796"/>
                  <a:gd name="connsiteX2" fmla="*/ 1031 w 10268"/>
                  <a:gd name="connsiteY2" fmla="*/ 14523 h 14796"/>
                  <a:gd name="connsiteX3" fmla="*/ 3832 w 10268"/>
                  <a:gd name="connsiteY3" fmla="*/ 13765 h 14796"/>
                  <a:gd name="connsiteX4" fmla="*/ 9997 w 10268"/>
                  <a:gd name="connsiteY4" fmla="*/ 3077 h 14796"/>
                  <a:gd name="connsiteX5" fmla="*/ 9238 w 10268"/>
                  <a:gd name="connsiteY5" fmla="*/ 272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20"/>
                    </a:lnTo>
                    <a:cubicBezTo>
                      <a:pt x="-288" y="12709"/>
                      <a:pt x="42" y="13963"/>
                      <a:pt x="1031" y="14523"/>
                    </a:cubicBezTo>
                    <a:cubicBezTo>
                      <a:pt x="2019" y="15084"/>
                      <a:pt x="3272" y="14754"/>
                      <a:pt x="3832" y="13765"/>
                    </a:cubicBezTo>
                    <a:lnTo>
                      <a:pt x="9997"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3" name="Freeform 1322">
                <a:extLst>
                  <a:ext uri="{FF2B5EF4-FFF2-40B4-BE49-F238E27FC236}">
                    <a16:creationId xmlns:a16="http://schemas.microsoft.com/office/drawing/2014/main" id="{386A6420-FD2D-A952-E336-9B8A1D993F67}"/>
                  </a:ext>
                </a:extLst>
              </p:cNvPr>
              <p:cNvSpPr/>
              <p:nvPr/>
            </p:nvSpPr>
            <p:spPr>
              <a:xfrm>
                <a:off x="6765364" y="4488466"/>
                <a:ext cx="10268" cy="14795"/>
              </a:xfrm>
              <a:custGeom>
                <a:avLst/>
                <a:gdLst>
                  <a:gd name="connsiteX0" fmla="*/ 6436 w 10268"/>
                  <a:gd name="connsiteY0" fmla="*/ 1031 h 14795"/>
                  <a:gd name="connsiteX1" fmla="*/ 272 w 10268"/>
                  <a:gd name="connsiteY1" fmla="*/ 11719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3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19"/>
                    </a:lnTo>
                    <a:cubicBezTo>
                      <a:pt x="-288" y="12709"/>
                      <a:pt x="42" y="13963"/>
                      <a:pt x="1030" y="14523"/>
                    </a:cubicBezTo>
                    <a:lnTo>
                      <a:pt x="1030" y="14523"/>
                    </a:ln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4" name="Freeform 1323">
                <a:extLst>
                  <a:ext uri="{FF2B5EF4-FFF2-40B4-BE49-F238E27FC236}">
                    <a16:creationId xmlns:a16="http://schemas.microsoft.com/office/drawing/2014/main" id="{065633B7-CFC6-2DA5-27AB-56A5381786C9}"/>
                  </a:ext>
                </a:extLst>
              </p:cNvPr>
              <p:cNvSpPr/>
              <p:nvPr/>
            </p:nvSpPr>
            <p:spPr>
              <a:xfrm>
                <a:off x="6779769" y="4463494"/>
                <a:ext cx="10268" cy="14796"/>
              </a:xfrm>
              <a:custGeom>
                <a:avLst/>
                <a:gdLst>
                  <a:gd name="connsiteX0" fmla="*/ 6436 w 10268"/>
                  <a:gd name="connsiteY0" fmla="*/ 1031 h 14796"/>
                  <a:gd name="connsiteX1" fmla="*/ 272 w 10268"/>
                  <a:gd name="connsiteY1" fmla="*/ 11719 h 14796"/>
                  <a:gd name="connsiteX2" fmla="*/ 1030 w 10268"/>
                  <a:gd name="connsiteY2" fmla="*/ 14524 h 14796"/>
                  <a:gd name="connsiteX3" fmla="*/ 3832 w 10268"/>
                  <a:gd name="connsiteY3" fmla="*/ 13765 h 14796"/>
                  <a:gd name="connsiteX4" fmla="*/ 9996 w 10268"/>
                  <a:gd name="connsiteY4" fmla="*/ 3077 h 14796"/>
                  <a:gd name="connsiteX5" fmla="*/ 9238 w 10268"/>
                  <a:gd name="connsiteY5" fmla="*/ 273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19"/>
                    </a:lnTo>
                    <a:cubicBezTo>
                      <a:pt x="-288" y="12709"/>
                      <a:pt x="42" y="13963"/>
                      <a:pt x="1030" y="14524"/>
                    </a:cubicBezTo>
                    <a:cubicBezTo>
                      <a:pt x="2019" y="15084"/>
                      <a:pt x="3272" y="14754"/>
                      <a:pt x="3832" y="13765"/>
                    </a:cubicBezTo>
                    <a:lnTo>
                      <a:pt x="9996" y="3077"/>
                    </a:lnTo>
                    <a:cubicBezTo>
                      <a:pt x="10557" y="2087"/>
                      <a:pt x="10227" y="833"/>
                      <a:pt x="9238" y="273"/>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325" name="Freeform 1324">
                <a:extLst>
                  <a:ext uri="{FF2B5EF4-FFF2-40B4-BE49-F238E27FC236}">
                    <a16:creationId xmlns:a16="http://schemas.microsoft.com/office/drawing/2014/main" id="{3A1F48EE-55C5-5DCB-C6BA-392AF13FFBAB}"/>
                  </a:ext>
                </a:extLst>
              </p:cNvPr>
              <p:cNvSpPr/>
              <p:nvPr/>
            </p:nvSpPr>
            <p:spPr>
              <a:xfrm>
                <a:off x="6793780" y="4437628"/>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5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5"/>
                      <a:pt x="3468" y="5191"/>
                      <a:pt x="2677" y="7038"/>
                    </a:cubicBezTo>
                    <a:lnTo>
                      <a:pt x="171" y="12580"/>
                    </a:lnTo>
                    <a:cubicBezTo>
                      <a:pt x="-257" y="13603"/>
                      <a:pt x="139" y="14824"/>
                      <a:pt x="1127" y="15318"/>
                    </a:cubicBezTo>
                    <a:cubicBezTo>
                      <a:pt x="2149" y="15813"/>
                      <a:pt x="3402" y="15417"/>
                      <a:pt x="3863" y="14362"/>
                    </a:cubicBezTo>
                    <a:lnTo>
                      <a:pt x="6435" y="8622"/>
                    </a:lnTo>
                    <a:cubicBezTo>
                      <a:pt x="7259" y="6708"/>
                      <a:pt x="7918" y="4696"/>
                      <a:pt x="8676" y="2750"/>
                    </a:cubicBezTo>
                    <a:cubicBezTo>
                      <a:pt x="9072" y="1661"/>
                      <a:pt x="8544" y="474"/>
                      <a:pt x="7456" y="111"/>
                    </a:cubicBezTo>
                    <a:lnTo>
                      <a:pt x="7456" y="111"/>
                    </a:lnTo>
                    <a:cubicBezTo>
                      <a:pt x="6402"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326" name="Freeform 1325">
                <a:extLst>
                  <a:ext uri="{FF2B5EF4-FFF2-40B4-BE49-F238E27FC236}">
                    <a16:creationId xmlns:a16="http://schemas.microsoft.com/office/drawing/2014/main" id="{157D33D6-19D5-0313-1882-006FB4F5BE84}"/>
                  </a:ext>
                </a:extLst>
              </p:cNvPr>
              <p:cNvSpPr/>
              <p:nvPr/>
            </p:nvSpPr>
            <p:spPr>
              <a:xfrm>
                <a:off x="6803061" y="4409624"/>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4"/>
                      <a:pt x="1604" y="16238"/>
                    </a:cubicBezTo>
                    <a:cubicBezTo>
                      <a:pt x="2691" y="16502"/>
                      <a:pt x="3812" y="15777"/>
                      <a:pt x="4076" y="14655"/>
                    </a:cubicBezTo>
                    <a:cubicBezTo>
                      <a:pt x="4603" y="12610"/>
                      <a:pt x="4900" y="10564"/>
                      <a:pt x="5230" y="8486"/>
                    </a:cubicBezTo>
                    <a:cubicBezTo>
                      <a:pt x="5526" y="6408"/>
                      <a:pt x="5988" y="4363"/>
                      <a:pt x="6120" y="2284"/>
                    </a:cubicBezTo>
                    <a:cubicBezTo>
                      <a:pt x="6219"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327" name="Freeform 1326">
                <a:extLst>
                  <a:ext uri="{FF2B5EF4-FFF2-40B4-BE49-F238E27FC236}">
                    <a16:creationId xmlns:a16="http://schemas.microsoft.com/office/drawing/2014/main" id="{AC6F4F01-2481-98DE-23C4-4691C20BE0C3}"/>
                  </a:ext>
                </a:extLst>
              </p:cNvPr>
              <p:cNvSpPr/>
              <p:nvPr/>
            </p:nvSpPr>
            <p:spPr>
              <a:xfrm>
                <a:off x="6805052" y="4380878"/>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5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5"/>
                      <a:pt x="1821" y="16416"/>
                      <a:pt x="2942" y="16416"/>
                    </a:cubicBezTo>
                    <a:lnTo>
                      <a:pt x="2942" y="16416"/>
                    </a:lnTo>
                    <a:cubicBezTo>
                      <a:pt x="4063" y="16416"/>
                      <a:pt x="4953" y="15493"/>
                      <a:pt x="4920" y="14338"/>
                    </a:cubicBezTo>
                    <a:lnTo>
                      <a:pt x="4689" y="8070"/>
                    </a:lnTo>
                    <a:lnTo>
                      <a:pt x="4096" y="1835"/>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328" name="Freeform 1327">
                <a:extLst>
                  <a:ext uri="{FF2B5EF4-FFF2-40B4-BE49-F238E27FC236}">
                    <a16:creationId xmlns:a16="http://schemas.microsoft.com/office/drawing/2014/main" id="{BE591BDF-BF73-67DC-88CC-06D3339427B8}"/>
                  </a:ext>
                </a:extLst>
              </p:cNvPr>
              <p:cNvSpPr/>
              <p:nvPr/>
            </p:nvSpPr>
            <p:spPr>
              <a:xfrm>
                <a:off x="6798452" y="4352913"/>
                <a:ext cx="7718" cy="15892"/>
              </a:xfrm>
              <a:custGeom>
                <a:avLst/>
                <a:gdLst>
                  <a:gd name="connsiteX0" fmla="*/ 147 w 7718"/>
                  <a:gd name="connsiteY0" fmla="*/ 2717 h 15892"/>
                  <a:gd name="connsiteX1" fmla="*/ 2059 w 7718"/>
                  <a:gd name="connsiteY1" fmla="*/ 8490 h 15892"/>
                  <a:gd name="connsiteX2" fmla="*/ 3707 w 7718"/>
                  <a:gd name="connsiteY2" fmla="*/ 14329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7"/>
                    </a:moveTo>
                    <a:cubicBezTo>
                      <a:pt x="905" y="4598"/>
                      <a:pt x="1531" y="6544"/>
                      <a:pt x="2059" y="8490"/>
                    </a:cubicBezTo>
                    <a:cubicBezTo>
                      <a:pt x="2586" y="10437"/>
                      <a:pt x="3311" y="12350"/>
                      <a:pt x="3707" y="14329"/>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278"/>
                      <a:pt x="3971" y="1365"/>
                    </a:cubicBezTo>
                    <a:cubicBezTo>
                      <a:pt x="3575" y="276"/>
                      <a:pt x="2388"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329" name="Freeform 1328">
                <a:extLst>
                  <a:ext uri="{FF2B5EF4-FFF2-40B4-BE49-F238E27FC236}">
                    <a16:creationId xmlns:a16="http://schemas.microsoft.com/office/drawing/2014/main" id="{3C00A729-67D5-ADF9-60F4-E3E3F47EFA8A}"/>
                  </a:ext>
                </a:extLst>
              </p:cNvPr>
              <p:cNvSpPr/>
              <p:nvPr/>
            </p:nvSpPr>
            <p:spPr>
              <a:xfrm>
                <a:off x="6785834" y="4327021"/>
                <a:ext cx="10138" cy="14889"/>
              </a:xfrm>
              <a:custGeom>
                <a:avLst/>
                <a:gdLst>
                  <a:gd name="connsiteX0" fmla="*/ 272 w 10138"/>
                  <a:gd name="connsiteY0" fmla="*/ 3077 h 14889"/>
                  <a:gd name="connsiteX1" fmla="*/ 6239 w 10138"/>
                  <a:gd name="connsiteY1" fmla="*/ 13798 h 14889"/>
                  <a:gd name="connsiteX2" fmla="*/ 9040 w 10138"/>
                  <a:gd name="connsiteY2" fmla="*/ 14655 h 14889"/>
                  <a:gd name="connsiteX3" fmla="*/ 9040 w 10138"/>
                  <a:gd name="connsiteY3" fmla="*/ 14655 h 14889"/>
                  <a:gd name="connsiteX4" fmla="*/ 9898 w 10138"/>
                  <a:gd name="connsiteY4" fmla="*/ 11884 h 14889"/>
                  <a:gd name="connsiteX5" fmla="*/ 3832 w 10138"/>
                  <a:gd name="connsiteY5" fmla="*/ 1031 h 14889"/>
                  <a:gd name="connsiteX6" fmla="*/ 1030 w 10138"/>
                  <a:gd name="connsiteY6" fmla="*/ 273 h 14889"/>
                  <a:gd name="connsiteX7" fmla="*/ 272 w 10138"/>
                  <a:gd name="connsiteY7" fmla="*/ 3077 h 1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89">
                    <a:moveTo>
                      <a:pt x="272" y="3077"/>
                    </a:moveTo>
                    <a:cubicBezTo>
                      <a:pt x="2349" y="6639"/>
                      <a:pt x="4393" y="10202"/>
                      <a:pt x="6239" y="13798"/>
                    </a:cubicBezTo>
                    <a:cubicBezTo>
                      <a:pt x="6766" y="14787"/>
                      <a:pt x="8019" y="15183"/>
                      <a:pt x="9040" y="14655"/>
                    </a:cubicBezTo>
                    <a:lnTo>
                      <a:pt x="9040" y="14655"/>
                    </a:lnTo>
                    <a:cubicBezTo>
                      <a:pt x="10062" y="14161"/>
                      <a:pt x="10425" y="12907"/>
                      <a:pt x="9898" y="11884"/>
                    </a:cubicBezTo>
                    <a:cubicBezTo>
                      <a:pt x="7953" y="8157"/>
                      <a:pt x="5909" y="4561"/>
                      <a:pt x="3832" y="1031"/>
                    </a:cubicBez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0" name="Freeform 1329">
                <a:extLst>
                  <a:ext uri="{FF2B5EF4-FFF2-40B4-BE49-F238E27FC236}">
                    <a16:creationId xmlns:a16="http://schemas.microsoft.com/office/drawing/2014/main" id="{8BB2811B-57B2-9CA0-6B33-2013FE9406EB}"/>
                  </a:ext>
                </a:extLst>
              </p:cNvPr>
              <p:cNvSpPr/>
              <p:nvPr/>
            </p:nvSpPr>
            <p:spPr>
              <a:xfrm>
                <a:off x="6771429" y="4302082"/>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3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1" name="Freeform 1330">
                <a:extLst>
                  <a:ext uri="{FF2B5EF4-FFF2-40B4-BE49-F238E27FC236}">
                    <a16:creationId xmlns:a16="http://schemas.microsoft.com/office/drawing/2014/main" id="{6FAF0397-9C2F-9D98-9988-126B33624F63}"/>
                  </a:ext>
                </a:extLst>
              </p:cNvPr>
              <p:cNvSpPr/>
              <p:nvPr/>
            </p:nvSpPr>
            <p:spPr>
              <a:xfrm>
                <a:off x="6757024" y="4277109"/>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6 w 10268"/>
                  <a:gd name="connsiteY4" fmla="*/ 11719 h 14796"/>
                  <a:gd name="connsiteX5" fmla="*/ 3832 w 10268"/>
                  <a:gd name="connsiteY5" fmla="*/ 1031 h 14796"/>
                  <a:gd name="connsiteX6" fmla="*/ 1030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4"/>
                    </a:cubicBezTo>
                    <a:lnTo>
                      <a:pt x="9238" y="14524"/>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2" name="Freeform 1331">
                <a:extLst>
                  <a:ext uri="{FF2B5EF4-FFF2-40B4-BE49-F238E27FC236}">
                    <a16:creationId xmlns:a16="http://schemas.microsoft.com/office/drawing/2014/main" id="{78184E95-0A6B-F3AF-79D4-B40B7AD90AAD}"/>
                  </a:ext>
                </a:extLst>
              </p:cNvPr>
              <p:cNvSpPr/>
              <p:nvPr/>
            </p:nvSpPr>
            <p:spPr>
              <a:xfrm>
                <a:off x="6742619" y="4252137"/>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238 w 10268"/>
                  <a:gd name="connsiteY3" fmla="*/ 14524 h 14796"/>
                  <a:gd name="connsiteX4" fmla="*/ 9997 w 10268"/>
                  <a:gd name="connsiteY4" fmla="*/ 11719 h 14796"/>
                  <a:gd name="connsiteX5" fmla="*/ 3832 w 10268"/>
                  <a:gd name="connsiteY5" fmla="*/ 1031 h 14796"/>
                  <a:gd name="connsiteX6" fmla="*/ 1031 w 10268"/>
                  <a:gd name="connsiteY6" fmla="*/ 273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5"/>
                      <a:pt x="8249" y="15084"/>
                      <a:pt x="9238" y="14524"/>
                    </a:cubicBezTo>
                    <a:lnTo>
                      <a:pt x="9238" y="14524"/>
                    </a:lnTo>
                    <a:cubicBezTo>
                      <a:pt x="10227" y="13963"/>
                      <a:pt x="10557" y="12709"/>
                      <a:pt x="9997" y="11719"/>
                    </a:cubicBezTo>
                    <a:lnTo>
                      <a:pt x="3832" y="1031"/>
                    </a:lnTo>
                    <a:cubicBezTo>
                      <a:pt x="3272" y="42"/>
                      <a:pt x="2019" y="-288"/>
                      <a:pt x="1031"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333" name="Freeform 1332">
                <a:extLst>
                  <a:ext uri="{FF2B5EF4-FFF2-40B4-BE49-F238E27FC236}">
                    <a16:creationId xmlns:a16="http://schemas.microsoft.com/office/drawing/2014/main" id="{00825986-E073-755E-E250-4212DFB02BDE}"/>
                  </a:ext>
                </a:extLst>
              </p:cNvPr>
              <p:cNvSpPr/>
              <p:nvPr/>
            </p:nvSpPr>
            <p:spPr>
              <a:xfrm>
                <a:off x="6728214" y="4227165"/>
                <a:ext cx="10268" cy="14795"/>
              </a:xfrm>
              <a:custGeom>
                <a:avLst/>
                <a:gdLst>
                  <a:gd name="connsiteX0" fmla="*/ 272 w 10268"/>
                  <a:gd name="connsiteY0" fmla="*/ 3076 h 14795"/>
                  <a:gd name="connsiteX1" fmla="*/ 6436 w 10268"/>
                  <a:gd name="connsiteY1" fmla="*/ 13765 h 14795"/>
                  <a:gd name="connsiteX2" fmla="*/ 9238 w 10268"/>
                  <a:gd name="connsiteY2" fmla="*/ 14523 h 14795"/>
                  <a:gd name="connsiteX3" fmla="*/ 9996 w 10268"/>
                  <a:gd name="connsiteY3" fmla="*/ 11719 h 14795"/>
                  <a:gd name="connsiteX4" fmla="*/ 3832 w 10268"/>
                  <a:gd name="connsiteY4" fmla="*/ 1031 h 14795"/>
                  <a:gd name="connsiteX5" fmla="*/ 1030 w 10268"/>
                  <a:gd name="connsiteY5" fmla="*/ 272 h 14795"/>
                  <a:gd name="connsiteX6" fmla="*/ 272 w 10268"/>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6"/>
                    </a:moveTo>
                    <a:lnTo>
                      <a:pt x="6436" y="13765"/>
                    </a:lnTo>
                    <a:cubicBezTo>
                      <a:pt x="6997" y="14754"/>
                      <a:pt x="8249" y="15084"/>
                      <a:pt x="9238" y="14523"/>
                    </a:cubicBezTo>
                    <a:cubicBezTo>
                      <a:pt x="10227" y="13963"/>
                      <a:pt x="10557" y="12709"/>
                      <a:pt x="9996" y="11719"/>
                    </a:cubicBezTo>
                    <a:lnTo>
                      <a:pt x="3832" y="1031"/>
                    </a:lnTo>
                    <a:cubicBezTo>
                      <a:pt x="3272" y="42"/>
                      <a:pt x="1986" y="-288"/>
                      <a:pt x="1030" y="272"/>
                    </a:cubicBezTo>
                    <a:cubicBezTo>
                      <a:pt x="42" y="833"/>
                      <a:pt x="-288" y="2087"/>
                      <a:pt x="272" y="3076"/>
                    </a:cubicBezTo>
                    <a:close/>
                  </a:path>
                </a:pathLst>
              </a:custGeom>
              <a:solidFill>
                <a:srgbClr val="5856D6"/>
              </a:solidFill>
              <a:ln w="3283" cap="flat">
                <a:noFill/>
                <a:prstDash val="solid"/>
                <a:miter/>
              </a:ln>
            </p:spPr>
            <p:txBody>
              <a:bodyPr rtlCol="0" anchor="ctr"/>
              <a:lstStyle/>
              <a:p>
                <a:endParaRPr lang="en-US"/>
              </a:p>
            </p:txBody>
          </p:sp>
          <p:sp>
            <p:nvSpPr>
              <p:cNvPr id="1334" name="Freeform 1333">
                <a:extLst>
                  <a:ext uri="{FF2B5EF4-FFF2-40B4-BE49-F238E27FC236}">
                    <a16:creationId xmlns:a16="http://schemas.microsoft.com/office/drawing/2014/main" id="{4C60B97F-A665-34FE-CB89-2B0097C96B25}"/>
                  </a:ext>
                </a:extLst>
              </p:cNvPr>
              <p:cNvSpPr/>
              <p:nvPr/>
            </p:nvSpPr>
            <p:spPr>
              <a:xfrm>
                <a:off x="6713816" y="4202193"/>
                <a:ext cx="10261" cy="14795"/>
              </a:xfrm>
              <a:custGeom>
                <a:avLst/>
                <a:gdLst>
                  <a:gd name="connsiteX0" fmla="*/ 265 w 10261"/>
                  <a:gd name="connsiteY0" fmla="*/ 3076 h 14795"/>
                  <a:gd name="connsiteX1" fmla="*/ 6429 w 10261"/>
                  <a:gd name="connsiteY1" fmla="*/ 13765 h 14795"/>
                  <a:gd name="connsiteX2" fmla="*/ 9231 w 10261"/>
                  <a:gd name="connsiteY2" fmla="*/ 14523 h 14795"/>
                  <a:gd name="connsiteX3" fmla="*/ 9989 w 10261"/>
                  <a:gd name="connsiteY3" fmla="*/ 11719 h 14795"/>
                  <a:gd name="connsiteX4" fmla="*/ 3825 w 10261"/>
                  <a:gd name="connsiteY4" fmla="*/ 1031 h 14795"/>
                  <a:gd name="connsiteX5" fmla="*/ 1023 w 10261"/>
                  <a:gd name="connsiteY5" fmla="*/ 272 h 14795"/>
                  <a:gd name="connsiteX6" fmla="*/ 265 w 10261"/>
                  <a:gd name="connsiteY6" fmla="*/ 3076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265" y="3076"/>
                    </a:moveTo>
                    <a:lnTo>
                      <a:pt x="6429" y="13765"/>
                    </a:lnTo>
                    <a:cubicBezTo>
                      <a:pt x="6990" y="14754"/>
                      <a:pt x="8242" y="15084"/>
                      <a:pt x="9231" y="14523"/>
                    </a:cubicBezTo>
                    <a:cubicBezTo>
                      <a:pt x="10220" y="13963"/>
                      <a:pt x="10550" y="12709"/>
                      <a:pt x="9989" y="11719"/>
                    </a:cubicBezTo>
                    <a:lnTo>
                      <a:pt x="3825" y="1031"/>
                    </a:lnTo>
                    <a:cubicBezTo>
                      <a:pt x="3265" y="42"/>
                      <a:pt x="1979" y="-288"/>
                      <a:pt x="1023" y="272"/>
                    </a:cubicBezTo>
                    <a:cubicBezTo>
                      <a:pt x="67" y="833"/>
                      <a:pt x="-295" y="2087"/>
                      <a:pt x="265" y="3076"/>
                    </a:cubicBezTo>
                    <a:close/>
                  </a:path>
                </a:pathLst>
              </a:custGeom>
              <a:solidFill>
                <a:srgbClr val="5856D6"/>
              </a:solidFill>
              <a:ln w="3283" cap="flat">
                <a:noFill/>
                <a:prstDash val="solid"/>
                <a:miter/>
              </a:ln>
            </p:spPr>
            <p:txBody>
              <a:bodyPr rtlCol="0" anchor="ctr"/>
              <a:lstStyle/>
              <a:p>
                <a:endParaRPr lang="en-US"/>
              </a:p>
            </p:txBody>
          </p:sp>
          <p:sp>
            <p:nvSpPr>
              <p:cNvPr id="1335" name="Freeform 1334">
                <a:extLst>
                  <a:ext uri="{FF2B5EF4-FFF2-40B4-BE49-F238E27FC236}">
                    <a16:creationId xmlns:a16="http://schemas.microsoft.com/office/drawing/2014/main" id="{B5999B90-6BF3-26C7-2656-0048613DABFC}"/>
                  </a:ext>
                </a:extLst>
              </p:cNvPr>
              <p:cNvSpPr/>
              <p:nvPr/>
            </p:nvSpPr>
            <p:spPr>
              <a:xfrm>
                <a:off x="6698352" y="4177909"/>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1 h 14192"/>
                  <a:gd name="connsiteX7" fmla="*/ 765 w 11190"/>
                  <a:gd name="connsiteY7" fmla="*/ 441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6"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1"/>
                    </a:cubicBezTo>
                    <a:lnTo>
                      <a:pt x="765" y="441"/>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336" name="Freeform 1335">
                <a:extLst>
                  <a:ext uri="{FF2B5EF4-FFF2-40B4-BE49-F238E27FC236}">
                    <a16:creationId xmlns:a16="http://schemas.microsoft.com/office/drawing/2014/main" id="{87722831-079D-F021-F438-B2177E850EBB}"/>
                  </a:ext>
                </a:extLst>
              </p:cNvPr>
              <p:cNvSpPr/>
              <p:nvPr/>
            </p:nvSpPr>
            <p:spPr>
              <a:xfrm>
                <a:off x="6678235" y="4157430"/>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1 h 12286"/>
                  <a:gd name="connsiteX4" fmla="*/ 3312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59"/>
                      <a:pt x="13563" y="9573"/>
                      <a:pt x="12706" y="8781"/>
                    </a:cubicBezTo>
                    <a:cubicBezTo>
                      <a:pt x="9673" y="5911"/>
                      <a:pt x="6608" y="3041"/>
                      <a:pt x="3312" y="468"/>
                    </a:cubicBezTo>
                    <a:cubicBezTo>
                      <a:pt x="2422" y="-257"/>
                      <a:pt x="1136" y="-125"/>
                      <a:pt x="444" y="765"/>
                    </a:cubicBezTo>
                    <a:cubicBezTo>
                      <a:pt x="-249" y="1656"/>
                      <a:pt x="-117" y="2975"/>
                      <a:pt x="740" y="3668"/>
                    </a:cubicBezTo>
                    <a:close/>
                  </a:path>
                </a:pathLst>
              </a:custGeom>
              <a:solidFill>
                <a:srgbClr val="5856D6"/>
              </a:solidFill>
              <a:ln w="3283" cap="flat">
                <a:noFill/>
                <a:prstDash val="solid"/>
                <a:miter/>
              </a:ln>
            </p:spPr>
            <p:txBody>
              <a:bodyPr rtlCol="0" anchor="ctr"/>
              <a:lstStyle/>
              <a:p>
                <a:endParaRPr lang="en-US"/>
              </a:p>
            </p:txBody>
          </p:sp>
          <p:sp>
            <p:nvSpPr>
              <p:cNvPr id="1337" name="Freeform 1336">
                <a:extLst>
                  <a:ext uri="{FF2B5EF4-FFF2-40B4-BE49-F238E27FC236}">
                    <a16:creationId xmlns:a16="http://schemas.microsoft.com/office/drawing/2014/main" id="{01BCBFEB-6AB6-A893-423E-7FC308C7918C}"/>
                  </a:ext>
                </a:extLst>
              </p:cNvPr>
              <p:cNvSpPr/>
              <p:nvPr/>
            </p:nvSpPr>
            <p:spPr>
              <a:xfrm>
                <a:off x="6653876" y="4142148"/>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19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6" y="4007"/>
                      <a:pt x="8519" y="3050"/>
                    </a:cubicBezTo>
                    <a:cubicBezTo>
                      <a:pt x="6674" y="2093"/>
                      <a:pt x="4861" y="1005"/>
                      <a:pt x="2949" y="180"/>
                    </a:cubicBezTo>
                    <a:cubicBezTo>
                      <a:pt x="1894" y="-282"/>
                      <a:pt x="641"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338" name="Freeform 1337">
                <a:extLst>
                  <a:ext uri="{FF2B5EF4-FFF2-40B4-BE49-F238E27FC236}">
                    <a16:creationId xmlns:a16="http://schemas.microsoft.com/office/drawing/2014/main" id="{96057D97-7AC6-5E06-511A-BD1ADAF3AF0F}"/>
                  </a:ext>
                </a:extLst>
              </p:cNvPr>
              <p:cNvSpPr/>
              <p:nvPr/>
            </p:nvSpPr>
            <p:spPr>
              <a:xfrm>
                <a:off x="6626719" y="4132738"/>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6 h 7368"/>
                  <a:gd name="connsiteX8" fmla="*/ 43 w 16004"/>
                  <a:gd name="connsiteY8" fmla="*/ 1606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8" y="3718"/>
                      <a:pt x="14580" y="3355"/>
                    </a:cubicBezTo>
                    <a:lnTo>
                      <a:pt x="8580" y="1508"/>
                    </a:lnTo>
                    <a:lnTo>
                      <a:pt x="2482" y="56"/>
                    </a:lnTo>
                    <a:cubicBezTo>
                      <a:pt x="1361" y="-208"/>
                      <a:pt x="274" y="485"/>
                      <a:pt x="43" y="1606"/>
                    </a:cubicBezTo>
                    <a:lnTo>
                      <a:pt x="43" y="1606"/>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339" name="Freeform 1338">
                <a:extLst>
                  <a:ext uri="{FF2B5EF4-FFF2-40B4-BE49-F238E27FC236}">
                    <a16:creationId xmlns:a16="http://schemas.microsoft.com/office/drawing/2014/main" id="{65118266-8C92-1A88-B7E2-AD35D1AC336C}"/>
                  </a:ext>
                </a:extLst>
              </p:cNvPr>
              <p:cNvSpPr/>
              <p:nvPr/>
            </p:nvSpPr>
            <p:spPr>
              <a:xfrm>
                <a:off x="6598084" y="4129891"/>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90"/>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0" name="Freeform 1339">
                <a:extLst>
                  <a:ext uri="{FF2B5EF4-FFF2-40B4-BE49-F238E27FC236}">
                    <a16:creationId xmlns:a16="http://schemas.microsoft.com/office/drawing/2014/main" id="{51FFD92B-2888-4920-B69A-A19820E0B4CF}"/>
                  </a:ext>
                </a:extLst>
              </p:cNvPr>
              <p:cNvSpPr/>
              <p:nvPr/>
            </p:nvSpPr>
            <p:spPr>
              <a:xfrm>
                <a:off x="6569274"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1" name="Freeform 1340">
                <a:extLst>
                  <a:ext uri="{FF2B5EF4-FFF2-40B4-BE49-F238E27FC236}">
                    <a16:creationId xmlns:a16="http://schemas.microsoft.com/office/drawing/2014/main" id="{1D69FAEC-AA9C-C101-539E-1E89AAF4116A}"/>
                  </a:ext>
                </a:extLst>
              </p:cNvPr>
              <p:cNvSpPr/>
              <p:nvPr/>
            </p:nvSpPr>
            <p:spPr>
              <a:xfrm>
                <a:off x="6540464"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2" name="Freeform 1341">
                <a:extLst>
                  <a:ext uri="{FF2B5EF4-FFF2-40B4-BE49-F238E27FC236}">
                    <a16:creationId xmlns:a16="http://schemas.microsoft.com/office/drawing/2014/main" id="{D6FDACE9-29E9-6FF3-9F6A-8851BDD202FB}"/>
                  </a:ext>
                </a:extLst>
              </p:cNvPr>
              <p:cNvSpPr/>
              <p:nvPr/>
            </p:nvSpPr>
            <p:spPr>
              <a:xfrm>
                <a:off x="6511687"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3" name="Freeform 1342">
                <a:extLst>
                  <a:ext uri="{FF2B5EF4-FFF2-40B4-BE49-F238E27FC236}">
                    <a16:creationId xmlns:a16="http://schemas.microsoft.com/office/drawing/2014/main" id="{6EB0EBD5-758C-0247-52BA-CB2B1A87A689}"/>
                  </a:ext>
                </a:extLst>
              </p:cNvPr>
              <p:cNvSpPr/>
              <p:nvPr/>
            </p:nvSpPr>
            <p:spPr>
              <a:xfrm>
                <a:off x="6482877"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4" name="Freeform 1343">
                <a:extLst>
                  <a:ext uri="{FF2B5EF4-FFF2-40B4-BE49-F238E27FC236}">
                    <a16:creationId xmlns:a16="http://schemas.microsoft.com/office/drawing/2014/main" id="{31A2935C-B894-76D9-DF27-0F19E58125F4}"/>
                  </a:ext>
                </a:extLst>
              </p:cNvPr>
              <p:cNvSpPr/>
              <p:nvPr/>
            </p:nvSpPr>
            <p:spPr>
              <a:xfrm>
                <a:off x="6454068" y="4129891"/>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345" name="Freeform 1344">
                <a:extLst>
                  <a:ext uri="{FF2B5EF4-FFF2-40B4-BE49-F238E27FC236}">
                    <a16:creationId xmlns:a16="http://schemas.microsoft.com/office/drawing/2014/main" id="{7D8E85CA-AB01-9982-29F6-8399E5741A91}"/>
                  </a:ext>
                </a:extLst>
              </p:cNvPr>
              <p:cNvSpPr/>
              <p:nvPr/>
            </p:nvSpPr>
            <p:spPr>
              <a:xfrm>
                <a:off x="6425277" y="4129924"/>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2"/>
                      <a:pt x="10331" y="4255"/>
                      <a:pt x="14386" y="4091"/>
                    </a:cubicBezTo>
                    <a:cubicBezTo>
                      <a:pt x="15507" y="4091"/>
                      <a:pt x="16430" y="3167"/>
                      <a:pt x="16430" y="2045"/>
                    </a:cubicBezTo>
                    <a:cubicBezTo>
                      <a:pt x="16430" y="924"/>
                      <a:pt x="15507" y="0"/>
                      <a:pt x="14386" y="0"/>
                    </a:cubicBezTo>
                    <a:cubicBezTo>
                      <a:pt x="10199" y="165"/>
                      <a:pt x="6013" y="165"/>
                      <a:pt x="1860" y="693"/>
                    </a:cubicBezTo>
                    <a:cubicBezTo>
                      <a:pt x="706" y="825"/>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346" name="Freeform 1345">
                <a:extLst>
                  <a:ext uri="{FF2B5EF4-FFF2-40B4-BE49-F238E27FC236}">
                    <a16:creationId xmlns:a16="http://schemas.microsoft.com/office/drawing/2014/main" id="{8D41A10F-B37A-FB6D-35B6-E028D1EA96E3}"/>
                  </a:ext>
                </a:extLst>
              </p:cNvPr>
              <p:cNvSpPr/>
              <p:nvPr/>
            </p:nvSpPr>
            <p:spPr>
              <a:xfrm>
                <a:off x="6397178" y="4133299"/>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3"/>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4"/>
                      <a:pt x="127" y="6159"/>
                    </a:cubicBezTo>
                    <a:cubicBezTo>
                      <a:pt x="522" y="7215"/>
                      <a:pt x="1676" y="7776"/>
                      <a:pt x="2731" y="7380"/>
                    </a:cubicBezTo>
                    <a:close/>
                  </a:path>
                </a:pathLst>
              </a:custGeom>
              <a:solidFill>
                <a:srgbClr val="5856D6"/>
              </a:solidFill>
              <a:ln w="3283" cap="flat">
                <a:noFill/>
                <a:prstDash val="solid"/>
                <a:miter/>
              </a:ln>
            </p:spPr>
            <p:txBody>
              <a:bodyPr rtlCol="0" anchor="ctr"/>
              <a:lstStyle/>
              <a:p>
                <a:endParaRPr lang="en-US"/>
              </a:p>
            </p:txBody>
          </p:sp>
          <p:sp>
            <p:nvSpPr>
              <p:cNvPr id="1347" name="Freeform 1346">
                <a:extLst>
                  <a:ext uri="{FF2B5EF4-FFF2-40B4-BE49-F238E27FC236}">
                    <a16:creationId xmlns:a16="http://schemas.microsoft.com/office/drawing/2014/main" id="{0D070D09-9964-C70D-A18B-6CDB000E4ADC}"/>
                  </a:ext>
                </a:extLst>
              </p:cNvPr>
              <p:cNvSpPr/>
              <p:nvPr/>
            </p:nvSpPr>
            <p:spPr>
              <a:xfrm>
                <a:off x="6371265" y="4143070"/>
                <a:ext cx="14873" cy="10204"/>
              </a:xfrm>
              <a:custGeom>
                <a:avLst/>
                <a:gdLst>
                  <a:gd name="connsiteX0" fmla="*/ 3196 w 14873"/>
                  <a:gd name="connsiteY0" fmla="*/ 9880 h 10204"/>
                  <a:gd name="connsiteX1" fmla="*/ 13744 w 14873"/>
                  <a:gd name="connsiteY1" fmla="*/ 3876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880"/>
                    </a:moveTo>
                    <a:cubicBezTo>
                      <a:pt x="6591" y="7637"/>
                      <a:pt x="10184" y="5789"/>
                      <a:pt x="13744" y="3876"/>
                    </a:cubicBezTo>
                    <a:cubicBezTo>
                      <a:pt x="14733" y="3348"/>
                      <a:pt x="15162" y="2194"/>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348" name="Freeform 1347">
                <a:extLst>
                  <a:ext uri="{FF2B5EF4-FFF2-40B4-BE49-F238E27FC236}">
                    <a16:creationId xmlns:a16="http://schemas.microsoft.com/office/drawing/2014/main" id="{F747E4EE-8A87-9C0A-24A1-7F1F4B99E1FE}"/>
                  </a:ext>
                </a:extLst>
              </p:cNvPr>
              <p:cNvSpPr/>
              <p:nvPr/>
            </p:nvSpPr>
            <p:spPr>
              <a:xfrm>
                <a:off x="6348935" y="4158901"/>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4"/>
                      <a:pt x="12704" y="746"/>
                    </a:cubicBezTo>
                    <a:cubicBezTo>
                      <a:pt x="12012" y="-145"/>
                      <a:pt x="10693" y="-244"/>
                      <a:pt x="9803" y="482"/>
                    </a:cubicBezTo>
                    <a:cubicBezTo>
                      <a:pt x="8155" y="1768"/>
                      <a:pt x="6606" y="3154"/>
                      <a:pt x="5089" y="4605"/>
                    </a:cubicBezTo>
                    <a:cubicBezTo>
                      <a:pt x="3573" y="6057"/>
                      <a:pt x="1958" y="7377"/>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349" name="Freeform 1348">
                <a:extLst>
                  <a:ext uri="{FF2B5EF4-FFF2-40B4-BE49-F238E27FC236}">
                    <a16:creationId xmlns:a16="http://schemas.microsoft.com/office/drawing/2014/main" id="{D2E1B098-C3BA-5EED-556F-7418757CB31A}"/>
                  </a:ext>
                </a:extLst>
              </p:cNvPr>
              <p:cNvSpPr/>
              <p:nvPr/>
            </p:nvSpPr>
            <p:spPr>
              <a:xfrm>
                <a:off x="6331270" y="4179675"/>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1"/>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350" name="Freeform 1349">
                <a:extLst>
                  <a:ext uri="{FF2B5EF4-FFF2-40B4-BE49-F238E27FC236}">
                    <a16:creationId xmlns:a16="http://schemas.microsoft.com/office/drawing/2014/main" id="{700D43AA-01ED-7315-2113-1E0335744242}"/>
                  </a:ext>
                </a:extLst>
              </p:cNvPr>
              <p:cNvSpPr/>
              <p:nvPr/>
            </p:nvSpPr>
            <p:spPr>
              <a:xfrm>
                <a:off x="6316800" y="4204139"/>
                <a:ext cx="10268" cy="14795"/>
              </a:xfrm>
              <a:custGeom>
                <a:avLst/>
                <a:gdLst>
                  <a:gd name="connsiteX0" fmla="*/ 3832 w 10268"/>
                  <a:gd name="connsiteY0" fmla="*/ 13765 h 14795"/>
                  <a:gd name="connsiteX1" fmla="*/ 9996 w 10268"/>
                  <a:gd name="connsiteY1" fmla="*/ 3077 h 14795"/>
                  <a:gd name="connsiteX2" fmla="*/ 9238 w 10268"/>
                  <a:gd name="connsiteY2" fmla="*/ 273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3"/>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1" name="Freeform 1350">
                <a:extLst>
                  <a:ext uri="{FF2B5EF4-FFF2-40B4-BE49-F238E27FC236}">
                    <a16:creationId xmlns:a16="http://schemas.microsoft.com/office/drawing/2014/main" id="{AFAD7DE5-C455-74A5-7C20-ABBF06E4DC8B}"/>
                  </a:ext>
                </a:extLst>
              </p:cNvPr>
              <p:cNvSpPr/>
              <p:nvPr/>
            </p:nvSpPr>
            <p:spPr>
              <a:xfrm>
                <a:off x="6302395" y="4229111"/>
                <a:ext cx="10268" cy="14796"/>
              </a:xfrm>
              <a:custGeom>
                <a:avLst/>
                <a:gdLst>
                  <a:gd name="connsiteX0" fmla="*/ 3832 w 10268"/>
                  <a:gd name="connsiteY0" fmla="*/ 13765 h 14796"/>
                  <a:gd name="connsiteX1" fmla="*/ 9996 w 10268"/>
                  <a:gd name="connsiteY1" fmla="*/ 3077 h 14796"/>
                  <a:gd name="connsiteX2" fmla="*/ 9238 w 10268"/>
                  <a:gd name="connsiteY2" fmla="*/ 272 h 14796"/>
                  <a:gd name="connsiteX3" fmla="*/ 6436 w 10268"/>
                  <a:gd name="connsiteY3" fmla="*/ 1031 h 14796"/>
                  <a:gd name="connsiteX4" fmla="*/ 272 w 10268"/>
                  <a:gd name="connsiteY4" fmla="*/ 11720 h 14796"/>
                  <a:gd name="connsiteX5" fmla="*/ 1030 w 10268"/>
                  <a:gd name="connsiteY5" fmla="*/ 14523 h 14796"/>
                  <a:gd name="connsiteX6" fmla="*/ 3832 w 10268"/>
                  <a:gd name="connsiteY6" fmla="*/ 13765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2" name="Freeform 1351">
                <a:extLst>
                  <a:ext uri="{FF2B5EF4-FFF2-40B4-BE49-F238E27FC236}">
                    <a16:creationId xmlns:a16="http://schemas.microsoft.com/office/drawing/2014/main" id="{199E6D1F-B450-C99B-CA63-40D43DBFE493}"/>
                  </a:ext>
                </a:extLst>
              </p:cNvPr>
              <p:cNvSpPr/>
              <p:nvPr/>
            </p:nvSpPr>
            <p:spPr>
              <a:xfrm>
                <a:off x="6287990" y="4254084"/>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3" name="Freeform 1352">
                <a:extLst>
                  <a:ext uri="{FF2B5EF4-FFF2-40B4-BE49-F238E27FC236}">
                    <a16:creationId xmlns:a16="http://schemas.microsoft.com/office/drawing/2014/main" id="{A9E877D2-C522-D4B3-E1C2-FC5CBBECCE17}"/>
                  </a:ext>
                </a:extLst>
              </p:cNvPr>
              <p:cNvSpPr/>
              <p:nvPr/>
            </p:nvSpPr>
            <p:spPr>
              <a:xfrm>
                <a:off x="6273585" y="4279056"/>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4" name="Freeform 1353">
                <a:extLst>
                  <a:ext uri="{FF2B5EF4-FFF2-40B4-BE49-F238E27FC236}">
                    <a16:creationId xmlns:a16="http://schemas.microsoft.com/office/drawing/2014/main" id="{423B0BD0-4142-BFDC-4115-ED7A3B69A97F}"/>
                  </a:ext>
                </a:extLst>
              </p:cNvPr>
              <p:cNvSpPr/>
              <p:nvPr/>
            </p:nvSpPr>
            <p:spPr>
              <a:xfrm>
                <a:off x="6259180" y="4303995"/>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355" name="Freeform 1354">
                <a:extLst>
                  <a:ext uri="{FF2B5EF4-FFF2-40B4-BE49-F238E27FC236}">
                    <a16:creationId xmlns:a16="http://schemas.microsoft.com/office/drawing/2014/main" id="{5D5FAE76-C740-3240-35F1-0609FD07F4C5}"/>
                  </a:ext>
                </a:extLst>
              </p:cNvPr>
              <p:cNvSpPr/>
              <p:nvPr/>
            </p:nvSpPr>
            <p:spPr>
              <a:xfrm>
                <a:off x="6244978" y="4328967"/>
                <a:ext cx="10065" cy="14916"/>
              </a:xfrm>
              <a:custGeom>
                <a:avLst/>
                <a:gdLst>
                  <a:gd name="connsiteX0" fmla="*/ 3893 w 10065"/>
                  <a:gd name="connsiteY0" fmla="*/ 13798 h 14916"/>
                  <a:gd name="connsiteX1" fmla="*/ 9794 w 10065"/>
                  <a:gd name="connsiteY1" fmla="*/ 3077 h 14916"/>
                  <a:gd name="connsiteX2" fmla="*/ 9035 w 10065"/>
                  <a:gd name="connsiteY2" fmla="*/ 272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7"/>
                    </a:cubicBezTo>
                    <a:cubicBezTo>
                      <a:pt x="10354" y="2087"/>
                      <a:pt x="10024" y="833"/>
                      <a:pt x="9035" y="272"/>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356" name="Freeform 1355">
                <a:extLst>
                  <a:ext uri="{FF2B5EF4-FFF2-40B4-BE49-F238E27FC236}">
                    <a16:creationId xmlns:a16="http://schemas.microsoft.com/office/drawing/2014/main" id="{C0B5952C-33C6-6032-9E6D-B095F4BB4A23}"/>
                  </a:ext>
                </a:extLst>
              </p:cNvPr>
              <p:cNvSpPr/>
              <p:nvPr/>
            </p:nvSpPr>
            <p:spPr>
              <a:xfrm>
                <a:off x="6235267" y="4354979"/>
                <a:ext cx="7501" cy="15969"/>
              </a:xfrm>
              <a:custGeom>
                <a:avLst/>
                <a:gdLst>
                  <a:gd name="connsiteX0" fmla="*/ 4078 w 7501"/>
                  <a:gd name="connsiteY0" fmla="*/ 14407 h 15969"/>
                  <a:gd name="connsiteX1" fmla="*/ 7374 w 7501"/>
                  <a:gd name="connsiteY1" fmla="*/ 2729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29"/>
                    </a:cubicBezTo>
                    <a:cubicBezTo>
                      <a:pt x="7769" y="1674"/>
                      <a:pt x="7209" y="519"/>
                      <a:pt x="6154" y="123"/>
                    </a:cubicBezTo>
                    <a:cubicBezTo>
                      <a:pt x="5099" y="-272"/>
                      <a:pt x="3913" y="321"/>
                      <a:pt x="3484" y="1377"/>
                    </a:cubicBezTo>
                    <a:cubicBezTo>
                      <a:pt x="2265" y="5368"/>
                      <a:pt x="913" y="9360"/>
                      <a:pt x="56" y="13451"/>
                    </a:cubicBezTo>
                    <a:cubicBezTo>
                      <a:pt x="-208" y="14572"/>
                      <a:pt x="485" y="15694"/>
                      <a:pt x="1605" y="15925"/>
                    </a:cubicBezTo>
                    <a:cubicBezTo>
                      <a:pt x="2726"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357" name="Freeform 1356">
                <a:extLst>
                  <a:ext uri="{FF2B5EF4-FFF2-40B4-BE49-F238E27FC236}">
                    <a16:creationId xmlns:a16="http://schemas.microsoft.com/office/drawing/2014/main" id="{BB1492FD-161D-A437-CA08-A6C526104470}"/>
                  </a:ext>
                </a:extLst>
              </p:cNvPr>
              <p:cNvSpPr/>
              <p:nvPr/>
            </p:nvSpPr>
            <p:spPr>
              <a:xfrm>
                <a:off x="6231961" y="4383063"/>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6"/>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358" name="Freeform 1357">
                <a:extLst>
                  <a:ext uri="{FF2B5EF4-FFF2-40B4-BE49-F238E27FC236}">
                    <a16:creationId xmlns:a16="http://schemas.microsoft.com/office/drawing/2014/main" id="{A7D1A907-473F-AB05-E3D1-485E157EFE67}"/>
                  </a:ext>
                </a:extLst>
              </p:cNvPr>
              <p:cNvSpPr/>
              <p:nvPr/>
            </p:nvSpPr>
            <p:spPr>
              <a:xfrm>
                <a:off x="6233061" y="4411828"/>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2"/>
                      <a:pt x="4734" y="5787"/>
                      <a:pt x="4075" y="1795"/>
                    </a:cubicBezTo>
                    <a:cubicBezTo>
                      <a:pt x="3910" y="707"/>
                      <a:pt x="2954" y="-118"/>
                      <a:pt x="1833" y="14"/>
                    </a:cubicBezTo>
                    <a:cubicBezTo>
                      <a:pt x="713" y="146"/>
                      <a:pt x="-144" y="1202"/>
                      <a:pt x="20" y="2323"/>
                    </a:cubicBezTo>
                    <a:cubicBezTo>
                      <a:pt x="680" y="6447"/>
                      <a:pt x="1273" y="10603"/>
                      <a:pt x="2328" y="14661"/>
                    </a:cubicBezTo>
                    <a:cubicBezTo>
                      <a:pt x="2591" y="15782"/>
                      <a:pt x="3679" y="16475"/>
                      <a:pt x="4800" y="16211"/>
                    </a:cubicBezTo>
                    <a:cubicBezTo>
                      <a:pt x="5888" y="15947"/>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359" name="Freeform 1358">
                <a:extLst>
                  <a:ext uri="{FF2B5EF4-FFF2-40B4-BE49-F238E27FC236}">
                    <a16:creationId xmlns:a16="http://schemas.microsoft.com/office/drawing/2014/main" id="{A5EFE79E-3FFB-E239-65A4-4FB9C4558B3E}"/>
                  </a:ext>
                </a:extLst>
              </p:cNvPr>
              <p:cNvSpPr/>
              <p:nvPr/>
            </p:nvSpPr>
            <p:spPr>
              <a:xfrm>
                <a:off x="6240156" y="4439718"/>
                <a:ext cx="9048" cy="15440"/>
              </a:xfrm>
              <a:custGeom>
                <a:avLst/>
                <a:gdLst>
                  <a:gd name="connsiteX0" fmla="*/ 8814 w 9048"/>
                  <a:gd name="connsiteY0" fmla="*/ 12436 h 15440"/>
                  <a:gd name="connsiteX1" fmla="*/ 3969 w 9048"/>
                  <a:gd name="connsiteY1" fmla="*/ 1319 h 15440"/>
                  <a:gd name="connsiteX2" fmla="*/ 1331 w 9048"/>
                  <a:gd name="connsiteY2" fmla="*/ 131 h 15440"/>
                  <a:gd name="connsiteX3" fmla="*/ 145 w 9048"/>
                  <a:gd name="connsiteY3" fmla="*/ 2803 h 15440"/>
                  <a:gd name="connsiteX4" fmla="*/ 5155 w 9048"/>
                  <a:gd name="connsiteY4" fmla="*/ 14316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9" y="1319"/>
                    </a:cubicBezTo>
                    <a:cubicBezTo>
                      <a:pt x="3573" y="263"/>
                      <a:pt x="2386" y="-264"/>
                      <a:pt x="1331" y="131"/>
                    </a:cubicBezTo>
                    <a:cubicBezTo>
                      <a:pt x="277" y="527"/>
                      <a:pt x="-284" y="1715"/>
                      <a:pt x="145" y="2803"/>
                    </a:cubicBezTo>
                    <a:cubicBezTo>
                      <a:pt x="1496" y="6762"/>
                      <a:pt x="3408" y="10523"/>
                      <a:pt x="5155" y="14316"/>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360" name="Freeform 1359">
                <a:extLst>
                  <a:ext uri="{FF2B5EF4-FFF2-40B4-BE49-F238E27FC236}">
                    <a16:creationId xmlns:a16="http://schemas.microsoft.com/office/drawing/2014/main" id="{D800EDFF-F160-B81E-4BFD-78D5C6FC8278}"/>
                  </a:ext>
                </a:extLst>
              </p:cNvPr>
              <p:cNvSpPr/>
              <p:nvPr/>
            </p:nvSpPr>
            <p:spPr>
              <a:xfrm>
                <a:off x="6253115" y="4465440"/>
                <a:ext cx="10261" cy="14795"/>
              </a:xfrm>
              <a:custGeom>
                <a:avLst/>
                <a:gdLst>
                  <a:gd name="connsiteX0" fmla="*/ 9996 w 10261"/>
                  <a:gd name="connsiteY0" fmla="*/ 11720 h 14795"/>
                  <a:gd name="connsiteX1" fmla="*/ 3832 w 10261"/>
                  <a:gd name="connsiteY1" fmla="*/ 1031 h 14795"/>
                  <a:gd name="connsiteX2" fmla="*/ 1030 w 10261"/>
                  <a:gd name="connsiteY2" fmla="*/ 272 h 14795"/>
                  <a:gd name="connsiteX3" fmla="*/ 272 w 10261"/>
                  <a:gd name="connsiteY3" fmla="*/ 3077 h 14795"/>
                  <a:gd name="connsiteX4" fmla="*/ 6436 w 10261"/>
                  <a:gd name="connsiteY4" fmla="*/ 13765 h 14795"/>
                  <a:gd name="connsiteX5" fmla="*/ 9238 w 10261"/>
                  <a:gd name="connsiteY5" fmla="*/ 14523 h 14795"/>
                  <a:gd name="connsiteX6" fmla="*/ 9996 w 10261"/>
                  <a:gd name="connsiteY6"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5">
                    <a:moveTo>
                      <a:pt x="9996" y="11720"/>
                    </a:moveTo>
                    <a:lnTo>
                      <a:pt x="3832" y="1031"/>
                    </a:lnTo>
                    <a:cubicBezTo>
                      <a:pt x="3272" y="42"/>
                      <a:pt x="2019" y="-288"/>
                      <a:pt x="1030" y="272"/>
                    </a:cubicBezTo>
                    <a:cubicBezTo>
                      <a:pt x="42" y="833"/>
                      <a:pt x="-288" y="2087"/>
                      <a:pt x="272" y="3077"/>
                    </a:cubicBezTo>
                    <a:lnTo>
                      <a:pt x="6436" y="13765"/>
                    </a:lnTo>
                    <a:cubicBezTo>
                      <a:pt x="6997" y="14754"/>
                      <a:pt x="8282" y="15084"/>
                      <a:pt x="9238" y="14523"/>
                    </a:cubicBezTo>
                    <a:cubicBezTo>
                      <a:pt x="10194"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361" name="Freeform 1360">
                <a:extLst>
                  <a:ext uri="{FF2B5EF4-FFF2-40B4-BE49-F238E27FC236}">
                    <a16:creationId xmlns:a16="http://schemas.microsoft.com/office/drawing/2014/main" id="{A815CF88-6D79-B988-20B8-2BFE1F5EBF99}"/>
                  </a:ext>
                </a:extLst>
              </p:cNvPr>
              <p:cNvSpPr/>
              <p:nvPr/>
            </p:nvSpPr>
            <p:spPr>
              <a:xfrm>
                <a:off x="6267487" y="4490379"/>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20"/>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362" name="Freeform 1361">
                <a:extLst>
                  <a:ext uri="{FF2B5EF4-FFF2-40B4-BE49-F238E27FC236}">
                    <a16:creationId xmlns:a16="http://schemas.microsoft.com/office/drawing/2014/main" id="{A75307AC-E94A-9CAD-B8A2-269A7C3A3665}"/>
                  </a:ext>
                </a:extLst>
              </p:cNvPr>
              <p:cNvSpPr/>
              <p:nvPr/>
            </p:nvSpPr>
            <p:spPr>
              <a:xfrm>
                <a:off x="6281892" y="4515351"/>
                <a:ext cx="10268" cy="14795"/>
              </a:xfrm>
              <a:custGeom>
                <a:avLst/>
                <a:gdLst>
                  <a:gd name="connsiteX0" fmla="*/ 9996 w 10268"/>
                  <a:gd name="connsiteY0" fmla="*/ 11720 h 14795"/>
                  <a:gd name="connsiteX1" fmla="*/ 3832 w 10268"/>
                  <a:gd name="connsiteY1" fmla="*/ 1031 h 14795"/>
                  <a:gd name="connsiteX2" fmla="*/ 1030 w 10268"/>
                  <a:gd name="connsiteY2" fmla="*/ 272 h 14795"/>
                  <a:gd name="connsiteX3" fmla="*/ 272 w 10268"/>
                  <a:gd name="connsiteY3" fmla="*/ 3077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20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20"/>
                    </a:moveTo>
                    <a:lnTo>
                      <a:pt x="3832" y="1031"/>
                    </a:lnTo>
                    <a:cubicBezTo>
                      <a:pt x="3272" y="42"/>
                      <a:pt x="2019" y="-288"/>
                      <a:pt x="1030" y="272"/>
                    </a:cubicBezTo>
                    <a:cubicBezTo>
                      <a:pt x="42" y="833"/>
                      <a:pt x="-288" y="2087"/>
                      <a:pt x="272" y="3077"/>
                    </a:cubicBezTo>
                    <a:lnTo>
                      <a:pt x="6436" y="13765"/>
                    </a:lnTo>
                    <a:cubicBezTo>
                      <a:pt x="6997" y="14754"/>
                      <a:pt x="8249" y="15084"/>
                      <a:pt x="9238" y="14523"/>
                    </a:cubicBezTo>
                    <a:lnTo>
                      <a:pt x="9238" y="14523"/>
                    </a:lnTo>
                    <a:cubicBezTo>
                      <a:pt x="10227" y="13963"/>
                      <a:pt x="10557" y="12709"/>
                      <a:pt x="9996" y="11720"/>
                    </a:cubicBezTo>
                    <a:close/>
                  </a:path>
                </a:pathLst>
              </a:custGeom>
              <a:solidFill>
                <a:srgbClr val="5856D6"/>
              </a:solidFill>
              <a:ln w="3283" cap="flat">
                <a:noFill/>
                <a:prstDash val="solid"/>
                <a:miter/>
              </a:ln>
            </p:spPr>
            <p:txBody>
              <a:bodyPr rtlCol="0" anchor="ctr"/>
              <a:lstStyle/>
              <a:p>
                <a:endParaRPr lang="en-US"/>
              </a:p>
            </p:txBody>
          </p:sp>
          <p:sp>
            <p:nvSpPr>
              <p:cNvPr id="1363" name="Freeform 1362">
                <a:extLst>
                  <a:ext uri="{FF2B5EF4-FFF2-40B4-BE49-F238E27FC236}">
                    <a16:creationId xmlns:a16="http://schemas.microsoft.com/office/drawing/2014/main" id="{7FE5DDE6-B772-553F-A315-72A7662BBDEA}"/>
                  </a:ext>
                </a:extLst>
              </p:cNvPr>
              <p:cNvSpPr/>
              <p:nvPr/>
            </p:nvSpPr>
            <p:spPr>
              <a:xfrm>
                <a:off x="6296297" y="4540323"/>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364" name="Freeform 1363">
                <a:extLst>
                  <a:ext uri="{FF2B5EF4-FFF2-40B4-BE49-F238E27FC236}">
                    <a16:creationId xmlns:a16="http://schemas.microsoft.com/office/drawing/2014/main" id="{E13D09C9-4855-BB66-3962-333393B5DBDD}"/>
                  </a:ext>
                </a:extLst>
              </p:cNvPr>
              <p:cNvSpPr/>
              <p:nvPr/>
            </p:nvSpPr>
            <p:spPr>
              <a:xfrm>
                <a:off x="6310702" y="4565296"/>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365" name="Freeform 1364">
                <a:extLst>
                  <a:ext uri="{FF2B5EF4-FFF2-40B4-BE49-F238E27FC236}">
                    <a16:creationId xmlns:a16="http://schemas.microsoft.com/office/drawing/2014/main" id="{B2B3CEF5-5A78-A013-F139-3F9FFCB6EE01}"/>
                  </a:ext>
                </a:extLst>
              </p:cNvPr>
              <p:cNvSpPr/>
              <p:nvPr/>
            </p:nvSpPr>
            <p:spPr>
              <a:xfrm>
                <a:off x="6325107" y="4590235"/>
                <a:ext cx="10335" cy="14762"/>
              </a:xfrm>
              <a:custGeom>
                <a:avLst/>
                <a:gdLst>
                  <a:gd name="connsiteX0" fmla="*/ 10062 w 10335"/>
                  <a:gd name="connsiteY0" fmla="*/ 11654 h 14762"/>
                  <a:gd name="connsiteX1" fmla="*/ 3832 w 10335"/>
                  <a:gd name="connsiteY1" fmla="*/ 1031 h 14762"/>
                  <a:gd name="connsiteX2" fmla="*/ 1030 w 10335"/>
                  <a:gd name="connsiteY2" fmla="*/ 272 h 14762"/>
                  <a:gd name="connsiteX3" fmla="*/ 272 w 10335"/>
                  <a:gd name="connsiteY3" fmla="*/ 3076 h 14762"/>
                  <a:gd name="connsiteX4" fmla="*/ 6535 w 10335"/>
                  <a:gd name="connsiteY4" fmla="*/ 13765 h 14762"/>
                  <a:gd name="connsiteX5" fmla="*/ 9370 w 10335"/>
                  <a:gd name="connsiteY5" fmla="*/ 14457 h 14762"/>
                  <a:gd name="connsiteX6" fmla="*/ 10029 w 10335"/>
                  <a:gd name="connsiteY6" fmla="*/ 11654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4"/>
                    </a:moveTo>
                    <a:cubicBezTo>
                      <a:pt x="7887" y="8256"/>
                      <a:pt x="5909" y="4561"/>
                      <a:pt x="3832" y="1031"/>
                    </a:cubicBezTo>
                    <a:cubicBezTo>
                      <a:pt x="3272" y="42"/>
                      <a:pt x="2019" y="-288"/>
                      <a:pt x="1030" y="272"/>
                    </a:cubicBezTo>
                    <a:cubicBezTo>
                      <a:pt x="42" y="833"/>
                      <a:pt x="-288" y="2087"/>
                      <a:pt x="272" y="3076"/>
                    </a:cubicBezTo>
                    <a:cubicBezTo>
                      <a:pt x="2382" y="6639"/>
                      <a:pt x="4294" y="10202"/>
                      <a:pt x="6535" y="13765"/>
                    </a:cubicBezTo>
                    <a:cubicBezTo>
                      <a:pt x="7129" y="14754"/>
                      <a:pt x="8414" y="15051"/>
                      <a:pt x="9370" y="14457"/>
                    </a:cubicBezTo>
                    <a:cubicBezTo>
                      <a:pt x="10326" y="13864"/>
                      <a:pt x="10623" y="12577"/>
                      <a:pt x="10029" y="11654"/>
                    </a:cubicBezTo>
                    <a:close/>
                  </a:path>
                </a:pathLst>
              </a:custGeom>
              <a:solidFill>
                <a:srgbClr val="5856D6"/>
              </a:solidFill>
              <a:ln w="3283" cap="flat">
                <a:noFill/>
                <a:prstDash val="solid"/>
                <a:miter/>
              </a:ln>
            </p:spPr>
            <p:txBody>
              <a:bodyPr rtlCol="0" anchor="ctr"/>
              <a:lstStyle/>
              <a:p>
                <a:endParaRPr lang="en-US"/>
              </a:p>
            </p:txBody>
          </p:sp>
          <p:sp>
            <p:nvSpPr>
              <p:cNvPr id="1366" name="Freeform 1365">
                <a:extLst>
                  <a:ext uri="{FF2B5EF4-FFF2-40B4-BE49-F238E27FC236}">
                    <a16:creationId xmlns:a16="http://schemas.microsoft.com/office/drawing/2014/main" id="{C56B73E8-EDF2-262A-77C6-61EC71CDA8CC}"/>
                  </a:ext>
                </a:extLst>
              </p:cNvPr>
              <p:cNvSpPr/>
              <p:nvPr/>
            </p:nvSpPr>
            <p:spPr>
              <a:xfrm>
                <a:off x="6340832" y="4614409"/>
                <a:ext cx="12289" cy="13346"/>
              </a:xfrm>
              <a:custGeom>
                <a:avLst/>
                <a:gdLst>
                  <a:gd name="connsiteX0" fmla="*/ 11708 w 12289"/>
                  <a:gd name="connsiteY0" fmla="*/ 9813 h 13346"/>
                  <a:gd name="connsiteX1" fmla="*/ 7555 w 12289"/>
                  <a:gd name="connsiteY1" fmla="*/ 5392 h 13346"/>
                  <a:gd name="connsiteX2" fmla="*/ 3665 w 12289"/>
                  <a:gd name="connsiteY2" fmla="*/ 741 h 13346"/>
                  <a:gd name="connsiteX3" fmla="*/ 765 w 12289"/>
                  <a:gd name="connsiteY3" fmla="*/ 444 h 13346"/>
                  <a:gd name="connsiteX4" fmla="*/ 468 w 12289"/>
                  <a:gd name="connsiteY4" fmla="*/ 3314 h 13346"/>
                  <a:gd name="connsiteX5" fmla="*/ 4490 w 12289"/>
                  <a:gd name="connsiteY5" fmla="*/ 8130 h 13346"/>
                  <a:gd name="connsiteX6" fmla="*/ 8808 w 12289"/>
                  <a:gd name="connsiteY6" fmla="*/ 12716 h 13346"/>
                  <a:gd name="connsiteX7" fmla="*/ 11708 w 12289"/>
                  <a:gd name="connsiteY7" fmla="*/ 12716 h 13346"/>
                  <a:gd name="connsiteX8" fmla="*/ 11708 w 12289"/>
                  <a:gd name="connsiteY8" fmla="*/ 9813 h 1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46">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0"/>
                      <a:pt x="3105" y="6580"/>
                      <a:pt x="4490" y="8130"/>
                    </a:cubicBezTo>
                    <a:lnTo>
                      <a:pt x="8808" y="12716"/>
                    </a:lnTo>
                    <a:cubicBezTo>
                      <a:pt x="9566" y="13573"/>
                      <a:pt x="10917" y="13540"/>
                      <a:pt x="11708" y="12716"/>
                    </a:cubicBezTo>
                    <a:cubicBezTo>
                      <a:pt x="12500" y="11924"/>
                      <a:pt x="12467" y="10637"/>
                      <a:pt x="11708" y="9813"/>
                    </a:cubicBezTo>
                    <a:close/>
                  </a:path>
                </a:pathLst>
              </a:custGeom>
              <a:solidFill>
                <a:srgbClr val="5856D6"/>
              </a:solidFill>
              <a:ln w="3283" cap="flat">
                <a:noFill/>
                <a:prstDash val="solid"/>
                <a:miter/>
              </a:ln>
            </p:spPr>
            <p:txBody>
              <a:bodyPr rtlCol="0" anchor="ctr"/>
              <a:lstStyle/>
              <a:p>
                <a:endParaRPr lang="en-US"/>
              </a:p>
            </p:txBody>
          </p:sp>
          <p:sp>
            <p:nvSpPr>
              <p:cNvPr id="1367" name="Freeform 1366">
                <a:extLst>
                  <a:ext uri="{FF2B5EF4-FFF2-40B4-BE49-F238E27FC236}">
                    <a16:creationId xmlns:a16="http://schemas.microsoft.com/office/drawing/2014/main" id="{AAE847F4-6DD7-12DF-7B8A-A5C05CEECCF6}"/>
                  </a:ext>
                </a:extLst>
              </p:cNvPr>
              <p:cNvSpPr/>
              <p:nvPr/>
            </p:nvSpPr>
            <p:spPr>
              <a:xfrm>
                <a:off x="6361348" y="4634534"/>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49"/>
                      <a:pt x="785" y="3707"/>
                    </a:cubicBezTo>
                    <a:cubicBezTo>
                      <a:pt x="4147" y="6181"/>
                      <a:pt x="7476" y="8754"/>
                      <a:pt x="11069" y="10866"/>
                    </a:cubicBezTo>
                    <a:cubicBezTo>
                      <a:pt x="12058" y="11460"/>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368" name="Freeform 1367">
                <a:extLst>
                  <a:ext uri="{FF2B5EF4-FFF2-40B4-BE49-F238E27FC236}">
                    <a16:creationId xmlns:a16="http://schemas.microsoft.com/office/drawing/2014/main" id="{19156394-A0F0-EBEE-8781-DCADF31FC66B}"/>
                  </a:ext>
                </a:extLst>
              </p:cNvPr>
              <p:cNvSpPr/>
              <p:nvPr/>
            </p:nvSpPr>
            <p:spPr>
              <a:xfrm>
                <a:off x="6385904" y="4649443"/>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5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1"/>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1"/>
                      <a:pt x="15488" y="7305"/>
                    </a:cubicBezTo>
                    <a:cubicBezTo>
                      <a:pt x="15851" y="6216"/>
                      <a:pt x="15258" y="5095"/>
                      <a:pt x="14203" y="4765"/>
                    </a:cubicBezTo>
                    <a:close/>
                  </a:path>
                </a:pathLst>
              </a:custGeom>
              <a:solidFill>
                <a:srgbClr val="5856D6"/>
              </a:solidFill>
              <a:ln w="3283" cap="flat">
                <a:noFill/>
                <a:prstDash val="solid"/>
                <a:miter/>
              </a:ln>
            </p:spPr>
            <p:txBody>
              <a:bodyPr rtlCol="0" anchor="ctr"/>
              <a:lstStyle/>
              <a:p>
                <a:endParaRPr lang="en-US"/>
              </a:p>
            </p:txBody>
          </p:sp>
          <p:sp>
            <p:nvSpPr>
              <p:cNvPr id="1369" name="Freeform 1368">
                <a:extLst>
                  <a:ext uri="{FF2B5EF4-FFF2-40B4-BE49-F238E27FC236}">
                    <a16:creationId xmlns:a16="http://schemas.microsoft.com/office/drawing/2014/main" id="{1C4EC1CC-0765-760A-4A10-798C9D2E84AE}"/>
                  </a:ext>
                </a:extLst>
              </p:cNvPr>
              <p:cNvSpPr/>
              <p:nvPr/>
            </p:nvSpPr>
            <p:spPr>
              <a:xfrm>
                <a:off x="6413248" y="4658352"/>
                <a:ext cx="16336" cy="5865"/>
              </a:xfrm>
              <a:custGeom>
                <a:avLst/>
                <a:gdLst>
                  <a:gd name="connsiteX0" fmla="*/ 14449 w 16336"/>
                  <a:gd name="connsiteY0" fmla="*/ 1794 h 5865"/>
                  <a:gd name="connsiteX1" fmla="*/ 2450 w 16336"/>
                  <a:gd name="connsiteY1" fmla="*/ 46 h 5865"/>
                  <a:gd name="connsiteX2" fmla="*/ 44 w 16336"/>
                  <a:gd name="connsiteY2" fmla="*/ 1596 h 5865"/>
                  <a:gd name="connsiteX3" fmla="*/ 1659 w 16336"/>
                  <a:gd name="connsiteY3" fmla="*/ 4070 h 5865"/>
                  <a:gd name="connsiteX4" fmla="*/ 14086 w 16336"/>
                  <a:gd name="connsiteY4" fmla="*/ 5852 h 5865"/>
                  <a:gd name="connsiteX5" fmla="*/ 16328 w 16336"/>
                  <a:gd name="connsiteY5" fmla="*/ 4004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7"/>
                      <a:pt x="6439" y="705"/>
                      <a:pt x="2450" y="46"/>
                    </a:cubicBezTo>
                    <a:cubicBezTo>
                      <a:pt x="1363" y="-185"/>
                      <a:pt x="275" y="475"/>
                      <a:pt x="44" y="1596"/>
                    </a:cubicBezTo>
                    <a:cubicBezTo>
                      <a:pt x="-187" y="2685"/>
                      <a:pt x="506" y="3839"/>
                      <a:pt x="1659" y="4070"/>
                    </a:cubicBezTo>
                    <a:cubicBezTo>
                      <a:pt x="5780" y="4730"/>
                      <a:pt x="9900" y="5555"/>
                      <a:pt x="14086" y="5852"/>
                    </a:cubicBezTo>
                    <a:cubicBezTo>
                      <a:pt x="15240" y="5984"/>
                      <a:pt x="16262" y="5126"/>
                      <a:pt x="16328" y="4004"/>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370" name="Freeform 1369">
                <a:extLst>
                  <a:ext uri="{FF2B5EF4-FFF2-40B4-BE49-F238E27FC236}">
                    <a16:creationId xmlns:a16="http://schemas.microsoft.com/office/drawing/2014/main" id="{08F8783B-EC58-8F45-4859-8021D7988114}"/>
                  </a:ext>
                </a:extLst>
              </p:cNvPr>
              <p:cNvSpPr/>
              <p:nvPr/>
            </p:nvSpPr>
            <p:spPr>
              <a:xfrm>
                <a:off x="6441904" y="4660806"/>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371" name="Freeform 1370">
                <a:extLst>
                  <a:ext uri="{FF2B5EF4-FFF2-40B4-BE49-F238E27FC236}">
                    <a16:creationId xmlns:a16="http://schemas.microsoft.com/office/drawing/2014/main" id="{9CAFCC9E-ADC9-C980-3603-FC71C0D53893}"/>
                  </a:ext>
                </a:extLst>
              </p:cNvPr>
              <p:cNvSpPr/>
              <p:nvPr/>
            </p:nvSpPr>
            <p:spPr>
              <a:xfrm>
                <a:off x="6470714" y="4660806"/>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372" name="Freeform 1371">
                <a:extLst>
                  <a:ext uri="{FF2B5EF4-FFF2-40B4-BE49-F238E27FC236}">
                    <a16:creationId xmlns:a16="http://schemas.microsoft.com/office/drawing/2014/main" id="{5517727F-D237-6990-D353-9906B84DA1BD}"/>
                  </a:ext>
                </a:extLst>
              </p:cNvPr>
              <p:cNvSpPr/>
              <p:nvPr/>
            </p:nvSpPr>
            <p:spPr>
              <a:xfrm>
                <a:off x="6499524" y="4660806"/>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373" name="Freeform 1372">
                <a:extLst>
                  <a:ext uri="{FF2B5EF4-FFF2-40B4-BE49-F238E27FC236}">
                    <a16:creationId xmlns:a16="http://schemas.microsoft.com/office/drawing/2014/main" id="{E2151AD5-BF9A-2755-2E58-D7E74E772BFE}"/>
                  </a:ext>
                </a:extLst>
              </p:cNvPr>
              <p:cNvSpPr/>
              <p:nvPr/>
            </p:nvSpPr>
            <p:spPr>
              <a:xfrm>
                <a:off x="6528301" y="4660806"/>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374" name="Freeform 1373">
                <a:extLst>
                  <a:ext uri="{FF2B5EF4-FFF2-40B4-BE49-F238E27FC236}">
                    <a16:creationId xmlns:a16="http://schemas.microsoft.com/office/drawing/2014/main" id="{84DF3DFE-571A-4447-3488-E9F5E611EF0C}"/>
                  </a:ext>
                </a:extLst>
              </p:cNvPr>
              <p:cNvSpPr/>
              <p:nvPr/>
            </p:nvSpPr>
            <p:spPr>
              <a:xfrm>
                <a:off x="6557078" y="4660806"/>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sp>
            <p:nvSpPr>
              <p:cNvPr id="1375" name="Freeform 1374">
                <a:extLst>
                  <a:ext uri="{FF2B5EF4-FFF2-40B4-BE49-F238E27FC236}">
                    <a16:creationId xmlns:a16="http://schemas.microsoft.com/office/drawing/2014/main" id="{A2398726-AD80-CA3B-3DF1-BA8FFB9A7647}"/>
                  </a:ext>
                </a:extLst>
              </p:cNvPr>
              <p:cNvSpPr/>
              <p:nvPr/>
            </p:nvSpPr>
            <p:spPr>
              <a:xfrm>
                <a:off x="6585888" y="4660806"/>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376" name="Freeform 1375">
            <a:extLst>
              <a:ext uri="{FF2B5EF4-FFF2-40B4-BE49-F238E27FC236}">
                <a16:creationId xmlns:a16="http://schemas.microsoft.com/office/drawing/2014/main" id="{F0AAB8D4-1991-D7FC-5527-02AAD9346DE1}"/>
              </a:ext>
            </a:extLst>
          </p:cNvPr>
          <p:cNvSpPr/>
          <p:nvPr/>
        </p:nvSpPr>
        <p:spPr>
          <a:xfrm>
            <a:off x="6835032" y="4258122"/>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3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3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8" y="448839"/>
                  <a:pt x="384665" y="432873"/>
                  <a:pt x="399498" y="407142"/>
                </a:cubicBezTo>
                <a:lnTo>
                  <a:pt x="480851" y="266117"/>
                </a:lnTo>
                <a:cubicBezTo>
                  <a:pt x="495685" y="240419"/>
                  <a:pt x="495685" y="208453"/>
                  <a:pt x="480851" y="182723"/>
                </a:cubicBezTo>
                <a:lnTo>
                  <a:pt x="399498" y="41697"/>
                </a:lnTo>
                <a:cubicBezTo>
                  <a:pt x="384665" y="15966"/>
                  <a:pt x="357008" y="0"/>
                  <a:pt x="327342" y="0"/>
                </a:cubicBezTo>
                <a:lnTo>
                  <a:pt x="164635" y="0"/>
                </a:lnTo>
                <a:cubicBezTo>
                  <a:pt x="134968" y="0"/>
                  <a:pt x="107312" y="15966"/>
                  <a:pt x="92478" y="41697"/>
                </a:cubicBezTo>
                <a:lnTo>
                  <a:pt x="11125" y="182723"/>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377" name="Freeform 1376">
            <a:extLst>
              <a:ext uri="{FF2B5EF4-FFF2-40B4-BE49-F238E27FC236}">
                <a16:creationId xmlns:a16="http://schemas.microsoft.com/office/drawing/2014/main" id="{A545F37C-F12A-2618-CE49-689372060C3B}"/>
              </a:ext>
            </a:extLst>
          </p:cNvPr>
          <p:cNvSpPr/>
          <p:nvPr/>
        </p:nvSpPr>
        <p:spPr>
          <a:xfrm>
            <a:off x="6875964" y="4299159"/>
            <a:ext cx="410046" cy="366764"/>
          </a:xfrm>
          <a:custGeom>
            <a:avLst/>
            <a:gdLst>
              <a:gd name="connsiteX0" fmla="*/ 123670 w 410046"/>
              <a:gd name="connsiteY0" fmla="*/ 0 h 366764"/>
              <a:gd name="connsiteX1" fmla="*/ 286376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6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6"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6"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378" name="Freeform 1377">
            <a:extLst>
              <a:ext uri="{FF2B5EF4-FFF2-40B4-BE49-F238E27FC236}">
                <a16:creationId xmlns:a16="http://schemas.microsoft.com/office/drawing/2014/main" id="{22295859-0222-2916-CE22-4DA331498B2C}"/>
              </a:ext>
            </a:extLst>
          </p:cNvPr>
          <p:cNvSpPr/>
          <p:nvPr/>
        </p:nvSpPr>
        <p:spPr>
          <a:xfrm>
            <a:off x="7029498" y="4376154"/>
            <a:ext cx="102944" cy="212774"/>
          </a:xfrm>
          <a:custGeom>
            <a:avLst/>
            <a:gdLst>
              <a:gd name="connsiteX0" fmla="*/ 12757 w 102944"/>
              <a:gd name="connsiteY0" fmla="*/ 193839 h 212774"/>
              <a:gd name="connsiteX1" fmla="*/ 0 w 102944"/>
              <a:gd name="connsiteY1" fmla="*/ 144258 h 212774"/>
              <a:gd name="connsiteX2" fmla="*/ 0 w 102944"/>
              <a:gd name="connsiteY2" fmla="*/ 73927 h 212774"/>
              <a:gd name="connsiteX3" fmla="*/ 11834 w 102944"/>
              <a:gd name="connsiteY3" fmla="*/ 20090 h 212774"/>
              <a:gd name="connsiteX4" fmla="*/ 51225 w 102944"/>
              <a:gd name="connsiteY4" fmla="*/ 0 h 212774"/>
              <a:gd name="connsiteX5" fmla="*/ 88539 w 102944"/>
              <a:gd name="connsiteY5" fmla="*/ 13129 h 212774"/>
              <a:gd name="connsiteX6" fmla="*/ 102186 w 102944"/>
              <a:gd name="connsiteY6" fmla="*/ 50736 h 212774"/>
              <a:gd name="connsiteX7" fmla="*/ 102450 w 102944"/>
              <a:gd name="connsiteY7" fmla="*/ 53837 h 212774"/>
              <a:gd name="connsiteX8" fmla="*/ 74629 w 102944"/>
              <a:gd name="connsiteY8" fmla="*/ 53837 h 212774"/>
              <a:gd name="connsiteX9" fmla="*/ 69487 w 102944"/>
              <a:gd name="connsiteY9" fmla="*/ 30283 h 212774"/>
              <a:gd name="connsiteX10" fmla="*/ 51225 w 102944"/>
              <a:gd name="connsiteY10" fmla="*/ 22663 h 212774"/>
              <a:gd name="connsiteX11" fmla="*/ 27557 w 102944"/>
              <a:gd name="connsiteY11" fmla="*/ 67230 h 212774"/>
              <a:gd name="connsiteX12" fmla="*/ 27557 w 102944"/>
              <a:gd name="connsiteY12" fmla="*/ 98899 h 212774"/>
              <a:gd name="connsiteX13" fmla="*/ 39523 w 102944"/>
              <a:gd name="connsiteY13" fmla="*/ 88343 h 212774"/>
              <a:gd name="connsiteX14" fmla="*/ 57916 w 102944"/>
              <a:gd name="connsiteY14" fmla="*/ 84483 h 212774"/>
              <a:gd name="connsiteX15" fmla="*/ 92660 w 102944"/>
              <a:gd name="connsiteY15" fmla="*/ 100087 h 212774"/>
              <a:gd name="connsiteX16" fmla="*/ 102944 w 102944"/>
              <a:gd name="connsiteY16" fmla="*/ 144786 h 212774"/>
              <a:gd name="connsiteX17" fmla="*/ 90319 w 102944"/>
              <a:gd name="connsiteY17" fmla="*/ 194103 h 212774"/>
              <a:gd name="connsiteX18" fmla="*/ 51192 w 102944"/>
              <a:gd name="connsiteY18" fmla="*/ 212775 h 212774"/>
              <a:gd name="connsiteX19" fmla="*/ 12724 w 102944"/>
              <a:gd name="connsiteY19" fmla="*/ 193839 h 212774"/>
              <a:gd name="connsiteX20" fmla="*/ 69651 w 102944"/>
              <a:gd name="connsiteY20" fmla="*/ 179292 h 212774"/>
              <a:gd name="connsiteX21" fmla="*/ 75189 w 102944"/>
              <a:gd name="connsiteY21" fmla="*/ 151482 h 212774"/>
              <a:gd name="connsiteX22" fmla="*/ 73904 w 102944"/>
              <a:gd name="connsiteY22" fmla="*/ 126477 h 212774"/>
              <a:gd name="connsiteX23" fmla="*/ 67476 w 102944"/>
              <a:gd name="connsiteY23" fmla="*/ 111270 h 212774"/>
              <a:gd name="connsiteX24" fmla="*/ 51258 w 102944"/>
              <a:gd name="connsiteY24" fmla="*/ 105332 h 212774"/>
              <a:gd name="connsiteX25" fmla="*/ 37248 w 102944"/>
              <a:gd name="connsiteY25" fmla="*/ 109455 h 212774"/>
              <a:gd name="connsiteX26" fmla="*/ 27590 w 102944"/>
              <a:gd name="connsiteY26" fmla="*/ 119484 h 212774"/>
              <a:gd name="connsiteX27" fmla="*/ 27590 w 102944"/>
              <a:gd name="connsiteY27" fmla="*/ 150658 h 212774"/>
              <a:gd name="connsiteX28" fmla="*/ 33128 w 102944"/>
              <a:gd name="connsiteY28" fmla="*/ 179127 h 212774"/>
              <a:gd name="connsiteX29" fmla="*/ 51291 w 102944"/>
              <a:gd name="connsiteY29" fmla="*/ 189815 h 212774"/>
              <a:gd name="connsiteX30" fmla="*/ 69684 w 102944"/>
              <a:gd name="connsiteY30" fmla="*/ 179259 h 21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2944" h="212774">
                <a:moveTo>
                  <a:pt x="12757" y="193839"/>
                </a:moveTo>
                <a:cubicBezTo>
                  <a:pt x="4252" y="181205"/>
                  <a:pt x="0" y="164711"/>
                  <a:pt x="0" y="144258"/>
                </a:cubicBezTo>
                <a:lnTo>
                  <a:pt x="0" y="73927"/>
                </a:lnTo>
                <a:cubicBezTo>
                  <a:pt x="0" y="51429"/>
                  <a:pt x="3956" y="33483"/>
                  <a:pt x="11834" y="20090"/>
                </a:cubicBezTo>
                <a:cubicBezTo>
                  <a:pt x="19712" y="6697"/>
                  <a:pt x="32864" y="0"/>
                  <a:pt x="51225" y="0"/>
                </a:cubicBezTo>
                <a:cubicBezTo>
                  <a:pt x="67344" y="0"/>
                  <a:pt x="79804" y="4387"/>
                  <a:pt x="88539" y="13129"/>
                </a:cubicBezTo>
                <a:cubicBezTo>
                  <a:pt x="97275" y="21904"/>
                  <a:pt x="101824" y="34440"/>
                  <a:pt x="102186" y="50736"/>
                </a:cubicBezTo>
                <a:lnTo>
                  <a:pt x="102450" y="53837"/>
                </a:lnTo>
                <a:lnTo>
                  <a:pt x="74629" y="53837"/>
                </a:lnTo>
                <a:cubicBezTo>
                  <a:pt x="74629" y="43182"/>
                  <a:pt x="72915" y="35330"/>
                  <a:pt x="69487" y="30283"/>
                </a:cubicBezTo>
                <a:cubicBezTo>
                  <a:pt x="66058" y="25203"/>
                  <a:pt x="59960" y="22663"/>
                  <a:pt x="51225" y="22663"/>
                </a:cubicBezTo>
                <a:cubicBezTo>
                  <a:pt x="35435" y="22663"/>
                  <a:pt x="27557" y="37541"/>
                  <a:pt x="27557" y="67230"/>
                </a:cubicBezTo>
                <a:lnTo>
                  <a:pt x="27557" y="98899"/>
                </a:lnTo>
                <a:cubicBezTo>
                  <a:pt x="30293" y="94445"/>
                  <a:pt x="34282" y="90916"/>
                  <a:pt x="39523" y="88343"/>
                </a:cubicBezTo>
                <a:cubicBezTo>
                  <a:pt x="44764" y="85770"/>
                  <a:pt x="50895" y="84483"/>
                  <a:pt x="57916" y="84483"/>
                </a:cubicBezTo>
                <a:cubicBezTo>
                  <a:pt x="74200" y="84483"/>
                  <a:pt x="85803" y="89695"/>
                  <a:pt x="92660" y="100087"/>
                </a:cubicBezTo>
                <a:cubicBezTo>
                  <a:pt x="99516" y="110478"/>
                  <a:pt x="102944" y="125356"/>
                  <a:pt x="102944" y="144786"/>
                </a:cubicBezTo>
                <a:cubicBezTo>
                  <a:pt x="102944" y="165239"/>
                  <a:pt x="98725" y="181667"/>
                  <a:pt x="90319" y="194103"/>
                </a:cubicBezTo>
                <a:cubicBezTo>
                  <a:pt x="81914" y="206573"/>
                  <a:pt x="68860" y="212775"/>
                  <a:pt x="51192" y="212775"/>
                </a:cubicBezTo>
                <a:cubicBezTo>
                  <a:pt x="33524" y="212775"/>
                  <a:pt x="21195" y="206474"/>
                  <a:pt x="12724" y="193839"/>
                </a:cubicBezTo>
                <a:close/>
                <a:moveTo>
                  <a:pt x="69651" y="179292"/>
                </a:moveTo>
                <a:cubicBezTo>
                  <a:pt x="73343" y="172232"/>
                  <a:pt x="75189" y="162995"/>
                  <a:pt x="75189" y="151482"/>
                </a:cubicBezTo>
                <a:cubicBezTo>
                  <a:pt x="75189" y="140992"/>
                  <a:pt x="74761" y="132679"/>
                  <a:pt x="73904" y="126477"/>
                </a:cubicBezTo>
                <a:cubicBezTo>
                  <a:pt x="73047" y="120308"/>
                  <a:pt x="70904" y="115228"/>
                  <a:pt x="67476" y="111270"/>
                </a:cubicBezTo>
                <a:cubicBezTo>
                  <a:pt x="64048" y="107311"/>
                  <a:pt x="58642" y="105332"/>
                  <a:pt x="51258" y="105332"/>
                </a:cubicBezTo>
                <a:cubicBezTo>
                  <a:pt x="45951" y="105332"/>
                  <a:pt x="41270" y="106717"/>
                  <a:pt x="37248" y="109455"/>
                </a:cubicBezTo>
                <a:cubicBezTo>
                  <a:pt x="33194" y="112193"/>
                  <a:pt x="29997" y="115558"/>
                  <a:pt x="27590" y="119484"/>
                </a:cubicBezTo>
                <a:lnTo>
                  <a:pt x="27590" y="150658"/>
                </a:lnTo>
                <a:cubicBezTo>
                  <a:pt x="27590" y="162500"/>
                  <a:pt x="29436" y="172001"/>
                  <a:pt x="33128" y="179127"/>
                </a:cubicBezTo>
                <a:cubicBezTo>
                  <a:pt x="36820" y="186252"/>
                  <a:pt x="42885" y="189815"/>
                  <a:pt x="51291" y="189815"/>
                </a:cubicBezTo>
                <a:cubicBezTo>
                  <a:pt x="59697" y="189815"/>
                  <a:pt x="65992" y="186285"/>
                  <a:pt x="69684" y="179259"/>
                </a:cubicBezTo>
                <a:close/>
              </a:path>
            </a:pathLst>
          </a:custGeom>
          <a:solidFill>
            <a:srgbClr val="5856D6"/>
          </a:solidFill>
          <a:ln w="3283" cap="flat">
            <a:noFill/>
            <a:prstDash val="solid"/>
            <a:miter/>
          </a:ln>
        </p:spPr>
        <p:txBody>
          <a:bodyPr rtlCol="0" anchor="ctr"/>
          <a:lstStyle/>
          <a:p>
            <a:endParaRPr lang="en-US"/>
          </a:p>
        </p:txBody>
      </p:sp>
      <p:grpSp>
        <p:nvGrpSpPr>
          <p:cNvPr id="1379" name="Graphic 776">
            <a:extLst>
              <a:ext uri="{FF2B5EF4-FFF2-40B4-BE49-F238E27FC236}">
                <a16:creationId xmlns:a16="http://schemas.microsoft.com/office/drawing/2014/main" id="{3106BC22-BD5F-8620-601B-BF73779711D7}"/>
              </a:ext>
            </a:extLst>
          </p:cNvPr>
          <p:cNvGrpSpPr/>
          <p:nvPr/>
        </p:nvGrpSpPr>
        <p:grpSpPr>
          <a:xfrm>
            <a:off x="6393750" y="3821694"/>
            <a:ext cx="113571" cy="103352"/>
            <a:chOff x="6157563" y="3820757"/>
            <a:chExt cx="113571" cy="103352"/>
          </a:xfrm>
        </p:grpSpPr>
        <p:grpSp>
          <p:nvGrpSpPr>
            <p:cNvPr id="1380" name="Graphic 776">
              <a:extLst>
                <a:ext uri="{FF2B5EF4-FFF2-40B4-BE49-F238E27FC236}">
                  <a16:creationId xmlns:a16="http://schemas.microsoft.com/office/drawing/2014/main" id="{BC1460D3-9910-C505-1093-A072E214F6F4}"/>
                </a:ext>
              </a:extLst>
            </p:cNvPr>
            <p:cNvGrpSpPr/>
            <p:nvPr/>
          </p:nvGrpSpPr>
          <p:grpSpPr>
            <a:xfrm>
              <a:off x="6157563" y="3820757"/>
              <a:ext cx="113571" cy="103352"/>
              <a:chOff x="6157563" y="3820757"/>
              <a:chExt cx="113571" cy="103352"/>
            </a:xfrm>
          </p:grpSpPr>
          <p:sp>
            <p:nvSpPr>
              <p:cNvPr id="1381" name="Freeform 1380">
                <a:extLst>
                  <a:ext uri="{FF2B5EF4-FFF2-40B4-BE49-F238E27FC236}">
                    <a16:creationId xmlns:a16="http://schemas.microsoft.com/office/drawing/2014/main" id="{FFEBB8DD-3343-C8BC-B141-EC7EB9F50D2D}"/>
                  </a:ext>
                </a:extLst>
              </p:cNvPr>
              <p:cNvSpPr/>
              <p:nvPr/>
            </p:nvSpPr>
            <p:spPr>
              <a:xfrm>
                <a:off x="6158807" y="3823495"/>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4 h 97843"/>
                  <a:gd name="connsiteX9" fmla="*/ 76714 w 109586"/>
                  <a:gd name="connsiteY9" fmla="*/ 97844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4"/>
                      <a:pt x="32873" y="97844"/>
                    </a:cubicBezTo>
                    <a:lnTo>
                      <a:pt x="76714" y="97844"/>
                    </a:lnTo>
                    <a:cubicBezTo>
                      <a:pt x="80636" y="97844"/>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1382" name="Graphic 776">
                <a:extLst>
                  <a:ext uri="{FF2B5EF4-FFF2-40B4-BE49-F238E27FC236}">
                    <a16:creationId xmlns:a16="http://schemas.microsoft.com/office/drawing/2014/main" id="{B46A5643-3841-4AA2-2782-1A2AE59CC397}"/>
                  </a:ext>
                </a:extLst>
              </p:cNvPr>
              <p:cNvGrpSpPr/>
              <p:nvPr/>
            </p:nvGrpSpPr>
            <p:grpSpPr>
              <a:xfrm>
                <a:off x="6157563" y="3820757"/>
                <a:ext cx="113571" cy="103352"/>
                <a:chOff x="6157563" y="3820757"/>
                <a:chExt cx="113571" cy="103352"/>
              </a:xfrm>
              <a:solidFill>
                <a:srgbClr val="5856D6"/>
              </a:solidFill>
            </p:grpSpPr>
            <p:sp>
              <p:nvSpPr>
                <p:cNvPr id="1383" name="Freeform 1382">
                  <a:extLst>
                    <a:ext uri="{FF2B5EF4-FFF2-40B4-BE49-F238E27FC236}">
                      <a16:creationId xmlns:a16="http://schemas.microsoft.com/office/drawing/2014/main" id="{F3FDD883-5C31-1178-886B-BE29E69DFF62}"/>
                    </a:ext>
                  </a:extLst>
                </p:cNvPr>
                <p:cNvSpPr/>
                <p:nvPr/>
              </p:nvSpPr>
              <p:spPr>
                <a:xfrm>
                  <a:off x="6247111" y="3834632"/>
                  <a:ext cx="13342" cy="19028"/>
                </a:xfrm>
                <a:custGeom>
                  <a:avLst/>
                  <a:gdLst>
                    <a:gd name="connsiteX0" fmla="*/ 5089 w 13342"/>
                    <a:gd name="connsiteY0" fmla="*/ 1300 h 19028"/>
                    <a:gd name="connsiteX1" fmla="*/ 13000 w 13342"/>
                    <a:gd name="connsiteY1" fmla="*/ 14990 h 19028"/>
                    <a:gd name="connsiteX2" fmla="*/ 11946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6"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384" name="Freeform 1383">
                  <a:extLst>
                    <a:ext uri="{FF2B5EF4-FFF2-40B4-BE49-F238E27FC236}">
                      <a16:creationId xmlns:a16="http://schemas.microsoft.com/office/drawing/2014/main" id="{3C01EA0A-8CC5-DCF9-FD83-7B7D110CB69C}"/>
                    </a:ext>
                  </a:extLst>
                </p:cNvPr>
                <p:cNvSpPr/>
                <p:nvPr/>
              </p:nvSpPr>
              <p:spPr>
                <a:xfrm>
                  <a:off x="6217128" y="3820757"/>
                  <a:ext cx="21119" cy="5476"/>
                </a:xfrm>
                <a:custGeom>
                  <a:avLst/>
                  <a:gdLst>
                    <a:gd name="connsiteX0" fmla="*/ 2637 w 21119"/>
                    <a:gd name="connsiteY0" fmla="*/ 0 h 5476"/>
                    <a:gd name="connsiteX1" fmla="*/ 18426 w 21119"/>
                    <a:gd name="connsiteY1" fmla="*/ 0 h 5476"/>
                    <a:gd name="connsiteX2" fmla="*/ 21031 w 21119"/>
                    <a:gd name="connsiteY2" fmla="*/ 3068 h 5476"/>
                    <a:gd name="connsiteX3" fmla="*/ 18426 w 21119"/>
                    <a:gd name="connsiteY3" fmla="*/ 5476 h 5476"/>
                    <a:gd name="connsiteX4" fmla="*/ 2637 w 21119"/>
                    <a:gd name="connsiteY4" fmla="*/ 5476 h 5476"/>
                    <a:gd name="connsiteX5" fmla="*/ 0 w 21119"/>
                    <a:gd name="connsiteY5" fmla="*/ 2738 h 5476"/>
                    <a:gd name="connsiteX6" fmla="*/ 2637 w 21119"/>
                    <a:gd name="connsiteY6" fmla="*/ 0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6">
                      <a:moveTo>
                        <a:pt x="2637" y="0"/>
                      </a:moveTo>
                      <a:lnTo>
                        <a:pt x="18426" y="0"/>
                      </a:lnTo>
                      <a:cubicBezTo>
                        <a:pt x="20305" y="0"/>
                        <a:pt x="21459" y="1617"/>
                        <a:pt x="21031" y="3068"/>
                      </a:cubicBezTo>
                      <a:cubicBezTo>
                        <a:pt x="20602" y="4519"/>
                        <a:pt x="19448" y="5476"/>
                        <a:pt x="18426" y="5476"/>
                      </a:cubicBezTo>
                      <a:lnTo>
                        <a:pt x="2637" y="5476"/>
                      </a:lnTo>
                      <a:cubicBezTo>
                        <a:pt x="1187" y="5476"/>
                        <a:pt x="0" y="4256"/>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385" name="Freeform 1384">
                  <a:extLst>
                    <a:ext uri="{FF2B5EF4-FFF2-40B4-BE49-F238E27FC236}">
                      <a16:creationId xmlns:a16="http://schemas.microsoft.com/office/drawing/2014/main" id="{6BDFE3B6-345C-120A-B931-B54A2FD69BD9}"/>
                    </a:ext>
                  </a:extLst>
                </p:cNvPr>
                <p:cNvSpPr/>
                <p:nvPr/>
              </p:nvSpPr>
              <p:spPr>
                <a:xfrm>
                  <a:off x="6181044" y="3820757"/>
                  <a:ext cx="20294" cy="8669"/>
                </a:xfrm>
                <a:custGeom>
                  <a:avLst/>
                  <a:gdLst>
                    <a:gd name="connsiteX0" fmla="*/ 813 w 20294"/>
                    <a:gd name="connsiteY0" fmla="*/ 4223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3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3"/>
                      </a:moveTo>
                      <a:cubicBezTo>
                        <a:pt x="3088" y="1847"/>
                        <a:pt x="6252" y="330"/>
                        <a:pt x="9515" y="66"/>
                      </a:cubicBezTo>
                      <a:cubicBezTo>
                        <a:pt x="12614" y="-33"/>
                        <a:pt x="14921" y="66"/>
                        <a:pt x="17657" y="0"/>
                      </a:cubicBezTo>
                      <a:cubicBezTo>
                        <a:pt x="19108" y="0"/>
                        <a:pt x="20294" y="1221"/>
                        <a:pt x="20294" y="2738"/>
                      </a:cubicBezTo>
                      <a:cubicBezTo>
                        <a:pt x="20294" y="4256"/>
                        <a:pt x="19108" y="5476"/>
                        <a:pt x="17657" y="5476"/>
                      </a:cubicBezTo>
                      <a:lnTo>
                        <a:pt x="9977" y="5476"/>
                      </a:lnTo>
                      <a:cubicBezTo>
                        <a:pt x="7999" y="5674"/>
                        <a:pt x="6120" y="6598"/>
                        <a:pt x="4769" y="8016"/>
                      </a:cubicBezTo>
                      <a:cubicBezTo>
                        <a:pt x="4043" y="8742"/>
                        <a:pt x="2560" y="8940"/>
                        <a:pt x="1209" y="8214"/>
                      </a:cubicBezTo>
                      <a:cubicBezTo>
                        <a:pt x="-110" y="7521"/>
                        <a:pt x="-506" y="5575"/>
                        <a:pt x="813" y="4223"/>
                      </a:cubicBezTo>
                      <a:close/>
                    </a:path>
                  </a:pathLst>
                </a:custGeom>
                <a:solidFill>
                  <a:srgbClr val="5856D6"/>
                </a:solidFill>
                <a:ln w="3283" cap="flat">
                  <a:noFill/>
                  <a:prstDash val="solid"/>
                  <a:miter/>
                </a:ln>
              </p:spPr>
              <p:txBody>
                <a:bodyPr rtlCol="0" anchor="ctr"/>
                <a:lstStyle/>
                <a:p>
                  <a:endParaRPr lang="en-US"/>
                </a:p>
              </p:txBody>
            </p:sp>
            <p:sp>
              <p:nvSpPr>
                <p:cNvPr id="1386" name="Freeform 1385">
                  <a:extLst>
                    <a:ext uri="{FF2B5EF4-FFF2-40B4-BE49-F238E27FC236}">
                      <a16:creationId xmlns:a16="http://schemas.microsoft.com/office/drawing/2014/main" id="{271DF40E-610D-CE95-1F2B-D9459D4391E6}"/>
                    </a:ext>
                  </a:extLst>
                </p:cNvPr>
                <p:cNvSpPr/>
                <p:nvPr/>
              </p:nvSpPr>
              <p:spPr>
                <a:xfrm>
                  <a:off x="6162429" y="3842267"/>
                  <a:ext cx="13342" cy="18998"/>
                </a:xfrm>
                <a:custGeom>
                  <a:avLst/>
                  <a:gdLst>
                    <a:gd name="connsiteX0" fmla="*/ 342 w 13342"/>
                    <a:gd name="connsiteY0" fmla="*/ 14975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4 h 18998"/>
                    <a:gd name="connsiteX5" fmla="*/ 1397 w 13342"/>
                    <a:gd name="connsiteY5" fmla="*/ 18637 h 18998"/>
                    <a:gd name="connsiteX6" fmla="*/ 342 w 13342"/>
                    <a:gd name="connsiteY6" fmla="*/ 14975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5"/>
                      </a:moveTo>
                      <a:lnTo>
                        <a:pt x="8254" y="1285"/>
                      </a:lnTo>
                      <a:cubicBezTo>
                        <a:pt x="8979" y="32"/>
                        <a:pt x="10627" y="-364"/>
                        <a:pt x="11946" y="362"/>
                      </a:cubicBezTo>
                      <a:cubicBezTo>
                        <a:pt x="13264" y="1120"/>
                        <a:pt x="13726" y="2770"/>
                        <a:pt x="13000" y="4023"/>
                      </a:cubicBezTo>
                      <a:lnTo>
                        <a:pt x="5089" y="17714"/>
                      </a:lnTo>
                      <a:cubicBezTo>
                        <a:pt x="4364" y="18967"/>
                        <a:pt x="2716" y="19363"/>
                        <a:pt x="1397" y="18637"/>
                      </a:cubicBezTo>
                      <a:cubicBezTo>
                        <a:pt x="79" y="17878"/>
                        <a:pt x="-383" y="16229"/>
                        <a:pt x="342" y="14975"/>
                      </a:cubicBezTo>
                      <a:close/>
                    </a:path>
                  </a:pathLst>
                </a:custGeom>
                <a:solidFill>
                  <a:srgbClr val="5856D6"/>
                </a:solidFill>
                <a:ln w="3283" cap="flat">
                  <a:noFill/>
                  <a:prstDash val="solid"/>
                  <a:miter/>
                </a:ln>
              </p:spPr>
              <p:txBody>
                <a:bodyPr rtlCol="0" anchor="ctr"/>
                <a:lstStyle/>
                <a:p>
                  <a:endParaRPr lang="en-US"/>
                </a:p>
              </p:txBody>
            </p:sp>
            <p:sp>
              <p:nvSpPr>
                <p:cNvPr id="1387" name="Freeform 1386">
                  <a:extLst>
                    <a:ext uri="{FF2B5EF4-FFF2-40B4-BE49-F238E27FC236}">
                      <a16:creationId xmlns:a16="http://schemas.microsoft.com/office/drawing/2014/main" id="{1A2D3D25-1D12-A2A6-818F-77F5D9CE174A}"/>
                    </a:ext>
                  </a:extLst>
                </p:cNvPr>
                <p:cNvSpPr/>
                <p:nvPr/>
              </p:nvSpPr>
              <p:spPr>
                <a:xfrm>
                  <a:off x="6157563" y="3875369"/>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3 w 13395"/>
                    <a:gd name="connsiteY4" fmla="*/ 14861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48" y="281"/>
                        <a:pt x="5142" y="1171"/>
                      </a:cubicBezTo>
                      <a:lnTo>
                        <a:pt x="13053" y="14861"/>
                      </a:lnTo>
                      <a:cubicBezTo>
                        <a:pt x="13779" y="16115"/>
                        <a:pt x="13317" y="17764"/>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388" name="Freeform 1387">
                  <a:extLst>
                    <a:ext uri="{FF2B5EF4-FFF2-40B4-BE49-F238E27FC236}">
                      <a16:creationId xmlns:a16="http://schemas.microsoft.com/office/drawing/2014/main" id="{9146DEB2-35E4-E866-6843-5F9F0D0EF1AA}"/>
                    </a:ext>
                  </a:extLst>
                </p:cNvPr>
                <p:cNvSpPr/>
                <p:nvPr/>
              </p:nvSpPr>
              <p:spPr>
                <a:xfrm>
                  <a:off x="6176010" y="3907173"/>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7 h 16601"/>
                    <a:gd name="connsiteX7" fmla="*/ 15670 w 15672"/>
                    <a:gd name="connsiteY7" fmla="*/ 14166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5"/>
                        <a:pt x="1727" y="6413"/>
                        <a:pt x="342" y="4038"/>
                      </a:cubicBezTo>
                      <a:cubicBezTo>
                        <a:pt x="-383" y="2785"/>
                        <a:pt x="79" y="1135"/>
                        <a:pt x="1397" y="376"/>
                      </a:cubicBezTo>
                      <a:cubicBezTo>
                        <a:pt x="2716" y="-382"/>
                        <a:pt x="4364" y="46"/>
                        <a:pt x="5089" y="1300"/>
                      </a:cubicBezTo>
                      <a:lnTo>
                        <a:pt x="8946" y="7931"/>
                      </a:lnTo>
                      <a:cubicBezTo>
                        <a:pt x="10067" y="9547"/>
                        <a:pt x="11814" y="10735"/>
                        <a:pt x="13726" y="11197"/>
                      </a:cubicBezTo>
                      <a:cubicBezTo>
                        <a:pt x="14714" y="11461"/>
                        <a:pt x="15604" y="12648"/>
                        <a:pt x="15670" y="14166"/>
                      </a:cubicBezTo>
                      <a:cubicBezTo>
                        <a:pt x="15736" y="15650"/>
                        <a:pt x="14253" y="16970"/>
                        <a:pt x="12407" y="16508"/>
                      </a:cubicBezTo>
                      <a:close/>
                    </a:path>
                  </a:pathLst>
                </a:custGeom>
                <a:solidFill>
                  <a:srgbClr val="5856D6"/>
                </a:solidFill>
                <a:ln w="3283" cap="flat">
                  <a:noFill/>
                  <a:prstDash val="solid"/>
                  <a:miter/>
                </a:ln>
              </p:spPr>
              <p:txBody>
                <a:bodyPr rtlCol="0" anchor="ctr"/>
                <a:lstStyle/>
                <a:p>
                  <a:endParaRPr lang="en-US"/>
                </a:p>
              </p:txBody>
            </p:sp>
            <p:sp>
              <p:nvSpPr>
                <p:cNvPr id="1389" name="Freeform 1388">
                  <a:extLst>
                    <a:ext uri="{FF2B5EF4-FFF2-40B4-BE49-F238E27FC236}">
                      <a16:creationId xmlns:a16="http://schemas.microsoft.com/office/drawing/2014/main" id="{D0C0F784-481A-6321-C6C1-E4E44C00CE54}"/>
                    </a:ext>
                  </a:extLst>
                </p:cNvPr>
                <p:cNvSpPr/>
                <p:nvPr/>
              </p:nvSpPr>
              <p:spPr>
                <a:xfrm>
                  <a:off x="6207502" y="3918634"/>
                  <a:ext cx="21063" cy="5475"/>
                </a:xfrm>
                <a:custGeom>
                  <a:avLst/>
                  <a:gdLst>
                    <a:gd name="connsiteX0" fmla="*/ 18426 w 21063"/>
                    <a:gd name="connsiteY0" fmla="*/ 5476 h 5475"/>
                    <a:gd name="connsiteX1" fmla="*/ 2637 w 21063"/>
                    <a:gd name="connsiteY1" fmla="*/ 5476 h 5475"/>
                    <a:gd name="connsiteX2" fmla="*/ 0 w 21063"/>
                    <a:gd name="connsiteY2" fmla="*/ 2738 h 5475"/>
                    <a:gd name="connsiteX3" fmla="*/ 2637 w 21063"/>
                    <a:gd name="connsiteY3" fmla="*/ 0 h 5475"/>
                    <a:gd name="connsiteX4" fmla="*/ 18426 w 21063"/>
                    <a:gd name="connsiteY4" fmla="*/ 0 h 5475"/>
                    <a:gd name="connsiteX5" fmla="*/ 21064 w 21063"/>
                    <a:gd name="connsiteY5" fmla="*/ 2738 h 5475"/>
                    <a:gd name="connsiteX6" fmla="*/ 18426 w 21063"/>
                    <a:gd name="connsiteY6" fmla="*/ 5476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5">
                      <a:moveTo>
                        <a:pt x="18426" y="5476"/>
                      </a:moveTo>
                      <a:lnTo>
                        <a:pt x="2637" y="5476"/>
                      </a:lnTo>
                      <a:cubicBezTo>
                        <a:pt x="1187" y="5476"/>
                        <a:pt x="0" y="4255"/>
                        <a:pt x="0" y="2738"/>
                      </a:cubicBezTo>
                      <a:cubicBezTo>
                        <a:pt x="0" y="1221"/>
                        <a:pt x="1187" y="0"/>
                        <a:pt x="2637" y="0"/>
                      </a:cubicBezTo>
                      <a:lnTo>
                        <a:pt x="18426" y="0"/>
                      </a:lnTo>
                      <a:cubicBezTo>
                        <a:pt x="19877" y="0"/>
                        <a:pt x="21064" y="1221"/>
                        <a:pt x="21064" y="2738"/>
                      </a:cubicBezTo>
                      <a:cubicBezTo>
                        <a:pt x="21064" y="4255"/>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390" name="Freeform 1389">
                  <a:extLst>
                    <a:ext uri="{FF2B5EF4-FFF2-40B4-BE49-F238E27FC236}">
                      <a16:creationId xmlns:a16="http://schemas.microsoft.com/office/drawing/2014/main" id="{6EC20C14-7691-A971-B341-436535D6B6F7}"/>
                    </a:ext>
                  </a:extLst>
                </p:cNvPr>
                <p:cNvSpPr/>
                <p:nvPr/>
              </p:nvSpPr>
              <p:spPr>
                <a:xfrm>
                  <a:off x="6242392" y="3899535"/>
                  <a:ext cx="13249" cy="19120"/>
                </a:xfrm>
                <a:custGeom>
                  <a:avLst/>
                  <a:gdLst>
                    <a:gd name="connsiteX0" fmla="*/ 12907 w 13249"/>
                    <a:gd name="connsiteY0" fmla="*/ 4023 h 19120"/>
                    <a:gd name="connsiteX1" fmla="*/ 4996 w 13249"/>
                    <a:gd name="connsiteY1" fmla="*/ 17713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3"/>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391" name="Freeform 1390">
                  <a:extLst>
                    <a:ext uri="{FF2B5EF4-FFF2-40B4-BE49-F238E27FC236}">
                      <a16:creationId xmlns:a16="http://schemas.microsoft.com/office/drawing/2014/main" id="{B988838E-1772-C3A9-EC19-E3D1CBD8F945}"/>
                    </a:ext>
                  </a:extLst>
                </p:cNvPr>
                <p:cNvSpPr/>
                <p:nvPr/>
              </p:nvSpPr>
              <p:spPr>
                <a:xfrm>
                  <a:off x="6260725" y="3866604"/>
                  <a:ext cx="10409" cy="19963"/>
                </a:xfrm>
                <a:custGeom>
                  <a:avLst/>
                  <a:gdLst>
                    <a:gd name="connsiteX0" fmla="*/ 9869 w 10409"/>
                    <a:gd name="connsiteY0" fmla="*/ 1986 h 19963"/>
                    <a:gd name="connsiteX1" fmla="*/ 9111 w 10409"/>
                    <a:gd name="connsiteY1" fmla="*/ 11619 h 19963"/>
                    <a:gd name="connsiteX2" fmla="*/ 5089 w 10409"/>
                    <a:gd name="connsiteY2" fmla="*/ 18678 h 19963"/>
                    <a:gd name="connsiteX3" fmla="*/ 1397 w 10409"/>
                    <a:gd name="connsiteY3" fmla="*/ 19602 h 19963"/>
                    <a:gd name="connsiteX4" fmla="*/ 342 w 10409"/>
                    <a:gd name="connsiteY4" fmla="*/ 15940 h 19963"/>
                    <a:gd name="connsiteX5" fmla="*/ 4133 w 10409"/>
                    <a:gd name="connsiteY5" fmla="*/ 9277 h 19963"/>
                    <a:gd name="connsiteX6" fmla="*/ 4595 w 10409"/>
                    <a:gd name="connsiteY6" fmla="*/ 3504 h 19963"/>
                    <a:gd name="connsiteX7" fmla="*/ 6210 w 10409"/>
                    <a:gd name="connsiteY7" fmla="*/ 337 h 19963"/>
                    <a:gd name="connsiteX8" fmla="*/ 9869 w 10409"/>
                    <a:gd name="connsiteY8" fmla="*/ 1986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63">
                      <a:moveTo>
                        <a:pt x="9869" y="1986"/>
                      </a:moveTo>
                      <a:cubicBezTo>
                        <a:pt x="10792" y="5153"/>
                        <a:pt x="10528" y="8650"/>
                        <a:pt x="9111" y="11619"/>
                      </a:cubicBezTo>
                      <a:cubicBezTo>
                        <a:pt x="7660" y="14357"/>
                        <a:pt x="6441" y="16303"/>
                        <a:pt x="5089" y="18678"/>
                      </a:cubicBezTo>
                      <a:cubicBezTo>
                        <a:pt x="4364" y="19932"/>
                        <a:pt x="2716" y="20328"/>
                        <a:pt x="1397" y="19602"/>
                      </a:cubicBezTo>
                      <a:cubicBezTo>
                        <a:pt x="79" y="18843"/>
                        <a:pt x="-383" y="17194"/>
                        <a:pt x="342" y="15940"/>
                      </a:cubicBezTo>
                      <a:lnTo>
                        <a:pt x="4133" y="9277"/>
                      </a:lnTo>
                      <a:cubicBezTo>
                        <a:pt x="4990" y="7495"/>
                        <a:pt x="5122" y="5384"/>
                        <a:pt x="4595" y="3504"/>
                      </a:cubicBezTo>
                      <a:cubicBezTo>
                        <a:pt x="4331" y="2514"/>
                        <a:pt x="4924" y="1128"/>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392" name="Freeform 1391">
              <a:extLst>
                <a:ext uri="{FF2B5EF4-FFF2-40B4-BE49-F238E27FC236}">
                  <a16:creationId xmlns:a16="http://schemas.microsoft.com/office/drawing/2014/main" id="{A2E300C1-7D1D-4411-6D69-3C58B77D416C}"/>
                </a:ext>
              </a:extLst>
            </p:cNvPr>
            <p:cNvSpPr/>
            <p:nvPr/>
          </p:nvSpPr>
          <p:spPr>
            <a:xfrm>
              <a:off x="6186192" y="3847940"/>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5"/>
                    <a:pt x="40331" y="0"/>
                    <a:pt x="38386" y="0"/>
                  </a:cubicBezTo>
                  <a:lnTo>
                    <a:pt x="16465" y="0"/>
                  </a:lnTo>
                  <a:cubicBezTo>
                    <a:pt x="14520" y="0"/>
                    <a:pt x="12707" y="1055"/>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grpSp>
        <p:nvGrpSpPr>
          <p:cNvPr id="1393" name="Graphic 776">
            <a:extLst>
              <a:ext uri="{FF2B5EF4-FFF2-40B4-BE49-F238E27FC236}">
                <a16:creationId xmlns:a16="http://schemas.microsoft.com/office/drawing/2014/main" id="{AD2FCC1B-1304-2D84-3CB1-37C0EB0DC2D5}"/>
              </a:ext>
            </a:extLst>
          </p:cNvPr>
          <p:cNvGrpSpPr/>
          <p:nvPr/>
        </p:nvGrpSpPr>
        <p:grpSpPr>
          <a:xfrm>
            <a:off x="6056061" y="4414256"/>
            <a:ext cx="578011" cy="535004"/>
            <a:chOff x="5496057" y="4329108"/>
            <a:chExt cx="578011" cy="535004"/>
          </a:xfrm>
        </p:grpSpPr>
        <p:sp>
          <p:nvSpPr>
            <p:cNvPr id="1394" name="Freeform 1393">
              <a:extLst>
                <a:ext uri="{FF2B5EF4-FFF2-40B4-BE49-F238E27FC236}">
                  <a16:creationId xmlns:a16="http://schemas.microsoft.com/office/drawing/2014/main" id="{B12D050B-EA7C-243A-550D-677EFF241DE4}"/>
                </a:ext>
              </a:extLst>
            </p:cNvPr>
            <p:cNvSpPr/>
            <p:nvPr/>
          </p:nvSpPr>
          <p:spPr>
            <a:xfrm>
              <a:off x="5498100" y="4331153"/>
              <a:ext cx="573989" cy="530914"/>
            </a:xfrm>
            <a:custGeom>
              <a:avLst/>
              <a:gdLst>
                <a:gd name="connsiteX0" fmla="*/ 368364 w 573989"/>
                <a:gd name="connsiteY0" fmla="*/ 530914 h 530914"/>
                <a:gd name="connsiteX1" fmla="*/ 476022 w 573989"/>
                <a:gd name="connsiteY1" fmla="*/ 468698 h 530914"/>
                <a:gd name="connsiteX2" fmla="*/ 557376 w 573989"/>
                <a:gd name="connsiteY2" fmla="*/ 327673 h 530914"/>
                <a:gd name="connsiteX3" fmla="*/ 557376 w 573989"/>
                <a:gd name="connsiteY3" fmla="*/ 203241 h 530914"/>
                <a:gd name="connsiteX4" fmla="*/ 476022 w 573989"/>
                <a:gd name="connsiteY4" fmla="*/ 62216 h 530914"/>
                <a:gd name="connsiteX5" fmla="*/ 368331 w 573989"/>
                <a:gd name="connsiteY5" fmla="*/ 0 h 530914"/>
                <a:gd name="connsiteX6" fmla="*/ 205625 w 573989"/>
                <a:gd name="connsiteY6" fmla="*/ 0 h 530914"/>
                <a:gd name="connsiteX7" fmla="*/ 97967 w 573989"/>
                <a:gd name="connsiteY7" fmla="*/ 62216 h 530914"/>
                <a:gd name="connsiteX8" fmla="*/ 16613 w 573989"/>
                <a:gd name="connsiteY8" fmla="*/ 203241 h 530914"/>
                <a:gd name="connsiteX9" fmla="*/ 16613 w 573989"/>
                <a:gd name="connsiteY9" fmla="*/ 327673 h 530914"/>
                <a:gd name="connsiteX10" fmla="*/ 97967 w 573989"/>
                <a:gd name="connsiteY10" fmla="*/ 468698 h 530914"/>
                <a:gd name="connsiteX11" fmla="*/ 205625 w 573989"/>
                <a:gd name="connsiteY11" fmla="*/ 530914 h 530914"/>
                <a:gd name="connsiteX12" fmla="*/ 368331 w 573989"/>
                <a:gd name="connsiteY12" fmla="*/ 530914 h 53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3989" h="530914">
                  <a:moveTo>
                    <a:pt x="368364" y="530914"/>
                  </a:moveTo>
                  <a:cubicBezTo>
                    <a:pt x="412634" y="530914"/>
                    <a:pt x="453904" y="507097"/>
                    <a:pt x="476022" y="468698"/>
                  </a:cubicBezTo>
                  <a:lnTo>
                    <a:pt x="557376" y="327673"/>
                  </a:lnTo>
                  <a:cubicBezTo>
                    <a:pt x="579527" y="289308"/>
                    <a:pt x="579527" y="241640"/>
                    <a:pt x="557376" y="203241"/>
                  </a:cubicBezTo>
                  <a:lnTo>
                    <a:pt x="476022" y="62216"/>
                  </a:lnTo>
                  <a:cubicBezTo>
                    <a:pt x="453871" y="23851"/>
                    <a:pt x="412634" y="0"/>
                    <a:pt x="368331" y="0"/>
                  </a:cubicBezTo>
                  <a:lnTo>
                    <a:pt x="205625" y="0"/>
                  </a:lnTo>
                  <a:cubicBezTo>
                    <a:pt x="161355" y="0"/>
                    <a:pt x="120085" y="23851"/>
                    <a:pt x="97967" y="62216"/>
                  </a:cubicBezTo>
                  <a:lnTo>
                    <a:pt x="16613" y="203241"/>
                  </a:lnTo>
                  <a:cubicBezTo>
                    <a:pt x="-5538" y="241607"/>
                    <a:pt x="-5538" y="289308"/>
                    <a:pt x="16613" y="327673"/>
                  </a:cubicBezTo>
                  <a:lnTo>
                    <a:pt x="97967" y="468698"/>
                  </a:lnTo>
                  <a:cubicBezTo>
                    <a:pt x="120118" y="507064"/>
                    <a:pt x="161355" y="530914"/>
                    <a:pt x="205625" y="530914"/>
                  </a:cubicBezTo>
                  <a:lnTo>
                    <a:pt x="368331" y="530914"/>
                  </a:lnTo>
                  <a:close/>
                </a:path>
              </a:pathLst>
            </a:custGeom>
            <a:solidFill>
              <a:srgbClr val="FFFFFF"/>
            </a:solidFill>
            <a:ln w="3283" cap="flat">
              <a:noFill/>
              <a:prstDash val="solid"/>
              <a:miter/>
            </a:ln>
          </p:spPr>
          <p:txBody>
            <a:bodyPr rtlCol="0" anchor="ctr"/>
            <a:lstStyle/>
            <a:p>
              <a:endParaRPr lang="en-US"/>
            </a:p>
          </p:txBody>
        </p:sp>
        <p:grpSp>
          <p:nvGrpSpPr>
            <p:cNvPr id="1395" name="Graphic 776">
              <a:extLst>
                <a:ext uri="{FF2B5EF4-FFF2-40B4-BE49-F238E27FC236}">
                  <a16:creationId xmlns:a16="http://schemas.microsoft.com/office/drawing/2014/main" id="{124BE412-3CAE-A82E-A14A-0ADF9576098B}"/>
                </a:ext>
              </a:extLst>
            </p:cNvPr>
            <p:cNvGrpSpPr/>
            <p:nvPr/>
          </p:nvGrpSpPr>
          <p:grpSpPr>
            <a:xfrm>
              <a:off x="5496057" y="4329108"/>
              <a:ext cx="578011" cy="535004"/>
              <a:chOff x="5496057" y="4329108"/>
              <a:chExt cx="578011" cy="535004"/>
            </a:xfrm>
            <a:solidFill>
              <a:srgbClr val="5856D6"/>
            </a:solidFill>
          </p:grpSpPr>
          <p:sp>
            <p:nvSpPr>
              <p:cNvPr id="1396" name="Freeform 1395">
                <a:extLst>
                  <a:ext uri="{FF2B5EF4-FFF2-40B4-BE49-F238E27FC236}">
                    <a16:creationId xmlns:a16="http://schemas.microsoft.com/office/drawing/2014/main" id="{B7A3E864-05A5-E5FE-B39F-B69B5A7EAF17}"/>
                  </a:ext>
                </a:extLst>
              </p:cNvPr>
              <p:cNvSpPr/>
              <p:nvPr/>
            </p:nvSpPr>
            <p:spPr>
              <a:xfrm>
                <a:off x="5878785" y="4857096"/>
                <a:ext cx="16249" cy="6134"/>
              </a:xfrm>
              <a:custGeom>
                <a:avLst/>
                <a:gdLst>
                  <a:gd name="connsiteX0" fmla="*/ 13787 w 16249"/>
                  <a:gd name="connsiteY0" fmla="*/ 23 h 6134"/>
                  <a:gd name="connsiteX1" fmla="*/ 7820 w 16249"/>
                  <a:gd name="connsiteY1" fmla="*/ 1178 h 6134"/>
                  <a:gd name="connsiteX2" fmla="*/ 1821 w 16249"/>
                  <a:gd name="connsiteY2" fmla="*/ 2036 h 6134"/>
                  <a:gd name="connsiteX3" fmla="*/ 8 w 16249"/>
                  <a:gd name="connsiteY3" fmla="*/ 4279 h 6134"/>
                  <a:gd name="connsiteX4" fmla="*/ 2283 w 16249"/>
                  <a:gd name="connsiteY4" fmla="*/ 6126 h 6134"/>
                  <a:gd name="connsiteX5" fmla="*/ 8480 w 16249"/>
                  <a:gd name="connsiteY5" fmla="*/ 5236 h 6134"/>
                  <a:gd name="connsiteX6" fmla="*/ 14644 w 16249"/>
                  <a:gd name="connsiteY6" fmla="*/ 4048 h 6134"/>
                  <a:gd name="connsiteX7" fmla="*/ 16193 w 16249"/>
                  <a:gd name="connsiteY7" fmla="*/ 1574 h 6134"/>
                  <a:gd name="connsiteX8" fmla="*/ 13754 w 16249"/>
                  <a:gd name="connsiteY8" fmla="*/ 56 h 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9" h="6134">
                    <a:moveTo>
                      <a:pt x="13787" y="23"/>
                    </a:moveTo>
                    <a:cubicBezTo>
                      <a:pt x="11842" y="551"/>
                      <a:pt x="9831" y="815"/>
                      <a:pt x="7820" y="1178"/>
                    </a:cubicBezTo>
                    <a:cubicBezTo>
                      <a:pt x="5810" y="1508"/>
                      <a:pt x="3832" y="1904"/>
                      <a:pt x="1821" y="2036"/>
                    </a:cubicBezTo>
                    <a:cubicBezTo>
                      <a:pt x="733" y="2134"/>
                      <a:pt x="-91" y="3157"/>
                      <a:pt x="8" y="4279"/>
                    </a:cubicBezTo>
                    <a:cubicBezTo>
                      <a:pt x="107" y="5400"/>
                      <a:pt x="1129" y="6225"/>
                      <a:pt x="2283" y="6126"/>
                    </a:cubicBezTo>
                    <a:cubicBezTo>
                      <a:pt x="4359" y="5961"/>
                      <a:pt x="6436" y="5565"/>
                      <a:pt x="8480" y="5236"/>
                    </a:cubicBezTo>
                    <a:cubicBezTo>
                      <a:pt x="10556" y="4873"/>
                      <a:pt x="12633" y="4609"/>
                      <a:pt x="14644" y="4048"/>
                    </a:cubicBezTo>
                    <a:cubicBezTo>
                      <a:pt x="15764" y="3784"/>
                      <a:pt x="16457" y="2662"/>
                      <a:pt x="16193" y="1574"/>
                    </a:cubicBezTo>
                    <a:cubicBezTo>
                      <a:pt x="15929" y="485"/>
                      <a:pt x="14842" y="-208"/>
                      <a:pt x="13754" y="56"/>
                    </a:cubicBezTo>
                    <a:close/>
                  </a:path>
                </a:pathLst>
              </a:custGeom>
              <a:solidFill>
                <a:srgbClr val="5856D6"/>
              </a:solidFill>
              <a:ln w="3283" cap="flat">
                <a:noFill/>
                <a:prstDash val="solid"/>
                <a:miter/>
              </a:ln>
            </p:spPr>
            <p:txBody>
              <a:bodyPr rtlCol="0" anchor="ctr"/>
              <a:lstStyle/>
              <a:p>
                <a:endParaRPr lang="en-US"/>
              </a:p>
            </p:txBody>
          </p:sp>
          <p:sp>
            <p:nvSpPr>
              <p:cNvPr id="1397" name="Freeform 1396">
                <a:extLst>
                  <a:ext uri="{FF2B5EF4-FFF2-40B4-BE49-F238E27FC236}">
                    <a16:creationId xmlns:a16="http://schemas.microsoft.com/office/drawing/2014/main" id="{6379434D-1AA3-7BDA-7B0E-8E06C1A7DC1F}"/>
                  </a:ext>
                </a:extLst>
              </p:cNvPr>
              <p:cNvSpPr/>
              <p:nvPr/>
            </p:nvSpPr>
            <p:spPr>
              <a:xfrm>
                <a:off x="5906767" y="4847744"/>
                <a:ext cx="15499" cy="8860"/>
              </a:xfrm>
              <a:custGeom>
                <a:avLst/>
                <a:gdLst>
                  <a:gd name="connsiteX0" fmla="*/ 12538 w 15499"/>
                  <a:gd name="connsiteY0" fmla="*/ 172 h 8860"/>
                  <a:gd name="connsiteX1" fmla="*/ 7000 w 15499"/>
                  <a:gd name="connsiteY1" fmla="*/ 2679 h 8860"/>
                  <a:gd name="connsiteX2" fmla="*/ 1330 w 15499"/>
                  <a:gd name="connsiteY2" fmla="*/ 4856 h 8860"/>
                  <a:gd name="connsiteX3" fmla="*/ 111 w 15499"/>
                  <a:gd name="connsiteY3" fmla="*/ 7528 h 8860"/>
                  <a:gd name="connsiteX4" fmla="*/ 2748 w 15499"/>
                  <a:gd name="connsiteY4" fmla="*/ 8715 h 8860"/>
                  <a:gd name="connsiteX5" fmla="*/ 8615 w 15499"/>
                  <a:gd name="connsiteY5" fmla="*/ 6472 h 8860"/>
                  <a:gd name="connsiteX6" fmla="*/ 14318 w 15499"/>
                  <a:gd name="connsiteY6" fmla="*/ 3866 h 8860"/>
                  <a:gd name="connsiteX7" fmla="*/ 15274 w 15499"/>
                  <a:gd name="connsiteY7" fmla="*/ 1128 h 8860"/>
                  <a:gd name="connsiteX8" fmla="*/ 12538 w 15499"/>
                  <a:gd name="connsiteY8" fmla="*/ 172 h 8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99" h="8860">
                    <a:moveTo>
                      <a:pt x="12538" y="172"/>
                    </a:moveTo>
                    <a:lnTo>
                      <a:pt x="7000" y="2679"/>
                    </a:lnTo>
                    <a:lnTo>
                      <a:pt x="1330" y="4856"/>
                    </a:lnTo>
                    <a:cubicBezTo>
                      <a:pt x="308" y="5251"/>
                      <a:pt x="-252" y="6439"/>
                      <a:pt x="111" y="7528"/>
                    </a:cubicBezTo>
                    <a:cubicBezTo>
                      <a:pt x="473" y="8583"/>
                      <a:pt x="1660" y="9144"/>
                      <a:pt x="2748" y="8715"/>
                    </a:cubicBezTo>
                    <a:lnTo>
                      <a:pt x="8615" y="6472"/>
                    </a:lnTo>
                    <a:lnTo>
                      <a:pt x="14318" y="3866"/>
                    </a:lnTo>
                    <a:cubicBezTo>
                      <a:pt x="15373" y="3404"/>
                      <a:pt x="15801" y="2151"/>
                      <a:pt x="15274" y="1128"/>
                    </a:cubicBezTo>
                    <a:cubicBezTo>
                      <a:pt x="14779" y="139"/>
                      <a:pt x="13560" y="-257"/>
                      <a:pt x="12538" y="172"/>
                    </a:cubicBezTo>
                    <a:close/>
                  </a:path>
                </a:pathLst>
              </a:custGeom>
              <a:solidFill>
                <a:srgbClr val="5856D6"/>
              </a:solidFill>
              <a:ln w="3283" cap="flat">
                <a:noFill/>
                <a:prstDash val="solid"/>
                <a:miter/>
              </a:ln>
            </p:spPr>
            <p:txBody>
              <a:bodyPr rtlCol="0" anchor="ctr"/>
              <a:lstStyle/>
              <a:p>
                <a:endParaRPr lang="en-US"/>
              </a:p>
            </p:txBody>
          </p:sp>
          <p:sp>
            <p:nvSpPr>
              <p:cNvPr id="1398" name="Freeform 1397">
                <a:extLst>
                  <a:ext uri="{FF2B5EF4-FFF2-40B4-BE49-F238E27FC236}">
                    <a16:creationId xmlns:a16="http://schemas.microsoft.com/office/drawing/2014/main" id="{816D23B9-46F7-4C95-4A3C-AE8CAD515C33}"/>
                  </a:ext>
                </a:extLst>
              </p:cNvPr>
              <p:cNvSpPr/>
              <p:nvPr/>
            </p:nvSpPr>
            <p:spPr>
              <a:xfrm>
                <a:off x="5932438" y="4832330"/>
                <a:ext cx="14067" cy="11396"/>
              </a:xfrm>
              <a:custGeom>
                <a:avLst/>
                <a:gdLst>
                  <a:gd name="connsiteX0" fmla="*/ 10732 w 14067"/>
                  <a:gd name="connsiteY0" fmla="*/ 477 h 11396"/>
                  <a:gd name="connsiteX1" fmla="*/ 5919 w 14067"/>
                  <a:gd name="connsiteY1" fmla="*/ 4172 h 11396"/>
                  <a:gd name="connsiteX2" fmla="*/ 942 w 14067"/>
                  <a:gd name="connsiteY2" fmla="*/ 7636 h 11396"/>
                  <a:gd name="connsiteX3" fmla="*/ 315 w 14067"/>
                  <a:gd name="connsiteY3" fmla="*/ 10439 h 11396"/>
                  <a:gd name="connsiteX4" fmla="*/ 315 w 14067"/>
                  <a:gd name="connsiteY4" fmla="*/ 10439 h 11396"/>
                  <a:gd name="connsiteX5" fmla="*/ 3183 w 14067"/>
                  <a:gd name="connsiteY5" fmla="*/ 11066 h 11396"/>
                  <a:gd name="connsiteX6" fmla="*/ 8325 w 14067"/>
                  <a:gd name="connsiteY6" fmla="*/ 7470 h 11396"/>
                  <a:gd name="connsiteX7" fmla="*/ 13303 w 14067"/>
                  <a:gd name="connsiteY7" fmla="*/ 3644 h 11396"/>
                  <a:gd name="connsiteX8" fmla="*/ 13599 w 14067"/>
                  <a:gd name="connsiteY8" fmla="*/ 741 h 11396"/>
                  <a:gd name="connsiteX9" fmla="*/ 10732 w 14067"/>
                  <a:gd name="connsiteY9" fmla="*/ 444 h 1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7" h="11396">
                    <a:moveTo>
                      <a:pt x="10732" y="477"/>
                    </a:moveTo>
                    <a:cubicBezTo>
                      <a:pt x="9182" y="1797"/>
                      <a:pt x="7600" y="3017"/>
                      <a:pt x="5919" y="4172"/>
                    </a:cubicBezTo>
                    <a:cubicBezTo>
                      <a:pt x="4271" y="5327"/>
                      <a:pt x="2656" y="6580"/>
                      <a:pt x="942" y="7636"/>
                    </a:cubicBezTo>
                    <a:cubicBezTo>
                      <a:pt x="-14" y="8230"/>
                      <a:pt x="-278" y="9483"/>
                      <a:pt x="315" y="10439"/>
                    </a:cubicBezTo>
                    <a:lnTo>
                      <a:pt x="315" y="10439"/>
                    </a:lnTo>
                    <a:cubicBezTo>
                      <a:pt x="909" y="11396"/>
                      <a:pt x="2194" y="11693"/>
                      <a:pt x="3183" y="11066"/>
                    </a:cubicBezTo>
                    <a:cubicBezTo>
                      <a:pt x="4963" y="9978"/>
                      <a:pt x="6611" y="8658"/>
                      <a:pt x="8325" y="7470"/>
                    </a:cubicBezTo>
                    <a:cubicBezTo>
                      <a:pt x="10039" y="6283"/>
                      <a:pt x="11721" y="4996"/>
                      <a:pt x="13303" y="3644"/>
                    </a:cubicBezTo>
                    <a:cubicBezTo>
                      <a:pt x="14193" y="2918"/>
                      <a:pt x="14325" y="1599"/>
                      <a:pt x="13599" y="741"/>
                    </a:cubicBezTo>
                    <a:cubicBezTo>
                      <a:pt x="12874" y="-117"/>
                      <a:pt x="11589" y="-249"/>
                      <a:pt x="10732" y="444"/>
                    </a:cubicBezTo>
                    <a:close/>
                  </a:path>
                </a:pathLst>
              </a:custGeom>
              <a:solidFill>
                <a:srgbClr val="5856D6"/>
              </a:solidFill>
              <a:ln w="3283" cap="flat">
                <a:noFill/>
                <a:prstDash val="solid"/>
                <a:miter/>
              </a:ln>
            </p:spPr>
            <p:txBody>
              <a:bodyPr rtlCol="0" anchor="ctr"/>
              <a:lstStyle/>
              <a:p>
                <a:endParaRPr lang="en-US"/>
              </a:p>
            </p:txBody>
          </p:sp>
          <p:sp>
            <p:nvSpPr>
              <p:cNvPr id="1399" name="Freeform 1398">
                <a:extLst>
                  <a:ext uri="{FF2B5EF4-FFF2-40B4-BE49-F238E27FC236}">
                    <a16:creationId xmlns:a16="http://schemas.microsoft.com/office/drawing/2014/main" id="{2F674E62-6B39-D29F-89B0-BAE4D855AEC2}"/>
                  </a:ext>
                </a:extLst>
              </p:cNvPr>
              <p:cNvSpPr/>
              <p:nvPr/>
            </p:nvSpPr>
            <p:spPr>
              <a:xfrm>
                <a:off x="5954554" y="4811848"/>
                <a:ext cx="12186" cy="13446"/>
              </a:xfrm>
              <a:custGeom>
                <a:avLst/>
                <a:gdLst>
                  <a:gd name="connsiteX0" fmla="*/ 8493 w 12186"/>
                  <a:gd name="connsiteY0" fmla="*/ 803 h 13446"/>
                  <a:gd name="connsiteX1" fmla="*/ 549 w 12186"/>
                  <a:gd name="connsiteY1" fmla="*/ 9974 h 13446"/>
                  <a:gd name="connsiteX2" fmla="*/ 615 w 12186"/>
                  <a:gd name="connsiteY2" fmla="*/ 12877 h 13446"/>
                  <a:gd name="connsiteX3" fmla="*/ 615 w 12186"/>
                  <a:gd name="connsiteY3" fmla="*/ 12877 h 13446"/>
                  <a:gd name="connsiteX4" fmla="*/ 3515 w 12186"/>
                  <a:gd name="connsiteY4" fmla="*/ 12778 h 13446"/>
                  <a:gd name="connsiteX5" fmla="*/ 11756 w 12186"/>
                  <a:gd name="connsiteY5" fmla="*/ 3310 h 13446"/>
                  <a:gd name="connsiteX6" fmla="*/ 11361 w 12186"/>
                  <a:gd name="connsiteY6" fmla="*/ 407 h 13446"/>
                  <a:gd name="connsiteX7" fmla="*/ 8526 w 12186"/>
                  <a:gd name="connsiteY7" fmla="*/ 803 h 1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6" h="13446">
                    <a:moveTo>
                      <a:pt x="8493" y="803"/>
                    </a:moveTo>
                    <a:cubicBezTo>
                      <a:pt x="5922" y="3937"/>
                      <a:pt x="3383" y="7104"/>
                      <a:pt x="549" y="9974"/>
                    </a:cubicBezTo>
                    <a:cubicBezTo>
                      <a:pt x="-210" y="10765"/>
                      <a:pt x="-177" y="12085"/>
                      <a:pt x="615" y="12877"/>
                    </a:cubicBezTo>
                    <a:lnTo>
                      <a:pt x="615" y="12877"/>
                    </a:lnTo>
                    <a:cubicBezTo>
                      <a:pt x="1406" y="13668"/>
                      <a:pt x="2724" y="13635"/>
                      <a:pt x="3515" y="12778"/>
                    </a:cubicBezTo>
                    <a:cubicBezTo>
                      <a:pt x="6482" y="9809"/>
                      <a:pt x="9086" y="6543"/>
                      <a:pt x="11756" y="3310"/>
                    </a:cubicBezTo>
                    <a:cubicBezTo>
                      <a:pt x="12481" y="2419"/>
                      <a:pt x="12251" y="1067"/>
                      <a:pt x="11361" y="407"/>
                    </a:cubicBezTo>
                    <a:cubicBezTo>
                      <a:pt x="10438" y="-286"/>
                      <a:pt x="9218" y="-55"/>
                      <a:pt x="8526" y="803"/>
                    </a:cubicBezTo>
                    <a:close/>
                  </a:path>
                </a:pathLst>
              </a:custGeom>
              <a:solidFill>
                <a:srgbClr val="5856D6"/>
              </a:solidFill>
              <a:ln w="3283" cap="flat">
                <a:noFill/>
                <a:prstDash val="solid"/>
                <a:miter/>
              </a:ln>
            </p:spPr>
            <p:txBody>
              <a:bodyPr rtlCol="0" anchor="ctr"/>
              <a:lstStyle/>
              <a:p>
                <a:endParaRPr lang="en-US"/>
              </a:p>
            </p:txBody>
          </p:sp>
          <p:sp>
            <p:nvSpPr>
              <p:cNvPr id="1400" name="Freeform 1399">
                <a:extLst>
                  <a:ext uri="{FF2B5EF4-FFF2-40B4-BE49-F238E27FC236}">
                    <a16:creationId xmlns:a16="http://schemas.microsoft.com/office/drawing/2014/main" id="{69FE54C4-B58E-C6C0-4FEE-FC3F5949387C}"/>
                  </a:ext>
                </a:extLst>
              </p:cNvPr>
              <p:cNvSpPr/>
              <p:nvPr/>
            </p:nvSpPr>
            <p:spPr>
              <a:xfrm>
                <a:off x="5971782" y="4787538"/>
                <a:ext cx="10326" cy="14786"/>
              </a:xfrm>
              <a:custGeom>
                <a:avLst/>
                <a:gdLst>
                  <a:gd name="connsiteX0" fmla="*/ 6494 w 10326"/>
                  <a:gd name="connsiteY0" fmla="*/ 1031 h 14786"/>
                  <a:gd name="connsiteX1" fmla="*/ 297 w 10326"/>
                  <a:gd name="connsiteY1" fmla="*/ 11720 h 14786"/>
                  <a:gd name="connsiteX2" fmla="*/ 989 w 10326"/>
                  <a:gd name="connsiteY2" fmla="*/ 14490 h 14786"/>
                  <a:gd name="connsiteX3" fmla="*/ 3857 w 10326"/>
                  <a:gd name="connsiteY3" fmla="*/ 13765 h 14786"/>
                  <a:gd name="connsiteX4" fmla="*/ 10054 w 10326"/>
                  <a:gd name="connsiteY4" fmla="*/ 3077 h 14786"/>
                  <a:gd name="connsiteX5" fmla="*/ 9296 w 10326"/>
                  <a:gd name="connsiteY5" fmla="*/ 272 h 14786"/>
                  <a:gd name="connsiteX6" fmla="*/ 9296 w 10326"/>
                  <a:gd name="connsiteY6" fmla="*/ 272 h 14786"/>
                  <a:gd name="connsiteX7" fmla="*/ 6494 w 10326"/>
                  <a:gd name="connsiteY7" fmla="*/ 1031 h 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26" h="14786">
                    <a:moveTo>
                      <a:pt x="6494" y="1031"/>
                    </a:moveTo>
                    <a:lnTo>
                      <a:pt x="297" y="11720"/>
                    </a:lnTo>
                    <a:cubicBezTo>
                      <a:pt x="-297" y="12676"/>
                      <a:pt x="33" y="13930"/>
                      <a:pt x="989" y="14490"/>
                    </a:cubicBezTo>
                    <a:cubicBezTo>
                      <a:pt x="1945" y="15084"/>
                      <a:pt x="3231" y="14754"/>
                      <a:pt x="3857" y="13765"/>
                    </a:cubicBezTo>
                    <a:lnTo>
                      <a:pt x="10054" y="3077"/>
                    </a:lnTo>
                    <a:cubicBezTo>
                      <a:pt x="10614" y="2087"/>
                      <a:pt x="10285" y="833"/>
                      <a:pt x="9296" y="272"/>
                    </a:cubicBezTo>
                    <a:lnTo>
                      <a:pt x="9296" y="272"/>
                    </a:lnTo>
                    <a:cubicBezTo>
                      <a:pt x="8307" y="-288"/>
                      <a:pt x="7054" y="42"/>
                      <a:pt x="6494" y="1031"/>
                    </a:cubicBezTo>
                    <a:close/>
                  </a:path>
                </a:pathLst>
              </a:custGeom>
              <a:solidFill>
                <a:srgbClr val="5856D6"/>
              </a:solidFill>
              <a:ln w="3283" cap="flat">
                <a:noFill/>
                <a:prstDash val="solid"/>
                <a:miter/>
              </a:ln>
            </p:spPr>
            <p:txBody>
              <a:bodyPr rtlCol="0" anchor="ctr"/>
              <a:lstStyle/>
              <a:p>
                <a:endParaRPr lang="en-US"/>
              </a:p>
            </p:txBody>
          </p:sp>
          <p:sp>
            <p:nvSpPr>
              <p:cNvPr id="1401" name="Freeform 1400">
                <a:extLst>
                  <a:ext uri="{FF2B5EF4-FFF2-40B4-BE49-F238E27FC236}">
                    <a16:creationId xmlns:a16="http://schemas.microsoft.com/office/drawing/2014/main" id="{E85AD0CF-C4EE-2C62-9FD6-0964B03994FA}"/>
                  </a:ext>
                </a:extLst>
              </p:cNvPr>
              <p:cNvSpPr/>
              <p:nvPr/>
            </p:nvSpPr>
            <p:spPr>
              <a:xfrm>
                <a:off x="5986244" y="4762566"/>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6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6"/>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2" name="Freeform 1401">
                <a:extLst>
                  <a:ext uri="{FF2B5EF4-FFF2-40B4-BE49-F238E27FC236}">
                    <a16:creationId xmlns:a16="http://schemas.microsoft.com/office/drawing/2014/main" id="{E97D024D-EB02-81EB-B90C-E4B5B0137F6B}"/>
                  </a:ext>
                </a:extLst>
              </p:cNvPr>
              <p:cNvSpPr/>
              <p:nvPr/>
            </p:nvSpPr>
            <p:spPr>
              <a:xfrm>
                <a:off x="6000649" y="4737594"/>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lnTo>
                      <a:pt x="9238" y="272"/>
                    </a:ln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3" name="Freeform 1402">
                <a:extLst>
                  <a:ext uri="{FF2B5EF4-FFF2-40B4-BE49-F238E27FC236}">
                    <a16:creationId xmlns:a16="http://schemas.microsoft.com/office/drawing/2014/main" id="{729DCCCD-5170-C300-2A12-FCF0006B7832}"/>
                  </a:ext>
                </a:extLst>
              </p:cNvPr>
              <p:cNvSpPr/>
              <p:nvPr/>
            </p:nvSpPr>
            <p:spPr>
              <a:xfrm>
                <a:off x="6015054" y="4712622"/>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3832 w 10268"/>
                  <a:gd name="connsiteY3" fmla="*/ 13765 h 14795"/>
                  <a:gd name="connsiteX4" fmla="*/ 9996 w 10268"/>
                  <a:gd name="connsiteY4" fmla="*/ 3077 h 14795"/>
                  <a:gd name="connsiteX5" fmla="*/ 9238 w 10268"/>
                  <a:gd name="connsiteY5" fmla="*/ 272 h 14795"/>
                  <a:gd name="connsiteX6" fmla="*/ 6436 w 10268"/>
                  <a:gd name="connsiteY6"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4" name="Freeform 1403">
                <a:extLst>
                  <a:ext uri="{FF2B5EF4-FFF2-40B4-BE49-F238E27FC236}">
                    <a16:creationId xmlns:a16="http://schemas.microsoft.com/office/drawing/2014/main" id="{D39679E6-2980-012A-A99A-5D88E958966D}"/>
                  </a:ext>
                </a:extLst>
              </p:cNvPr>
              <p:cNvSpPr/>
              <p:nvPr/>
            </p:nvSpPr>
            <p:spPr>
              <a:xfrm>
                <a:off x="6029459" y="4687682"/>
                <a:ext cx="10268" cy="14795"/>
              </a:xfrm>
              <a:custGeom>
                <a:avLst/>
                <a:gdLst>
                  <a:gd name="connsiteX0" fmla="*/ 6436 w 10268"/>
                  <a:gd name="connsiteY0" fmla="*/ 1031 h 14795"/>
                  <a:gd name="connsiteX1" fmla="*/ 272 w 10268"/>
                  <a:gd name="connsiteY1" fmla="*/ 11720 h 14795"/>
                  <a:gd name="connsiteX2" fmla="*/ 1030 w 10268"/>
                  <a:gd name="connsiteY2" fmla="*/ 14523 h 14795"/>
                  <a:gd name="connsiteX3" fmla="*/ 1030 w 10268"/>
                  <a:gd name="connsiteY3" fmla="*/ 14523 h 14795"/>
                  <a:gd name="connsiteX4" fmla="*/ 3832 w 10268"/>
                  <a:gd name="connsiteY4" fmla="*/ 13765 h 14795"/>
                  <a:gd name="connsiteX5" fmla="*/ 9996 w 10268"/>
                  <a:gd name="connsiteY5" fmla="*/ 3077 h 14795"/>
                  <a:gd name="connsiteX6" fmla="*/ 9238 w 10268"/>
                  <a:gd name="connsiteY6" fmla="*/ 272 h 14795"/>
                  <a:gd name="connsiteX7" fmla="*/ 6436 w 10268"/>
                  <a:gd name="connsiteY7" fmla="*/ 1031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6436" y="1031"/>
                    </a:moveTo>
                    <a:lnTo>
                      <a:pt x="272" y="11720"/>
                    </a:lnTo>
                    <a:cubicBezTo>
                      <a:pt x="-288" y="12709"/>
                      <a:pt x="42" y="13963"/>
                      <a:pt x="1030" y="14523"/>
                    </a:cubicBezTo>
                    <a:lnTo>
                      <a:pt x="1030" y="14523"/>
                    </a:ln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5" name="Freeform 1404">
                <a:extLst>
                  <a:ext uri="{FF2B5EF4-FFF2-40B4-BE49-F238E27FC236}">
                    <a16:creationId xmlns:a16="http://schemas.microsoft.com/office/drawing/2014/main" id="{FEE66891-F2B4-79BB-8BE9-7303184E595A}"/>
                  </a:ext>
                </a:extLst>
              </p:cNvPr>
              <p:cNvSpPr/>
              <p:nvPr/>
            </p:nvSpPr>
            <p:spPr>
              <a:xfrm>
                <a:off x="6043864" y="4662710"/>
                <a:ext cx="10268" cy="14796"/>
              </a:xfrm>
              <a:custGeom>
                <a:avLst/>
                <a:gdLst>
                  <a:gd name="connsiteX0" fmla="*/ 6436 w 10268"/>
                  <a:gd name="connsiteY0" fmla="*/ 1031 h 14796"/>
                  <a:gd name="connsiteX1" fmla="*/ 272 w 10268"/>
                  <a:gd name="connsiteY1" fmla="*/ 11720 h 14796"/>
                  <a:gd name="connsiteX2" fmla="*/ 1030 w 10268"/>
                  <a:gd name="connsiteY2" fmla="*/ 14523 h 14796"/>
                  <a:gd name="connsiteX3" fmla="*/ 3832 w 10268"/>
                  <a:gd name="connsiteY3" fmla="*/ 13765 h 14796"/>
                  <a:gd name="connsiteX4" fmla="*/ 9996 w 10268"/>
                  <a:gd name="connsiteY4" fmla="*/ 3077 h 14796"/>
                  <a:gd name="connsiteX5" fmla="*/ 9238 w 10268"/>
                  <a:gd name="connsiteY5" fmla="*/ 272 h 14796"/>
                  <a:gd name="connsiteX6" fmla="*/ 6436 w 10268"/>
                  <a:gd name="connsiteY6" fmla="*/ 1031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6436" y="1031"/>
                    </a:moveTo>
                    <a:lnTo>
                      <a:pt x="272" y="11720"/>
                    </a:lnTo>
                    <a:cubicBezTo>
                      <a:pt x="-288" y="12709"/>
                      <a:pt x="42" y="13963"/>
                      <a:pt x="1030" y="14523"/>
                    </a:cubicBezTo>
                    <a:cubicBezTo>
                      <a:pt x="2019" y="15084"/>
                      <a:pt x="3272" y="14754"/>
                      <a:pt x="3832" y="13765"/>
                    </a:cubicBezTo>
                    <a:lnTo>
                      <a:pt x="9996" y="3077"/>
                    </a:lnTo>
                    <a:cubicBezTo>
                      <a:pt x="10557" y="2087"/>
                      <a:pt x="10227" y="833"/>
                      <a:pt x="9238" y="272"/>
                    </a:cubicBezTo>
                    <a:cubicBezTo>
                      <a:pt x="8249" y="-288"/>
                      <a:pt x="6997" y="42"/>
                      <a:pt x="6436" y="1031"/>
                    </a:cubicBezTo>
                    <a:close/>
                  </a:path>
                </a:pathLst>
              </a:custGeom>
              <a:solidFill>
                <a:srgbClr val="5856D6"/>
              </a:solidFill>
              <a:ln w="3283" cap="flat">
                <a:noFill/>
                <a:prstDash val="solid"/>
                <a:miter/>
              </a:ln>
            </p:spPr>
            <p:txBody>
              <a:bodyPr rtlCol="0" anchor="ctr"/>
              <a:lstStyle/>
              <a:p>
                <a:endParaRPr lang="en-US"/>
              </a:p>
            </p:txBody>
          </p:sp>
          <p:sp>
            <p:nvSpPr>
              <p:cNvPr id="1406" name="Freeform 1405">
                <a:extLst>
                  <a:ext uri="{FF2B5EF4-FFF2-40B4-BE49-F238E27FC236}">
                    <a16:creationId xmlns:a16="http://schemas.microsoft.com/office/drawing/2014/main" id="{1A9F6B43-832A-59FD-F934-1ECEBD2E271C}"/>
                  </a:ext>
                </a:extLst>
              </p:cNvPr>
              <p:cNvSpPr/>
              <p:nvPr/>
            </p:nvSpPr>
            <p:spPr>
              <a:xfrm>
                <a:off x="6057909" y="4636844"/>
                <a:ext cx="8806" cy="15529"/>
              </a:xfrm>
              <a:custGeom>
                <a:avLst/>
                <a:gdLst>
                  <a:gd name="connsiteX0" fmla="*/ 4852 w 8806"/>
                  <a:gd name="connsiteY0" fmla="*/ 1364 h 15529"/>
                  <a:gd name="connsiteX1" fmla="*/ 2677 w 8806"/>
                  <a:gd name="connsiteY1" fmla="*/ 7038 h 15529"/>
                  <a:gd name="connsiteX2" fmla="*/ 171 w 8806"/>
                  <a:gd name="connsiteY2" fmla="*/ 12580 h 15529"/>
                  <a:gd name="connsiteX3" fmla="*/ 1127 w 8806"/>
                  <a:gd name="connsiteY3" fmla="*/ 15318 h 15529"/>
                  <a:gd name="connsiteX4" fmla="*/ 3863 w 8806"/>
                  <a:gd name="connsiteY4" fmla="*/ 14362 h 15529"/>
                  <a:gd name="connsiteX5" fmla="*/ 6434 w 8806"/>
                  <a:gd name="connsiteY5" fmla="*/ 8622 h 15529"/>
                  <a:gd name="connsiteX6" fmla="*/ 8676 w 8806"/>
                  <a:gd name="connsiteY6" fmla="*/ 2750 h 15529"/>
                  <a:gd name="connsiteX7" fmla="*/ 7456 w 8806"/>
                  <a:gd name="connsiteY7" fmla="*/ 111 h 15529"/>
                  <a:gd name="connsiteX8" fmla="*/ 7456 w 8806"/>
                  <a:gd name="connsiteY8" fmla="*/ 111 h 15529"/>
                  <a:gd name="connsiteX9" fmla="*/ 4819 w 8806"/>
                  <a:gd name="connsiteY9" fmla="*/ 1331 h 1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6" h="15529">
                    <a:moveTo>
                      <a:pt x="4852" y="1364"/>
                    </a:moveTo>
                    <a:cubicBezTo>
                      <a:pt x="4127" y="3244"/>
                      <a:pt x="3468" y="5191"/>
                      <a:pt x="2677" y="7038"/>
                    </a:cubicBezTo>
                    <a:lnTo>
                      <a:pt x="171" y="12580"/>
                    </a:lnTo>
                    <a:cubicBezTo>
                      <a:pt x="-257" y="13603"/>
                      <a:pt x="138" y="14823"/>
                      <a:pt x="1127" y="15318"/>
                    </a:cubicBezTo>
                    <a:cubicBezTo>
                      <a:pt x="2149" y="15813"/>
                      <a:pt x="3402" y="15417"/>
                      <a:pt x="3863" y="14362"/>
                    </a:cubicBezTo>
                    <a:lnTo>
                      <a:pt x="6434" y="8622"/>
                    </a:lnTo>
                    <a:cubicBezTo>
                      <a:pt x="7259" y="6708"/>
                      <a:pt x="7918" y="4696"/>
                      <a:pt x="8676" y="2750"/>
                    </a:cubicBezTo>
                    <a:cubicBezTo>
                      <a:pt x="9071" y="1661"/>
                      <a:pt x="8544" y="474"/>
                      <a:pt x="7456" y="111"/>
                    </a:cubicBezTo>
                    <a:lnTo>
                      <a:pt x="7456" y="111"/>
                    </a:lnTo>
                    <a:cubicBezTo>
                      <a:pt x="6401" y="-252"/>
                      <a:pt x="5182" y="309"/>
                      <a:pt x="4819" y="1331"/>
                    </a:cubicBezTo>
                    <a:close/>
                  </a:path>
                </a:pathLst>
              </a:custGeom>
              <a:solidFill>
                <a:srgbClr val="5856D6"/>
              </a:solidFill>
              <a:ln w="3283" cap="flat">
                <a:noFill/>
                <a:prstDash val="solid"/>
                <a:miter/>
              </a:ln>
            </p:spPr>
            <p:txBody>
              <a:bodyPr rtlCol="0" anchor="ctr"/>
              <a:lstStyle/>
              <a:p>
                <a:endParaRPr lang="en-US"/>
              </a:p>
            </p:txBody>
          </p:sp>
          <p:sp>
            <p:nvSpPr>
              <p:cNvPr id="1407" name="Freeform 1406">
                <a:extLst>
                  <a:ext uri="{FF2B5EF4-FFF2-40B4-BE49-F238E27FC236}">
                    <a16:creationId xmlns:a16="http://schemas.microsoft.com/office/drawing/2014/main" id="{37BBE396-0638-A503-9C33-4C08AF12F9B8}"/>
                  </a:ext>
                </a:extLst>
              </p:cNvPr>
              <p:cNvSpPr/>
              <p:nvPr/>
            </p:nvSpPr>
            <p:spPr>
              <a:xfrm>
                <a:off x="6067189" y="4608841"/>
                <a:ext cx="6127" cy="16292"/>
              </a:xfrm>
              <a:custGeom>
                <a:avLst/>
                <a:gdLst>
                  <a:gd name="connsiteX0" fmla="*/ 2032 w 6127"/>
                  <a:gd name="connsiteY0" fmla="*/ 1822 h 16292"/>
                  <a:gd name="connsiteX1" fmla="*/ 1175 w 6127"/>
                  <a:gd name="connsiteY1" fmla="*/ 7826 h 16292"/>
                  <a:gd name="connsiteX2" fmla="*/ 54 w 6127"/>
                  <a:gd name="connsiteY2" fmla="*/ 13797 h 16292"/>
                  <a:gd name="connsiteX3" fmla="*/ 1604 w 6127"/>
                  <a:gd name="connsiteY3" fmla="*/ 16238 h 16292"/>
                  <a:gd name="connsiteX4" fmla="*/ 4076 w 6127"/>
                  <a:gd name="connsiteY4" fmla="*/ 14655 h 16292"/>
                  <a:gd name="connsiteX5" fmla="*/ 5230 w 6127"/>
                  <a:gd name="connsiteY5" fmla="*/ 8486 h 16292"/>
                  <a:gd name="connsiteX6" fmla="*/ 6120 w 6127"/>
                  <a:gd name="connsiteY6" fmla="*/ 2284 h 16292"/>
                  <a:gd name="connsiteX7" fmla="*/ 4274 w 6127"/>
                  <a:gd name="connsiteY7" fmla="*/ 8 h 16292"/>
                  <a:gd name="connsiteX8" fmla="*/ 2032 w 6127"/>
                  <a:gd name="connsiteY8" fmla="*/ 1822 h 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7" h="16292">
                    <a:moveTo>
                      <a:pt x="2032" y="1822"/>
                    </a:moveTo>
                    <a:cubicBezTo>
                      <a:pt x="1900" y="3835"/>
                      <a:pt x="1472" y="5847"/>
                      <a:pt x="1175" y="7826"/>
                    </a:cubicBezTo>
                    <a:cubicBezTo>
                      <a:pt x="845" y="9839"/>
                      <a:pt x="549" y="11818"/>
                      <a:pt x="54" y="13797"/>
                    </a:cubicBezTo>
                    <a:cubicBezTo>
                      <a:pt x="-209" y="14886"/>
                      <a:pt x="516" y="15975"/>
                      <a:pt x="1604" y="16238"/>
                    </a:cubicBezTo>
                    <a:cubicBezTo>
                      <a:pt x="2691" y="16502"/>
                      <a:pt x="3812" y="15776"/>
                      <a:pt x="4076" y="14655"/>
                    </a:cubicBezTo>
                    <a:cubicBezTo>
                      <a:pt x="4603" y="12610"/>
                      <a:pt x="4900" y="10564"/>
                      <a:pt x="5230" y="8486"/>
                    </a:cubicBezTo>
                    <a:cubicBezTo>
                      <a:pt x="5526" y="6408"/>
                      <a:pt x="5988" y="4363"/>
                      <a:pt x="6120" y="2284"/>
                    </a:cubicBezTo>
                    <a:cubicBezTo>
                      <a:pt x="6218" y="1130"/>
                      <a:pt x="5394" y="107"/>
                      <a:pt x="4274" y="8"/>
                    </a:cubicBezTo>
                    <a:cubicBezTo>
                      <a:pt x="3153" y="-91"/>
                      <a:pt x="2131" y="734"/>
                      <a:pt x="2032" y="1822"/>
                    </a:cubicBezTo>
                    <a:close/>
                  </a:path>
                </a:pathLst>
              </a:custGeom>
              <a:solidFill>
                <a:srgbClr val="5856D6"/>
              </a:solidFill>
              <a:ln w="3283" cap="flat">
                <a:noFill/>
                <a:prstDash val="solid"/>
                <a:miter/>
              </a:ln>
            </p:spPr>
            <p:txBody>
              <a:bodyPr rtlCol="0" anchor="ctr"/>
              <a:lstStyle/>
              <a:p>
                <a:endParaRPr lang="en-US"/>
              </a:p>
            </p:txBody>
          </p:sp>
          <p:sp>
            <p:nvSpPr>
              <p:cNvPr id="1408" name="Freeform 1407">
                <a:extLst>
                  <a:ext uri="{FF2B5EF4-FFF2-40B4-BE49-F238E27FC236}">
                    <a16:creationId xmlns:a16="http://schemas.microsoft.com/office/drawing/2014/main" id="{4E17C7D5-58BE-C122-5F2D-64B8F58CC47B}"/>
                  </a:ext>
                </a:extLst>
              </p:cNvPr>
              <p:cNvSpPr/>
              <p:nvPr/>
            </p:nvSpPr>
            <p:spPr>
              <a:xfrm>
                <a:off x="6069148" y="4580095"/>
                <a:ext cx="4920" cy="16416"/>
              </a:xfrm>
              <a:custGeom>
                <a:avLst/>
                <a:gdLst>
                  <a:gd name="connsiteX0" fmla="*/ 41 w 4920"/>
                  <a:gd name="connsiteY0" fmla="*/ 2297 h 16416"/>
                  <a:gd name="connsiteX1" fmla="*/ 634 w 4920"/>
                  <a:gd name="connsiteY1" fmla="*/ 8334 h 16416"/>
                  <a:gd name="connsiteX2" fmla="*/ 832 w 4920"/>
                  <a:gd name="connsiteY2" fmla="*/ 14404 h 16416"/>
                  <a:gd name="connsiteX3" fmla="*/ 2942 w 4920"/>
                  <a:gd name="connsiteY3" fmla="*/ 16416 h 16416"/>
                  <a:gd name="connsiteX4" fmla="*/ 2942 w 4920"/>
                  <a:gd name="connsiteY4" fmla="*/ 16416 h 16416"/>
                  <a:gd name="connsiteX5" fmla="*/ 4920 w 4920"/>
                  <a:gd name="connsiteY5" fmla="*/ 14338 h 16416"/>
                  <a:gd name="connsiteX6" fmla="*/ 4689 w 4920"/>
                  <a:gd name="connsiteY6" fmla="*/ 8070 h 16416"/>
                  <a:gd name="connsiteX7" fmla="*/ 4096 w 4920"/>
                  <a:gd name="connsiteY7" fmla="*/ 1836 h 16416"/>
                  <a:gd name="connsiteX8" fmla="*/ 1821 w 4920"/>
                  <a:gd name="connsiteY8" fmla="*/ 21 h 16416"/>
                  <a:gd name="connsiteX9" fmla="*/ 1821 w 4920"/>
                  <a:gd name="connsiteY9" fmla="*/ 21 h 16416"/>
                  <a:gd name="connsiteX10" fmla="*/ 8 w 4920"/>
                  <a:gd name="connsiteY10" fmla="*/ 2297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0" h="16416">
                    <a:moveTo>
                      <a:pt x="41" y="2297"/>
                    </a:moveTo>
                    <a:lnTo>
                      <a:pt x="634" y="8334"/>
                    </a:lnTo>
                    <a:lnTo>
                      <a:pt x="832" y="14404"/>
                    </a:lnTo>
                    <a:cubicBezTo>
                      <a:pt x="865" y="15526"/>
                      <a:pt x="1821" y="16416"/>
                      <a:pt x="2942" y="16416"/>
                    </a:cubicBezTo>
                    <a:lnTo>
                      <a:pt x="2942" y="16416"/>
                    </a:lnTo>
                    <a:cubicBezTo>
                      <a:pt x="4063" y="16416"/>
                      <a:pt x="4953" y="15493"/>
                      <a:pt x="4920" y="14338"/>
                    </a:cubicBezTo>
                    <a:lnTo>
                      <a:pt x="4689" y="8070"/>
                    </a:lnTo>
                    <a:lnTo>
                      <a:pt x="4096" y="1836"/>
                    </a:lnTo>
                    <a:cubicBezTo>
                      <a:pt x="3997" y="681"/>
                      <a:pt x="2975" y="-144"/>
                      <a:pt x="1821" y="21"/>
                    </a:cubicBezTo>
                    <a:lnTo>
                      <a:pt x="1821" y="21"/>
                    </a:lnTo>
                    <a:cubicBezTo>
                      <a:pt x="733" y="186"/>
                      <a:pt x="-91" y="1209"/>
                      <a:pt x="8" y="2297"/>
                    </a:cubicBezTo>
                    <a:close/>
                  </a:path>
                </a:pathLst>
              </a:custGeom>
              <a:solidFill>
                <a:srgbClr val="5856D6"/>
              </a:solidFill>
              <a:ln w="3283" cap="flat">
                <a:noFill/>
                <a:prstDash val="solid"/>
                <a:miter/>
              </a:ln>
            </p:spPr>
            <p:txBody>
              <a:bodyPr rtlCol="0" anchor="ctr"/>
              <a:lstStyle/>
              <a:p>
                <a:endParaRPr lang="en-US"/>
              </a:p>
            </p:txBody>
          </p:sp>
          <p:sp>
            <p:nvSpPr>
              <p:cNvPr id="1409" name="Freeform 1408">
                <a:extLst>
                  <a:ext uri="{FF2B5EF4-FFF2-40B4-BE49-F238E27FC236}">
                    <a16:creationId xmlns:a16="http://schemas.microsoft.com/office/drawing/2014/main" id="{AB9825A9-4435-4C34-9A0F-3F463398A020}"/>
                  </a:ext>
                </a:extLst>
              </p:cNvPr>
              <p:cNvSpPr/>
              <p:nvPr/>
            </p:nvSpPr>
            <p:spPr>
              <a:xfrm>
                <a:off x="6062548" y="4552129"/>
                <a:ext cx="7718" cy="15892"/>
              </a:xfrm>
              <a:custGeom>
                <a:avLst/>
                <a:gdLst>
                  <a:gd name="connsiteX0" fmla="*/ 147 w 7718"/>
                  <a:gd name="connsiteY0" fmla="*/ 2718 h 15892"/>
                  <a:gd name="connsiteX1" fmla="*/ 2059 w 7718"/>
                  <a:gd name="connsiteY1" fmla="*/ 8491 h 15892"/>
                  <a:gd name="connsiteX2" fmla="*/ 3707 w 7718"/>
                  <a:gd name="connsiteY2" fmla="*/ 14330 h 15892"/>
                  <a:gd name="connsiteX3" fmla="*/ 6146 w 7718"/>
                  <a:gd name="connsiteY3" fmla="*/ 15847 h 15892"/>
                  <a:gd name="connsiteX4" fmla="*/ 6146 w 7718"/>
                  <a:gd name="connsiteY4" fmla="*/ 15847 h 15892"/>
                  <a:gd name="connsiteX5" fmla="*/ 7663 w 7718"/>
                  <a:gd name="connsiteY5" fmla="*/ 13340 h 15892"/>
                  <a:gd name="connsiteX6" fmla="*/ 5949 w 7718"/>
                  <a:gd name="connsiteY6" fmla="*/ 7303 h 15892"/>
                  <a:gd name="connsiteX7" fmla="*/ 3971 w 7718"/>
                  <a:gd name="connsiteY7" fmla="*/ 1365 h 15892"/>
                  <a:gd name="connsiteX8" fmla="*/ 1334 w 7718"/>
                  <a:gd name="connsiteY8" fmla="*/ 144 h 15892"/>
                  <a:gd name="connsiteX9" fmla="*/ 1334 w 7718"/>
                  <a:gd name="connsiteY9" fmla="*/ 144 h 15892"/>
                  <a:gd name="connsiteX10" fmla="*/ 114 w 7718"/>
                  <a:gd name="connsiteY10" fmla="*/ 2784 h 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 h="15892">
                    <a:moveTo>
                      <a:pt x="147" y="2718"/>
                    </a:moveTo>
                    <a:cubicBezTo>
                      <a:pt x="905" y="4598"/>
                      <a:pt x="1532" y="6544"/>
                      <a:pt x="2059" y="8491"/>
                    </a:cubicBezTo>
                    <a:cubicBezTo>
                      <a:pt x="2586" y="10437"/>
                      <a:pt x="3312" y="12350"/>
                      <a:pt x="3707" y="14330"/>
                    </a:cubicBezTo>
                    <a:cubicBezTo>
                      <a:pt x="3971" y="15418"/>
                      <a:pt x="5059" y="16078"/>
                      <a:pt x="6146" y="15847"/>
                    </a:cubicBezTo>
                    <a:lnTo>
                      <a:pt x="6146" y="15847"/>
                    </a:lnTo>
                    <a:cubicBezTo>
                      <a:pt x="7234" y="15583"/>
                      <a:pt x="7926" y="14461"/>
                      <a:pt x="7663" y="13340"/>
                    </a:cubicBezTo>
                    <a:cubicBezTo>
                      <a:pt x="7234" y="11295"/>
                      <a:pt x="6509" y="9315"/>
                      <a:pt x="5949" y="7303"/>
                    </a:cubicBezTo>
                    <a:cubicBezTo>
                      <a:pt x="5388" y="5291"/>
                      <a:pt x="4729" y="3278"/>
                      <a:pt x="3971" y="1365"/>
                    </a:cubicBezTo>
                    <a:cubicBezTo>
                      <a:pt x="3575" y="277"/>
                      <a:pt x="2389" y="-284"/>
                      <a:pt x="1334" y="144"/>
                    </a:cubicBezTo>
                    <a:lnTo>
                      <a:pt x="1334" y="144"/>
                    </a:lnTo>
                    <a:cubicBezTo>
                      <a:pt x="279" y="540"/>
                      <a:pt x="-249" y="1728"/>
                      <a:pt x="114" y="2784"/>
                    </a:cubicBezTo>
                    <a:close/>
                  </a:path>
                </a:pathLst>
              </a:custGeom>
              <a:solidFill>
                <a:srgbClr val="5856D6"/>
              </a:solidFill>
              <a:ln w="3283" cap="flat">
                <a:noFill/>
                <a:prstDash val="solid"/>
                <a:miter/>
              </a:ln>
            </p:spPr>
            <p:txBody>
              <a:bodyPr rtlCol="0" anchor="ctr"/>
              <a:lstStyle/>
              <a:p>
                <a:endParaRPr lang="en-US"/>
              </a:p>
            </p:txBody>
          </p:sp>
          <p:sp>
            <p:nvSpPr>
              <p:cNvPr id="1410" name="Freeform 1409">
                <a:extLst>
                  <a:ext uri="{FF2B5EF4-FFF2-40B4-BE49-F238E27FC236}">
                    <a16:creationId xmlns:a16="http://schemas.microsoft.com/office/drawing/2014/main" id="{86CEB02B-0E6F-41D9-B5C8-3A0C681FE604}"/>
                  </a:ext>
                </a:extLst>
              </p:cNvPr>
              <p:cNvSpPr/>
              <p:nvPr/>
            </p:nvSpPr>
            <p:spPr>
              <a:xfrm>
                <a:off x="6049962" y="4526237"/>
                <a:ext cx="10138" cy="14890"/>
              </a:xfrm>
              <a:custGeom>
                <a:avLst/>
                <a:gdLst>
                  <a:gd name="connsiteX0" fmla="*/ 272 w 10138"/>
                  <a:gd name="connsiteY0" fmla="*/ 3077 h 14890"/>
                  <a:gd name="connsiteX1" fmla="*/ 6239 w 10138"/>
                  <a:gd name="connsiteY1" fmla="*/ 13798 h 14890"/>
                  <a:gd name="connsiteX2" fmla="*/ 9041 w 10138"/>
                  <a:gd name="connsiteY2" fmla="*/ 14656 h 14890"/>
                  <a:gd name="connsiteX3" fmla="*/ 9041 w 10138"/>
                  <a:gd name="connsiteY3" fmla="*/ 14656 h 14890"/>
                  <a:gd name="connsiteX4" fmla="*/ 9898 w 10138"/>
                  <a:gd name="connsiteY4" fmla="*/ 11884 h 14890"/>
                  <a:gd name="connsiteX5" fmla="*/ 3832 w 10138"/>
                  <a:gd name="connsiteY5" fmla="*/ 1031 h 14890"/>
                  <a:gd name="connsiteX6" fmla="*/ 1030 w 10138"/>
                  <a:gd name="connsiteY6" fmla="*/ 272 h 14890"/>
                  <a:gd name="connsiteX7" fmla="*/ 272 w 10138"/>
                  <a:gd name="connsiteY7" fmla="*/ 3077 h 1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38" h="14890">
                    <a:moveTo>
                      <a:pt x="272" y="3077"/>
                    </a:moveTo>
                    <a:cubicBezTo>
                      <a:pt x="2349" y="6639"/>
                      <a:pt x="4393" y="10202"/>
                      <a:pt x="6239" y="13798"/>
                    </a:cubicBezTo>
                    <a:cubicBezTo>
                      <a:pt x="6766" y="14787"/>
                      <a:pt x="8019" y="15183"/>
                      <a:pt x="9041" y="14656"/>
                    </a:cubicBezTo>
                    <a:lnTo>
                      <a:pt x="9041" y="14656"/>
                    </a:lnTo>
                    <a:cubicBezTo>
                      <a:pt x="10062" y="14161"/>
                      <a:pt x="10425" y="12907"/>
                      <a:pt x="9898" y="11884"/>
                    </a:cubicBezTo>
                    <a:cubicBezTo>
                      <a:pt x="7953" y="8157"/>
                      <a:pt x="5909" y="4561"/>
                      <a:pt x="3832" y="1031"/>
                    </a:cubicBez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1" name="Freeform 1410">
                <a:extLst>
                  <a:ext uri="{FF2B5EF4-FFF2-40B4-BE49-F238E27FC236}">
                    <a16:creationId xmlns:a16="http://schemas.microsoft.com/office/drawing/2014/main" id="{E4E92770-8704-8F4D-6F11-E3313A9EE2E9}"/>
                  </a:ext>
                </a:extLst>
              </p:cNvPr>
              <p:cNvSpPr/>
              <p:nvPr/>
            </p:nvSpPr>
            <p:spPr>
              <a:xfrm>
                <a:off x="6035557" y="4501298"/>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996 w 10268"/>
                  <a:gd name="connsiteY3" fmla="*/ 11720 h 14795"/>
                  <a:gd name="connsiteX4" fmla="*/ 3832 w 10268"/>
                  <a:gd name="connsiteY4" fmla="*/ 1031 h 14795"/>
                  <a:gd name="connsiteX5" fmla="*/ 1030 w 10268"/>
                  <a:gd name="connsiteY5" fmla="*/ 272 h 14795"/>
                  <a:gd name="connsiteX6" fmla="*/ 272 w 10268"/>
                  <a:gd name="connsiteY6"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272" y="3077"/>
                    </a:moveTo>
                    <a:lnTo>
                      <a:pt x="6436" y="13765"/>
                    </a:lnTo>
                    <a:cubicBezTo>
                      <a:pt x="6997" y="14754"/>
                      <a:pt x="8249" y="15084"/>
                      <a:pt x="9238" y="14523"/>
                    </a:cubicBezTo>
                    <a:cubicBezTo>
                      <a:pt x="10227" y="13963"/>
                      <a:pt x="10557" y="12709"/>
                      <a:pt x="9996" y="11720"/>
                    </a:cubicBezTo>
                    <a:lnTo>
                      <a:pt x="3832" y="1031"/>
                    </a:ln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2" name="Freeform 1411">
                <a:extLst>
                  <a:ext uri="{FF2B5EF4-FFF2-40B4-BE49-F238E27FC236}">
                    <a16:creationId xmlns:a16="http://schemas.microsoft.com/office/drawing/2014/main" id="{CA8D8CE8-E6DF-F8FF-6D26-1143DB004BDE}"/>
                  </a:ext>
                </a:extLst>
              </p:cNvPr>
              <p:cNvSpPr/>
              <p:nvPr/>
            </p:nvSpPr>
            <p:spPr>
              <a:xfrm>
                <a:off x="6021153" y="4476326"/>
                <a:ext cx="10268" cy="14796"/>
              </a:xfrm>
              <a:custGeom>
                <a:avLst/>
                <a:gdLst>
                  <a:gd name="connsiteX0" fmla="*/ 272 w 10268"/>
                  <a:gd name="connsiteY0" fmla="*/ 3077 h 14796"/>
                  <a:gd name="connsiteX1" fmla="*/ 6436 w 10268"/>
                  <a:gd name="connsiteY1" fmla="*/ 13765 h 14796"/>
                  <a:gd name="connsiteX2" fmla="*/ 9238 w 10268"/>
                  <a:gd name="connsiteY2" fmla="*/ 14523 h 14796"/>
                  <a:gd name="connsiteX3" fmla="*/ 9238 w 10268"/>
                  <a:gd name="connsiteY3" fmla="*/ 14523 h 14796"/>
                  <a:gd name="connsiteX4" fmla="*/ 9996 w 10268"/>
                  <a:gd name="connsiteY4" fmla="*/ 11720 h 14796"/>
                  <a:gd name="connsiteX5" fmla="*/ 3832 w 10268"/>
                  <a:gd name="connsiteY5" fmla="*/ 1031 h 14796"/>
                  <a:gd name="connsiteX6" fmla="*/ 1030 w 10268"/>
                  <a:gd name="connsiteY6" fmla="*/ 272 h 14796"/>
                  <a:gd name="connsiteX7" fmla="*/ 272 w 10268"/>
                  <a:gd name="connsiteY7"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6">
                    <a:moveTo>
                      <a:pt x="272" y="3077"/>
                    </a:moveTo>
                    <a:lnTo>
                      <a:pt x="6436" y="13765"/>
                    </a:lnTo>
                    <a:cubicBezTo>
                      <a:pt x="6997" y="14754"/>
                      <a:pt x="8249" y="15084"/>
                      <a:pt x="9238" y="14523"/>
                    </a:cubicBezTo>
                    <a:lnTo>
                      <a:pt x="9238" y="14523"/>
                    </a:lnTo>
                    <a:cubicBezTo>
                      <a:pt x="10227" y="13963"/>
                      <a:pt x="10557" y="12709"/>
                      <a:pt x="9996" y="11720"/>
                    </a:cubicBezTo>
                    <a:lnTo>
                      <a:pt x="3832" y="1031"/>
                    </a:lnTo>
                    <a:cubicBezTo>
                      <a:pt x="3272" y="42"/>
                      <a:pt x="2019" y="-288"/>
                      <a:pt x="1030" y="272"/>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3" name="Freeform 1412">
                <a:extLst>
                  <a:ext uri="{FF2B5EF4-FFF2-40B4-BE49-F238E27FC236}">
                    <a16:creationId xmlns:a16="http://schemas.microsoft.com/office/drawing/2014/main" id="{86EC685D-C34A-2543-7EF7-766809F26D83}"/>
                  </a:ext>
                </a:extLst>
              </p:cNvPr>
              <p:cNvSpPr/>
              <p:nvPr/>
            </p:nvSpPr>
            <p:spPr>
              <a:xfrm>
                <a:off x="6006748" y="4451354"/>
                <a:ext cx="10268" cy="14795"/>
              </a:xfrm>
              <a:custGeom>
                <a:avLst/>
                <a:gdLst>
                  <a:gd name="connsiteX0" fmla="*/ 272 w 10268"/>
                  <a:gd name="connsiteY0" fmla="*/ 3077 h 14795"/>
                  <a:gd name="connsiteX1" fmla="*/ 6436 w 10268"/>
                  <a:gd name="connsiteY1" fmla="*/ 13765 h 14795"/>
                  <a:gd name="connsiteX2" fmla="*/ 9238 w 10268"/>
                  <a:gd name="connsiteY2" fmla="*/ 14523 h 14795"/>
                  <a:gd name="connsiteX3" fmla="*/ 9238 w 10268"/>
                  <a:gd name="connsiteY3" fmla="*/ 14523 h 14795"/>
                  <a:gd name="connsiteX4" fmla="*/ 9996 w 10268"/>
                  <a:gd name="connsiteY4" fmla="*/ 11719 h 14795"/>
                  <a:gd name="connsiteX5" fmla="*/ 3832 w 10268"/>
                  <a:gd name="connsiteY5" fmla="*/ 1031 h 14795"/>
                  <a:gd name="connsiteX6" fmla="*/ 1030 w 10268"/>
                  <a:gd name="connsiteY6" fmla="*/ 273 h 14795"/>
                  <a:gd name="connsiteX7" fmla="*/ 272 w 10268"/>
                  <a:gd name="connsiteY7" fmla="*/ 3077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272" y="3077"/>
                    </a:moveTo>
                    <a:lnTo>
                      <a:pt x="6436" y="13765"/>
                    </a:lnTo>
                    <a:cubicBezTo>
                      <a:pt x="6997" y="14754"/>
                      <a:pt x="8249" y="15084"/>
                      <a:pt x="9238" y="14523"/>
                    </a:cubicBezTo>
                    <a:lnTo>
                      <a:pt x="9238" y="14523"/>
                    </a:ln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4" name="Freeform 1413">
                <a:extLst>
                  <a:ext uri="{FF2B5EF4-FFF2-40B4-BE49-F238E27FC236}">
                    <a16:creationId xmlns:a16="http://schemas.microsoft.com/office/drawing/2014/main" id="{6BA93A4C-E3A4-F792-6DC9-D0F930B21A1B}"/>
                  </a:ext>
                </a:extLst>
              </p:cNvPr>
              <p:cNvSpPr/>
              <p:nvPr/>
            </p:nvSpPr>
            <p:spPr>
              <a:xfrm>
                <a:off x="5992343" y="4426382"/>
                <a:ext cx="10268" cy="14796"/>
              </a:xfrm>
              <a:custGeom>
                <a:avLst/>
                <a:gdLst>
                  <a:gd name="connsiteX0" fmla="*/ 272 w 10268"/>
                  <a:gd name="connsiteY0" fmla="*/ 3077 h 14796"/>
                  <a:gd name="connsiteX1" fmla="*/ 6436 w 10268"/>
                  <a:gd name="connsiteY1" fmla="*/ 13765 h 14796"/>
                  <a:gd name="connsiteX2" fmla="*/ 9238 w 10268"/>
                  <a:gd name="connsiteY2" fmla="*/ 14524 h 14796"/>
                  <a:gd name="connsiteX3" fmla="*/ 9996 w 10268"/>
                  <a:gd name="connsiteY3" fmla="*/ 11719 h 14796"/>
                  <a:gd name="connsiteX4" fmla="*/ 3832 w 10268"/>
                  <a:gd name="connsiteY4" fmla="*/ 1031 h 14796"/>
                  <a:gd name="connsiteX5" fmla="*/ 1030 w 10268"/>
                  <a:gd name="connsiteY5" fmla="*/ 273 h 14796"/>
                  <a:gd name="connsiteX6" fmla="*/ 272 w 10268"/>
                  <a:gd name="connsiteY6"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272" y="3077"/>
                    </a:moveTo>
                    <a:lnTo>
                      <a:pt x="6436" y="13765"/>
                    </a:lnTo>
                    <a:cubicBezTo>
                      <a:pt x="6997" y="14754"/>
                      <a:pt x="8249" y="15084"/>
                      <a:pt x="9238" y="14524"/>
                    </a:cubicBezTo>
                    <a:cubicBezTo>
                      <a:pt x="10227" y="13963"/>
                      <a:pt x="10557" y="12709"/>
                      <a:pt x="9996" y="11719"/>
                    </a:cubicBezTo>
                    <a:lnTo>
                      <a:pt x="3832" y="1031"/>
                    </a:lnTo>
                    <a:cubicBezTo>
                      <a:pt x="3272" y="42"/>
                      <a:pt x="2019" y="-288"/>
                      <a:pt x="1030" y="273"/>
                    </a:cubicBezTo>
                    <a:cubicBezTo>
                      <a:pt x="42" y="833"/>
                      <a:pt x="-288" y="2087"/>
                      <a:pt x="272" y="3077"/>
                    </a:cubicBezTo>
                    <a:close/>
                  </a:path>
                </a:pathLst>
              </a:custGeom>
              <a:solidFill>
                <a:srgbClr val="5856D6"/>
              </a:solidFill>
              <a:ln w="3283" cap="flat">
                <a:noFill/>
                <a:prstDash val="solid"/>
                <a:miter/>
              </a:ln>
            </p:spPr>
            <p:txBody>
              <a:bodyPr rtlCol="0" anchor="ctr"/>
              <a:lstStyle/>
              <a:p>
                <a:endParaRPr lang="en-US"/>
              </a:p>
            </p:txBody>
          </p:sp>
          <p:sp>
            <p:nvSpPr>
              <p:cNvPr id="1415" name="Freeform 1414">
                <a:extLst>
                  <a:ext uri="{FF2B5EF4-FFF2-40B4-BE49-F238E27FC236}">
                    <a16:creationId xmlns:a16="http://schemas.microsoft.com/office/drawing/2014/main" id="{95EF5ACE-4322-C46C-E9E6-C160A226D337}"/>
                  </a:ext>
                </a:extLst>
              </p:cNvPr>
              <p:cNvSpPr/>
              <p:nvPr/>
            </p:nvSpPr>
            <p:spPr>
              <a:xfrm>
                <a:off x="5977945" y="4401410"/>
                <a:ext cx="10261" cy="14796"/>
              </a:xfrm>
              <a:custGeom>
                <a:avLst/>
                <a:gdLst>
                  <a:gd name="connsiteX0" fmla="*/ 265 w 10261"/>
                  <a:gd name="connsiteY0" fmla="*/ 3077 h 14796"/>
                  <a:gd name="connsiteX1" fmla="*/ 6429 w 10261"/>
                  <a:gd name="connsiteY1" fmla="*/ 13765 h 14796"/>
                  <a:gd name="connsiteX2" fmla="*/ 9231 w 10261"/>
                  <a:gd name="connsiteY2" fmla="*/ 14524 h 14796"/>
                  <a:gd name="connsiteX3" fmla="*/ 9989 w 10261"/>
                  <a:gd name="connsiteY3" fmla="*/ 11719 h 14796"/>
                  <a:gd name="connsiteX4" fmla="*/ 3825 w 10261"/>
                  <a:gd name="connsiteY4" fmla="*/ 1031 h 14796"/>
                  <a:gd name="connsiteX5" fmla="*/ 1023 w 10261"/>
                  <a:gd name="connsiteY5" fmla="*/ 273 h 14796"/>
                  <a:gd name="connsiteX6" fmla="*/ 265 w 10261"/>
                  <a:gd name="connsiteY6" fmla="*/ 3077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1" h="14796">
                    <a:moveTo>
                      <a:pt x="265" y="3077"/>
                    </a:moveTo>
                    <a:lnTo>
                      <a:pt x="6429" y="13765"/>
                    </a:lnTo>
                    <a:cubicBezTo>
                      <a:pt x="6990" y="14755"/>
                      <a:pt x="8242" y="15084"/>
                      <a:pt x="9231" y="14524"/>
                    </a:cubicBezTo>
                    <a:cubicBezTo>
                      <a:pt x="10220" y="13963"/>
                      <a:pt x="10550" y="12709"/>
                      <a:pt x="9989" y="11719"/>
                    </a:cubicBezTo>
                    <a:lnTo>
                      <a:pt x="3825" y="1031"/>
                    </a:lnTo>
                    <a:cubicBezTo>
                      <a:pt x="3265" y="42"/>
                      <a:pt x="1979" y="-288"/>
                      <a:pt x="1023" y="273"/>
                    </a:cubicBezTo>
                    <a:cubicBezTo>
                      <a:pt x="67" y="833"/>
                      <a:pt x="-295" y="2087"/>
                      <a:pt x="265" y="3077"/>
                    </a:cubicBezTo>
                    <a:close/>
                  </a:path>
                </a:pathLst>
              </a:custGeom>
              <a:solidFill>
                <a:srgbClr val="5856D6"/>
              </a:solidFill>
              <a:ln w="3283" cap="flat">
                <a:noFill/>
                <a:prstDash val="solid"/>
                <a:miter/>
              </a:ln>
            </p:spPr>
            <p:txBody>
              <a:bodyPr rtlCol="0" anchor="ctr"/>
              <a:lstStyle/>
              <a:p>
                <a:endParaRPr lang="en-US"/>
              </a:p>
            </p:txBody>
          </p:sp>
          <p:sp>
            <p:nvSpPr>
              <p:cNvPr id="1416" name="Freeform 1415">
                <a:extLst>
                  <a:ext uri="{FF2B5EF4-FFF2-40B4-BE49-F238E27FC236}">
                    <a16:creationId xmlns:a16="http://schemas.microsoft.com/office/drawing/2014/main" id="{004D4006-5205-1FC0-6273-47DCBFBBE7AF}"/>
                  </a:ext>
                </a:extLst>
              </p:cNvPr>
              <p:cNvSpPr/>
              <p:nvPr/>
            </p:nvSpPr>
            <p:spPr>
              <a:xfrm>
                <a:off x="5962480" y="4377126"/>
                <a:ext cx="11190" cy="14192"/>
              </a:xfrm>
              <a:custGeom>
                <a:avLst/>
                <a:gdLst>
                  <a:gd name="connsiteX0" fmla="*/ 468 w 11190"/>
                  <a:gd name="connsiteY0" fmla="*/ 3278 h 14192"/>
                  <a:gd name="connsiteX1" fmla="*/ 7390 w 11190"/>
                  <a:gd name="connsiteY1" fmla="*/ 13241 h 14192"/>
                  <a:gd name="connsiteX2" fmla="*/ 10225 w 11190"/>
                  <a:gd name="connsiteY2" fmla="*/ 13901 h 14192"/>
                  <a:gd name="connsiteX3" fmla="*/ 10225 w 11190"/>
                  <a:gd name="connsiteY3" fmla="*/ 13901 h 14192"/>
                  <a:gd name="connsiteX4" fmla="*/ 10884 w 11190"/>
                  <a:gd name="connsiteY4" fmla="*/ 11064 h 14192"/>
                  <a:gd name="connsiteX5" fmla="*/ 3698 w 11190"/>
                  <a:gd name="connsiteY5" fmla="*/ 771 h 14192"/>
                  <a:gd name="connsiteX6" fmla="*/ 765 w 11190"/>
                  <a:gd name="connsiteY6" fmla="*/ 442 h 14192"/>
                  <a:gd name="connsiteX7" fmla="*/ 765 w 11190"/>
                  <a:gd name="connsiteY7" fmla="*/ 442 h 14192"/>
                  <a:gd name="connsiteX8" fmla="*/ 468 w 11190"/>
                  <a:gd name="connsiteY8" fmla="*/ 3278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0" h="14192">
                    <a:moveTo>
                      <a:pt x="468" y="3278"/>
                    </a:moveTo>
                    <a:cubicBezTo>
                      <a:pt x="2841" y="6544"/>
                      <a:pt x="5347" y="9744"/>
                      <a:pt x="7390" y="13241"/>
                    </a:cubicBezTo>
                    <a:cubicBezTo>
                      <a:pt x="7984" y="14198"/>
                      <a:pt x="9236" y="14462"/>
                      <a:pt x="10225" y="13901"/>
                    </a:cubicBezTo>
                    <a:lnTo>
                      <a:pt x="10225" y="13901"/>
                    </a:lnTo>
                    <a:cubicBezTo>
                      <a:pt x="11181" y="13307"/>
                      <a:pt x="11478" y="12053"/>
                      <a:pt x="10884" y="11064"/>
                    </a:cubicBezTo>
                    <a:cubicBezTo>
                      <a:pt x="8775" y="7435"/>
                      <a:pt x="6171" y="4136"/>
                      <a:pt x="3698" y="771"/>
                    </a:cubicBezTo>
                    <a:cubicBezTo>
                      <a:pt x="2973" y="-119"/>
                      <a:pt x="1655" y="-251"/>
                      <a:pt x="765" y="442"/>
                    </a:cubicBezTo>
                    <a:lnTo>
                      <a:pt x="765" y="442"/>
                    </a:lnTo>
                    <a:cubicBezTo>
                      <a:pt x="-125" y="1167"/>
                      <a:pt x="-257" y="2421"/>
                      <a:pt x="468" y="3278"/>
                    </a:cubicBezTo>
                    <a:close/>
                  </a:path>
                </a:pathLst>
              </a:custGeom>
              <a:solidFill>
                <a:srgbClr val="5856D6"/>
              </a:solidFill>
              <a:ln w="3283" cap="flat">
                <a:noFill/>
                <a:prstDash val="solid"/>
                <a:miter/>
              </a:ln>
            </p:spPr>
            <p:txBody>
              <a:bodyPr rtlCol="0" anchor="ctr"/>
              <a:lstStyle/>
              <a:p>
                <a:endParaRPr lang="en-US"/>
              </a:p>
            </p:txBody>
          </p:sp>
          <p:sp>
            <p:nvSpPr>
              <p:cNvPr id="1417" name="Freeform 1416">
                <a:extLst>
                  <a:ext uri="{FF2B5EF4-FFF2-40B4-BE49-F238E27FC236}">
                    <a16:creationId xmlns:a16="http://schemas.microsoft.com/office/drawing/2014/main" id="{51669B37-EEE0-00AD-7D1C-A1A125441B67}"/>
                  </a:ext>
                </a:extLst>
              </p:cNvPr>
              <p:cNvSpPr/>
              <p:nvPr/>
            </p:nvSpPr>
            <p:spPr>
              <a:xfrm>
                <a:off x="5942364" y="4356646"/>
                <a:ext cx="13324" cy="12286"/>
              </a:xfrm>
              <a:custGeom>
                <a:avLst/>
                <a:gdLst>
                  <a:gd name="connsiteX0" fmla="*/ 707 w 13324"/>
                  <a:gd name="connsiteY0" fmla="*/ 3668 h 12286"/>
                  <a:gd name="connsiteX1" fmla="*/ 9805 w 13324"/>
                  <a:gd name="connsiteY1" fmla="*/ 11717 h 12286"/>
                  <a:gd name="connsiteX2" fmla="*/ 12706 w 13324"/>
                  <a:gd name="connsiteY2" fmla="*/ 11717 h 12286"/>
                  <a:gd name="connsiteX3" fmla="*/ 12706 w 13324"/>
                  <a:gd name="connsiteY3" fmla="*/ 8782 h 12286"/>
                  <a:gd name="connsiteX4" fmla="*/ 3311 w 13324"/>
                  <a:gd name="connsiteY4" fmla="*/ 468 h 12286"/>
                  <a:gd name="connsiteX5" fmla="*/ 444 w 13324"/>
                  <a:gd name="connsiteY5" fmla="*/ 765 h 12286"/>
                  <a:gd name="connsiteX6" fmla="*/ 740 w 13324"/>
                  <a:gd name="connsiteY6" fmla="*/ 3668 h 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4" h="12286">
                    <a:moveTo>
                      <a:pt x="707" y="3668"/>
                    </a:moveTo>
                    <a:cubicBezTo>
                      <a:pt x="3905" y="6142"/>
                      <a:pt x="6872" y="8913"/>
                      <a:pt x="9805" y="11717"/>
                    </a:cubicBezTo>
                    <a:cubicBezTo>
                      <a:pt x="10629" y="12443"/>
                      <a:pt x="11882" y="12509"/>
                      <a:pt x="12706" y="11717"/>
                    </a:cubicBezTo>
                    <a:cubicBezTo>
                      <a:pt x="13497" y="10926"/>
                      <a:pt x="13563" y="9573"/>
                      <a:pt x="12706" y="8782"/>
                    </a:cubicBezTo>
                    <a:cubicBezTo>
                      <a:pt x="9673" y="5912"/>
                      <a:pt x="6608" y="3041"/>
                      <a:pt x="3311" y="468"/>
                    </a:cubicBezTo>
                    <a:cubicBezTo>
                      <a:pt x="2422" y="-257"/>
                      <a:pt x="1136" y="-125"/>
                      <a:pt x="444" y="765"/>
                    </a:cubicBezTo>
                    <a:cubicBezTo>
                      <a:pt x="-248" y="1656"/>
                      <a:pt x="-117" y="2976"/>
                      <a:pt x="740" y="3668"/>
                    </a:cubicBezTo>
                    <a:close/>
                  </a:path>
                </a:pathLst>
              </a:custGeom>
              <a:solidFill>
                <a:srgbClr val="5856D6"/>
              </a:solidFill>
              <a:ln w="3283" cap="flat">
                <a:noFill/>
                <a:prstDash val="solid"/>
                <a:miter/>
              </a:ln>
            </p:spPr>
            <p:txBody>
              <a:bodyPr rtlCol="0" anchor="ctr"/>
              <a:lstStyle/>
              <a:p>
                <a:endParaRPr lang="en-US"/>
              </a:p>
            </p:txBody>
          </p:sp>
          <p:sp>
            <p:nvSpPr>
              <p:cNvPr id="1418" name="Freeform 1417">
                <a:extLst>
                  <a:ext uri="{FF2B5EF4-FFF2-40B4-BE49-F238E27FC236}">
                    <a16:creationId xmlns:a16="http://schemas.microsoft.com/office/drawing/2014/main" id="{8D638A6C-B0CF-A4C9-2E1E-B1C41215D33F}"/>
                  </a:ext>
                </a:extLst>
              </p:cNvPr>
              <p:cNvSpPr/>
              <p:nvPr/>
            </p:nvSpPr>
            <p:spPr>
              <a:xfrm>
                <a:off x="5917971" y="4341364"/>
                <a:ext cx="14955" cy="9953"/>
              </a:xfrm>
              <a:custGeom>
                <a:avLst/>
                <a:gdLst>
                  <a:gd name="connsiteX0" fmla="*/ 1169 w 14955"/>
                  <a:gd name="connsiteY0" fmla="*/ 3875 h 9953"/>
                  <a:gd name="connsiteX1" fmla="*/ 6575 w 14955"/>
                  <a:gd name="connsiteY1" fmla="*/ 6646 h 9953"/>
                  <a:gd name="connsiteX2" fmla="*/ 11849 w 14955"/>
                  <a:gd name="connsiteY2" fmla="*/ 9648 h 9953"/>
                  <a:gd name="connsiteX3" fmla="*/ 14651 w 14955"/>
                  <a:gd name="connsiteY3" fmla="*/ 8988 h 9953"/>
                  <a:gd name="connsiteX4" fmla="*/ 13958 w 14955"/>
                  <a:gd name="connsiteY4" fmla="*/ 6151 h 9953"/>
                  <a:gd name="connsiteX5" fmla="*/ 8519 w 14955"/>
                  <a:gd name="connsiteY5" fmla="*/ 3050 h 9953"/>
                  <a:gd name="connsiteX6" fmla="*/ 2949 w 14955"/>
                  <a:gd name="connsiteY6" fmla="*/ 180 h 9953"/>
                  <a:gd name="connsiteX7" fmla="*/ 180 w 14955"/>
                  <a:gd name="connsiteY7" fmla="*/ 1170 h 9953"/>
                  <a:gd name="connsiteX8" fmla="*/ 1169 w 14955"/>
                  <a:gd name="connsiteY8" fmla="*/ 3875 h 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5" h="9953">
                    <a:moveTo>
                      <a:pt x="1169" y="3875"/>
                    </a:moveTo>
                    <a:cubicBezTo>
                      <a:pt x="3048" y="4666"/>
                      <a:pt x="4762" y="5722"/>
                      <a:pt x="6575" y="6646"/>
                    </a:cubicBezTo>
                    <a:cubicBezTo>
                      <a:pt x="8355" y="7569"/>
                      <a:pt x="10135" y="8559"/>
                      <a:pt x="11849" y="9648"/>
                    </a:cubicBezTo>
                    <a:cubicBezTo>
                      <a:pt x="12805" y="10241"/>
                      <a:pt x="14057" y="9944"/>
                      <a:pt x="14651" y="8988"/>
                    </a:cubicBezTo>
                    <a:cubicBezTo>
                      <a:pt x="15244" y="8031"/>
                      <a:pt x="14947" y="6745"/>
                      <a:pt x="13958" y="6151"/>
                    </a:cubicBezTo>
                    <a:cubicBezTo>
                      <a:pt x="12211" y="4996"/>
                      <a:pt x="10365" y="4007"/>
                      <a:pt x="8519" y="3050"/>
                    </a:cubicBezTo>
                    <a:cubicBezTo>
                      <a:pt x="6674" y="2093"/>
                      <a:pt x="4861" y="1005"/>
                      <a:pt x="2949" y="180"/>
                    </a:cubicBezTo>
                    <a:cubicBezTo>
                      <a:pt x="1894" y="-282"/>
                      <a:pt x="674" y="180"/>
                      <a:pt x="180" y="1170"/>
                    </a:cubicBezTo>
                    <a:cubicBezTo>
                      <a:pt x="-282" y="2192"/>
                      <a:pt x="180" y="3413"/>
                      <a:pt x="1169" y="3875"/>
                    </a:cubicBezTo>
                    <a:close/>
                  </a:path>
                </a:pathLst>
              </a:custGeom>
              <a:solidFill>
                <a:srgbClr val="5856D6"/>
              </a:solidFill>
              <a:ln w="3283" cap="flat">
                <a:noFill/>
                <a:prstDash val="solid"/>
                <a:miter/>
              </a:ln>
            </p:spPr>
            <p:txBody>
              <a:bodyPr rtlCol="0" anchor="ctr"/>
              <a:lstStyle/>
              <a:p>
                <a:endParaRPr lang="en-US"/>
              </a:p>
            </p:txBody>
          </p:sp>
          <p:sp>
            <p:nvSpPr>
              <p:cNvPr id="1419" name="Freeform 1418">
                <a:extLst>
                  <a:ext uri="{FF2B5EF4-FFF2-40B4-BE49-F238E27FC236}">
                    <a16:creationId xmlns:a16="http://schemas.microsoft.com/office/drawing/2014/main" id="{62963229-5114-B845-097B-04E11101FC54}"/>
                  </a:ext>
                </a:extLst>
              </p:cNvPr>
              <p:cNvSpPr/>
              <p:nvPr/>
            </p:nvSpPr>
            <p:spPr>
              <a:xfrm>
                <a:off x="5890814" y="4331922"/>
                <a:ext cx="16004" cy="7368"/>
              </a:xfrm>
              <a:custGeom>
                <a:avLst/>
                <a:gdLst>
                  <a:gd name="connsiteX0" fmla="*/ 1592 w 16004"/>
                  <a:gd name="connsiteY0" fmla="*/ 4114 h 7368"/>
                  <a:gd name="connsiteX1" fmla="*/ 7493 w 16004"/>
                  <a:gd name="connsiteY1" fmla="*/ 5499 h 7368"/>
                  <a:gd name="connsiteX2" fmla="*/ 13294 w 16004"/>
                  <a:gd name="connsiteY2" fmla="*/ 7281 h 7368"/>
                  <a:gd name="connsiteX3" fmla="*/ 15898 w 16004"/>
                  <a:gd name="connsiteY3" fmla="*/ 5928 h 7368"/>
                  <a:gd name="connsiteX4" fmla="*/ 14580 w 16004"/>
                  <a:gd name="connsiteY4" fmla="*/ 3355 h 7368"/>
                  <a:gd name="connsiteX5" fmla="*/ 8580 w 16004"/>
                  <a:gd name="connsiteY5" fmla="*/ 1508 h 7368"/>
                  <a:gd name="connsiteX6" fmla="*/ 2482 w 16004"/>
                  <a:gd name="connsiteY6" fmla="*/ 56 h 7368"/>
                  <a:gd name="connsiteX7" fmla="*/ 43 w 16004"/>
                  <a:gd name="connsiteY7" fmla="*/ 1606 h 7368"/>
                  <a:gd name="connsiteX8" fmla="*/ 43 w 16004"/>
                  <a:gd name="connsiteY8" fmla="*/ 1606 h 7368"/>
                  <a:gd name="connsiteX9" fmla="*/ 1625 w 16004"/>
                  <a:gd name="connsiteY9" fmla="*/ 4081 h 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4" h="7368">
                    <a:moveTo>
                      <a:pt x="1592" y="4114"/>
                    </a:moveTo>
                    <a:lnTo>
                      <a:pt x="7493" y="5499"/>
                    </a:lnTo>
                    <a:lnTo>
                      <a:pt x="13294" y="7281"/>
                    </a:lnTo>
                    <a:cubicBezTo>
                      <a:pt x="14349" y="7610"/>
                      <a:pt x="15536" y="6984"/>
                      <a:pt x="15898" y="5928"/>
                    </a:cubicBezTo>
                    <a:cubicBezTo>
                      <a:pt x="16261" y="4839"/>
                      <a:pt x="15667" y="3718"/>
                      <a:pt x="14580" y="3355"/>
                    </a:cubicBezTo>
                    <a:lnTo>
                      <a:pt x="8580" y="1508"/>
                    </a:lnTo>
                    <a:lnTo>
                      <a:pt x="2482" y="56"/>
                    </a:lnTo>
                    <a:cubicBezTo>
                      <a:pt x="1361" y="-208"/>
                      <a:pt x="274" y="485"/>
                      <a:pt x="43" y="1606"/>
                    </a:cubicBezTo>
                    <a:lnTo>
                      <a:pt x="43" y="1606"/>
                    </a:lnTo>
                    <a:cubicBezTo>
                      <a:pt x="-188" y="2695"/>
                      <a:pt x="537" y="3817"/>
                      <a:pt x="1625" y="4081"/>
                    </a:cubicBezTo>
                    <a:close/>
                  </a:path>
                </a:pathLst>
              </a:custGeom>
              <a:solidFill>
                <a:srgbClr val="5856D6"/>
              </a:solidFill>
              <a:ln w="3283" cap="flat">
                <a:noFill/>
                <a:prstDash val="solid"/>
                <a:miter/>
              </a:ln>
            </p:spPr>
            <p:txBody>
              <a:bodyPr rtlCol="0" anchor="ctr"/>
              <a:lstStyle/>
              <a:p>
                <a:endParaRPr lang="en-US"/>
              </a:p>
            </p:txBody>
          </p:sp>
          <p:sp>
            <p:nvSpPr>
              <p:cNvPr id="1420" name="Freeform 1419">
                <a:extLst>
                  <a:ext uri="{FF2B5EF4-FFF2-40B4-BE49-F238E27FC236}">
                    <a16:creationId xmlns:a16="http://schemas.microsoft.com/office/drawing/2014/main" id="{3AAAFA9F-D8FA-3B32-0897-C6143EAEF34C}"/>
                  </a:ext>
                </a:extLst>
              </p:cNvPr>
              <p:cNvSpPr/>
              <p:nvPr/>
            </p:nvSpPr>
            <p:spPr>
              <a:xfrm>
                <a:off x="5862212" y="4329108"/>
                <a:ext cx="16423" cy="4560"/>
              </a:xfrm>
              <a:custGeom>
                <a:avLst/>
                <a:gdLst>
                  <a:gd name="connsiteX0" fmla="*/ 2044 w 16423"/>
                  <a:gd name="connsiteY0" fmla="*/ 4091 h 4560"/>
                  <a:gd name="connsiteX1" fmla="*/ 14207 w 16423"/>
                  <a:gd name="connsiteY1" fmla="*/ 4552 h 4560"/>
                  <a:gd name="connsiteX2" fmla="*/ 16416 w 16423"/>
                  <a:gd name="connsiteY2" fmla="*/ 2705 h 4560"/>
                  <a:gd name="connsiteX3" fmla="*/ 14537 w 16423"/>
                  <a:gd name="connsiteY3" fmla="*/ 462 h 4560"/>
                  <a:gd name="connsiteX4" fmla="*/ 2044 w 16423"/>
                  <a:gd name="connsiteY4" fmla="*/ 0 h 4560"/>
                  <a:gd name="connsiteX5" fmla="*/ 0 w 16423"/>
                  <a:gd name="connsiteY5" fmla="*/ 2045 h 4560"/>
                  <a:gd name="connsiteX6" fmla="*/ 2044 w 16423"/>
                  <a:gd name="connsiteY6" fmla="*/ 4091 h 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3" h="4560">
                    <a:moveTo>
                      <a:pt x="2044" y="4091"/>
                    </a:moveTo>
                    <a:cubicBezTo>
                      <a:pt x="6164" y="4124"/>
                      <a:pt x="10153" y="4189"/>
                      <a:pt x="14207" y="4552"/>
                    </a:cubicBezTo>
                    <a:cubicBezTo>
                      <a:pt x="15295" y="4651"/>
                      <a:pt x="16317" y="3827"/>
                      <a:pt x="16416" y="2705"/>
                    </a:cubicBezTo>
                    <a:cubicBezTo>
                      <a:pt x="16515" y="1583"/>
                      <a:pt x="15690" y="561"/>
                      <a:pt x="14537" y="462"/>
                    </a:cubicBezTo>
                    <a:cubicBezTo>
                      <a:pt x="10383" y="99"/>
                      <a:pt x="6131" y="33"/>
                      <a:pt x="2044" y="0"/>
                    </a:cubicBez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1" name="Freeform 1420">
                <a:extLst>
                  <a:ext uri="{FF2B5EF4-FFF2-40B4-BE49-F238E27FC236}">
                    <a16:creationId xmlns:a16="http://schemas.microsoft.com/office/drawing/2014/main" id="{96EAB531-A4E1-5E8D-1DC6-97FF30BC1BEB}"/>
                  </a:ext>
                </a:extLst>
              </p:cNvPr>
              <p:cNvSpPr/>
              <p:nvPr/>
            </p:nvSpPr>
            <p:spPr>
              <a:xfrm>
                <a:off x="5833402"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2" name="Freeform 1421">
                <a:extLst>
                  <a:ext uri="{FF2B5EF4-FFF2-40B4-BE49-F238E27FC236}">
                    <a16:creationId xmlns:a16="http://schemas.microsoft.com/office/drawing/2014/main" id="{F567E01A-E190-2C88-8580-CA63D46AC74A}"/>
                  </a:ext>
                </a:extLst>
              </p:cNvPr>
              <p:cNvSpPr/>
              <p:nvPr/>
            </p:nvSpPr>
            <p:spPr>
              <a:xfrm>
                <a:off x="580459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3" name="Freeform 1422">
                <a:extLst>
                  <a:ext uri="{FF2B5EF4-FFF2-40B4-BE49-F238E27FC236}">
                    <a16:creationId xmlns:a16="http://schemas.microsoft.com/office/drawing/2014/main" id="{6D61A79F-6697-98E1-2028-3181910EA37C}"/>
                  </a:ext>
                </a:extLst>
              </p:cNvPr>
              <p:cNvSpPr/>
              <p:nvPr/>
            </p:nvSpPr>
            <p:spPr>
              <a:xfrm>
                <a:off x="577578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4" name="Freeform 1423">
                <a:extLst>
                  <a:ext uri="{FF2B5EF4-FFF2-40B4-BE49-F238E27FC236}">
                    <a16:creationId xmlns:a16="http://schemas.microsoft.com/office/drawing/2014/main" id="{030761CA-C217-3A00-B332-904A0943E646}"/>
                  </a:ext>
                </a:extLst>
              </p:cNvPr>
              <p:cNvSpPr/>
              <p:nvPr/>
            </p:nvSpPr>
            <p:spPr>
              <a:xfrm>
                <a:off x="574697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5" name="Freeform 1424">
                <a:extLst>
                  <a:ext uri="{FF2B5EF4-FFF2-40B4-BE49-F238E27FC236}">
                    <a16:creationId xmlns:a16="http://schemas.microsoft.com/office/drawing/2014/main" id="{3F8873EA-BAB9-AE81-084E-2DD50F0A1F54}"/>
                  </a:ext>
                </a:extLst>
              </p:cNvPr>
              <p:cNvSpPr/>
              <p:nvPr/>
            </p:nvSpPr>
            <p:spPr>
              <a:xfrm>
                <a:off x="5718163" y="4329108"/>
                <a:ext cx="16448" cy="4090"/>
              </a:xfrm>
              <a:custGeom>
                <a:avLst/>
                <a:gdLst>
                  <a:gd name="connsiteX0" fmla="*/ 2044 w 16448"/>
                  <a:gd name="connsiteY0" fmla="*/ 4091 h 4090"/>
                  <a:gd name="connsiteX1" fmla="*/ 14405 w 16448"/>
                  <a:gd name="connsiteY1" fmla="*/ 4091 h 4090"/>
                  <a:gd name="connsiteX2" fmla="*/ 16449 w 16448"/>
                  <a:gd name="connsiteY2" fmla="*/ 2045 h 4090"/>
                  <a:gd name="connsiteX3" fmla="*/ 14405 w 16448"/>
                  <a:gd name="connsiteY3" fmla="*/ 0 h 4090"/>
                  <a:gd name="connsiteX4" fmla="*/ 2044 w 16448"/>
                  <a:gd name="connsiteY4" fmla="*/ 0 h 4090"/>
                  <a:gd name="connsiteX5" fmla="*/ 0 w 16448"/>
                  <a:gd name="connsiteY5" fmla="*/ 2045 h 4090"/>
                  <a:gd name="connsiteX6" fmla="*/ 2044 w 16448"/>
                  <a:gd name="connsiteY6" fmla="*/ 4091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2044" y="4091"/>
                    </a:moveTo>
                    <a:lnTo>
                      <a:pt x="14405" y="4091"/>
                    </a:lnTo>
                    <a:cubicBezTo>
                      <a:pt x="15526" y="4091"/>
                      <a:pt x="16449" y="3167"/>
                      <a:pt x="16449" y="2045"/>
                    </a:cubicBezTo>
                    <a:cubicBezTo>
                      <a:pt x="16449" y="924"/>
                      <a:pt x="15526" y="0"/>
                      <a:pt x="14405" y="0"/>
                    </a:cubicBezTo>
                    <a:lnTo>
                      <a:pt x="2044" y="0"/>
                    </a:lnTo>
                    <a:cubicBezTo>
                      <a:pt x="923" y="0"/>
                      <a:pt x="0" y="924"/>
                      <a:pt x="0" y="2045"/>
                    </a:cubicBezTo>
                    <a:cubicBezTo>
                      <a:pt x="0" y="3167"/>
                      <a:pt x="923" y="4091"/>
                      <a:pt x="2044" y="4091"/>
                    </a:cubicBezTo>
                    <a:close/>
                  </a:path>
                </a:pathLst>
              </a:custGeom>
              <a:solidFill>
                <a:srgbClr val="5856D6"/>
              </a:solidFill>
              <a:ln w="3283" cap="flat">
                <a:noFill/>
                <a:prstDash val="solid"/>
                <a:miter/>
              </a:ln>
            </p:spPr>
            <p:txBody>
              <a:bodyPr rtlCol="0" anchor="ctr"/>
              <a:lstStyle/>
              <a:p>
                <a:endParaRPr lang="en-US"/>
              </a:p>
            </p:txBody>
          </p:sp>
          <p:sp>
            <p:nvSpPr>
              <p:cNvPr id="1426" name="Freeform 1425">
                <a:extLst>
                  <a:ext uri="{FF2B5EF4-FFF2-40B4-BE49-F238E27FC236}">
                    <a16:creationId xmlns:a16="http://schemas.microsoft.com/office/drawing/2014/main" id="{E8E46E06-7062-CF4D-FEC2-FE921E1AED71}"/>
                  </a:ext>
                </a:extLst>
              </p:cNvPr>
              <p:cNvSpPr/>
              <p:nvPr/>
            </p:nvSpPr>
            <p:spPr>
              <a:xfrm>
                <a:off x="5689372" y="4329108"/>
                <a:ext cx="16429" cy="4791"/>
              </a:xfrm>
              <a:custGeom>
                <a:avLst/>
                <a:gdLst>
                  <a:gd name="connsiteX0" fmla="*/ 2255 w 16429"/>
                  <a:gd name="connsiteY0" fmla="*/ 4750 h 4791"/>
                  <a:gd name="connsiteX1" fmla="*/ 14386 w 16429"/>
                  <a:gd name="connsiteY1" fmla="*/ 4091 h 4791"/>
                  <a:gd name="connsiteX2" fmla="*/ 16430 w 16429"/>
                  <a:gd name="connsiteY2" fmla="*/ 2045 h 4791"/>
                  <a:gd name="connsiteX3" fmla="*/ 14386 w 16429"/>
                  <a:gd name="connsiteY3" fmla="*/ 0 h 4791"/>
                  <a:gd name="connsiteX4" fmla="*/ 1860 w 16429"/>
                  <a:gd name="connsiteY4" fmla="*/ 693 h 4791"/>
                  <a:gd name="connsiteX5" fmla="*/ 14 w 16429"/>
                  <a:gd name="connsiteY5" fmla="*/ 2936 h 4791"/>
                  <a:gd name="connsiteX6" fmla="*/ 2255 w 16429"/>
                  <a:gd name="connsiteY6" fmla="*/ 4783 h 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 h="4791">
                    <a:moveTo>
                      <a:pt x="2255" y="4750"/>
                    </a:moveTo>
                    <a:cubicBezTo>
                      <a:pt x="6277" y="4222"/>
                      <a:pt x="10331" y="4255"/>
                      <a:pt x="14386" y="4091"/>
                    </a:cubicBezTo>
                    <a:cubicBezTo>
                      <a:pt x="15507" y="4091"/>
                      <a:pt x="16430" y="3167"/>
                      <a:pt x="16430" y="2045"/>
                    </a:cubicBezTo>
                    <a:cubicBezTo>
                      <a:pt x="16430" y="924"/>
                      <a:pt x="15507" y="0"/>
                      <a:pt x="14386" y="0"/>
                    </a:cubicBezTo>
                    <a:cubicBezTo>
                      <a:pt x="10199" y="165"/>
                      <a:pt x="6013" y="165"/>
                      <a:pt x="1860" y="693"/>
                    </a:cubicBezTo>
                    <a:cubicBezTo>
                      <a:pt x="706" y="792"/>
                      <a:pt x="-118" y="1814"/>
                      <a:pt x="14" y="2936"/>
                    </a:cubicBezTo>
                    <a:cubicBezTo>
                      <a:pt x="146" y="4058"/>
                      <a:pt x="1168" y="4882"/>
                      <a:pt x="2255" y="4783"/>
                    </a:cubicBezTo>
                    <a:close/>
                  </a:path>
                </a:pathLst>
              </a:custGeom>
              <a:solidFill>
                <a:srgbClr val="5856D6"/>
              </a:solidFill>
              <a:ln w="3283" cap="flat">
                <a:noFill/>
                <a:prstDash val="solid"/>
                <a:miter/>
              </a:ln>
            </p:spPr>
            <p:txBody>
              <a:bodyPr rtlCol="0" anchor="ctr"/>
              <a:lstStyle/>
              <a:p>
                <a:endParaRPr lang="en-US"/>
              </a:p>
            </p:txBody>
          </p:sp>
          <p:sp>
            <p:nvSpPr>
              <p:cNvPr id="1427" name="Freeform 1426">
                <a:extLst>
                  <a:ext uri="{FF2B5EF4-FFF2-40B4-BE49-F238E27FC236}">
                    <a16:creationId xmlns:a16="http://schemas.microsoft.com/office/drawing/2014/main" id="{A1111A9F-FEC3-A6EC-AA21-CFF0DD59F844}"/>
                  </a:ext>
                </a:extLst>
              </p:cNvPr>
              <p:cNvSpPr/>
              <p:nvPr/>
            </p:nvSpPr>
            <p:spPr>
              <a:xfrm>
                <a:off x="5661273" y="4332515"/>
                <a:ext cx="15972" cy="7506"/>
              </a:xfrm>
              <a:custGeom>
                <a:avLst/>
                <a:gdLst>
                  <a:gd name="connsiteX0" fmla="*/ 2731 w 15972"/>
                  <a:gd name="connsiteY0" fmla="*/ 7380 h 7506"/>
                  <a:gd name="connsiteX1" fmla="*/ 14400 w 15972"/>
                  <a:gd name="connsiteY1" fmla="*/ 4048 h 7506"/>
                  <a:gd name="connsiteX2" fmla="*/ 15916 w 15972"/>
                  <a:gd name="connsiteY2" fmla="*/ 1574 h 7506"/>
                  <a:gd name="connsiteX3" fmla="*/ 13444 w 15972"/>
                  <a:gd name="connsiteY3" fmla="*/ 56 h 7506"/>
                  <a:gd name="connsiteX4" fmla="*/ 1379 w 15972"/>
                  <a:gd name="connsiteY4" fmla="*/ 3487 h 7506"/>
                  <a:gd name="connsiteX5" fmla="*/ 127 w 15972"/>
                  <a:gd name="connsiteY5" fmla="*/ 6159 h 7506"/>
                  <a:gd name="connsiteX6" fmla="*/ 2731 w 15972"/>
                  <a:gd name="connsiteY6" fmla="*/ 7380 h 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2" h="7506">
                    <a:moveTo>
                      <a:pt x="2731" y="7380"/>
                    </a:moveTo>
                    <a:cubicBezTo>
                      <a:pt x="6588" y="6192"/>
                      <a:pt x="10444" y="4873"/>
                      <a:pt x="14400" y="4048"/>
                    </a:cubicBezTo>
                    <a:cubicBezTo>
                      <a:pt x="15488" y="3784"/>
                      <a:pt x="16180" y="2695"/>
                      <a:pt x="15916" y="1574"/>
                    </a:cubicBezTo>
                    <a:cubicBezTo>
                      <a:pt x="15686" y="485"/>
                      <a:pt x="14565" y="-208"/>
                      <a:pt x="13444" y="56"/>
                    </a:cubicBezTo>
                    <a:cubicBezTo>
                      <a:pt x="9357" y="914"/>
                      <a:pt x="5368" y="2266"/>
                      <a:pt x="1379" y="3487"/>
                    </a:cubicBezTo>
                    <a:cubicBezTo>
                      <a:pt x="292" y="3883"/>
                      <a:pt x="-269" y="5103"/>
                      <a:pt x="127" y="6159"/>
                    </a:cubicBezTo>
                    <a:cubicBezTo>
                      <a:pt x="522" y="7215"/>
                      <a:pt x="1676" y="7776"/>
                      <a:pt x="2731" y="7380"/>
                    </a:cubicBezTo>
                    <a:close/>
                  </a:path>
                </a:pathLst>
              </a:custGeom>
              <a:solidFill>
                <a:srgbClr val="5856D6"/>
              </a:solidFill>
              <a:ln w="3283" cap="flat">
                <a:noFill/>
                <a:prstDash val="solid"/>
                <a:miter/>
              </a:ln>
            </p:spPr>
            <p:txBody>
              <a:bodyPr rtlCol="0" anchor="ctr"/>
              <a:lstStyle/>
              <a:p>
                <a:endParaRPr lang="en-US"/>
              </a:p>
            </p:txBody>
          </p:sp>
          <p:sp>
            <p:nvSpPr>
              <p:cNvPr id="1428" name="Freeform 1427">
                <a:extLst>
                  <a:ext uri="{FF2B5EF4-FFF2-40B4-BE49-F238E27FC236}">
                    <a16:creationId xmlns:a16="http://schemas.microsoft.com/office/drawing/2014/main" id="{8BA4DEFE-008C-580E-B4DE-75001D6C7E6C}"/>
                  </a:ext>
                </a:extLst>
              </p:cNvPr>
              <p:cNvSpPr/>
              <p:nvPr/>
            </p:nvSpPr>
            <p:spPr>
              <a:xfrm>
                <a:off x="5635360" y="4342254"/>
                <a:ext cx="14873" cy="10204"/>
              </a:xfrm>
              <a:custGeom>
                <a:avLst/>
                <a:gdLst>
                  <a:gd name="connsiteX0" fmla="*/ 3196 w 14873"/>
                  <a:gd name="connsiteY0" fmla="*/ 9913 h 10204"/>
                  <a:gd name="connsiteX1" fmla="*/ 13744 w 14873"/>
                  <a:gd name="connsiteY1" fmla="*/ 3909 h 10204"/>
                  <a:gd name="connsiteX2" fmla="*/ 14667 w 14873"/>
                  <a:gd name="connsiteY2" fmla="*/ 1171 h 10204"/>
                  <a:gd name="connsiteX3" fmla="*/ 11898 w 14873"/>
                  <a:gd name="connsiteY3" fmla="*/ 214 h 10204"/>
                  <a:gd name="connsiteX4" fmla="*/ 988 w 14873"/>
                  <a:gd name="connsiteY4" fmla="*/ 6416 h 10204"/>
                  <a:gd name="connsiteX5" fmla="*/ 328 w 14873"/>
                  <a:gd name="connsiteY5" fmla="*/ 9253 h 10204"/>
                  <a:gd name="connsiteX6" fmla="*/ 3163 w 14873"/>
                  <a:gd name="connsiteY6" fmla="*/ 9913 h 1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3" h="10204">
                    <a:moveTo>
                      <a:pt x="3196" y="9913"/>
                    </a:moveTo>
                    <a:cubicBezTo>
                      <a:pt x="6591" y="7670"/>
                      <a:pt x="10184" y="5822"/>
                      <a:pt x="13744" y="3909"/>
                    </a:cubicBezTo>
                    <a:cubicBezTo>
                      <a:pt x="14733" y="3381"/>
                      <a:pt x="15162" y="2227"/>
                      <a:pt x="14667" y="1171"/>
                    </a:cubicBezTo>
                    <a:cubicBezTo>
                      <a:pt x="14206" y="181"/>
                      <a:pt x="12920" y="-313"/>
                      <a:pt x="11898" y="214"/>
                    </a:cubicBezTo>
                    <a:cubicBezTo>
                      <a:pt x="8207" y="2161"/>
                      <a:pt x="4482" y="4107"/>
                      <a:pt x="988" y="6416"/>
                    </a:cubicBezTo>
                    <a:cubicBezTo>
                      <a:pt x="-1" y="7010"/>
                      <a:pt x="-298" y="8297"/>
                      <a:pt x="328" y="9253"/>
                    </a:cubicBezTo>
                    <a:cubicBezTo>
                      <a:pt x="955" y="10210"/>
                      <a:pt x="2240" y="10474"/>
                      <a:pt x="3163" y="9913"/>
                    </a:cubicBezTo>
                    <a:close/>
                  </a:path>
                </a:pathLst>
              </a:custGeom>
              <a:solidFill>
                <a:srgbClr val="5856D6"/>
              </a:solidFill>
              <a:ln w="3283" cap="flat">
                <a:noFill/>
                <a:prstDash val="solid"/>
                <a:miter/>
              </a:ln>
            </p:spPr>
            <p:txBody>
              <a:bodyPr rtlCol="0" anchor="ctr"/>
              <a:lstStyle/>
              <a:p>
                <a:endParaRPr lang="en-US"/>
              </a:p>
            </p:txBody>
          </p:sp>
          <p:sp>
            <p:nvSpPr>
              <p:cNvPr id="1429" name="Freeform 1428">
                <a:extLst>
                  <a:ext uri="{FF2B5EF4-FFF2-40B4-BE49-F238E27FC236}">
                    <a16:creationId xmlns:a16="http://schemas.microsoft.com/office/drawing/2014/main" id="{57DB3993-8EE5-3B0A-D877-8EECF3A5EAFB}"/>
                  </a:ext>
                </a:extLst>
              </p:cNvPr>
              <p:cNvSpPr/>
              <p:nvPr/>
            </p:nvSpPr>
            <p:spPr>
              <a:xfrm>
                <a:off x="5613063" y="4358084"/>
                <a:ext cx="13147" cy="12469"/>
              </a:xfrm>
              <a:custGeom>
                <a:avLst/>
                <a:gdLst>
                  <a:gd name="connsiteX0" fmla="*/ 3474 w 13147"/>
                  <a:gd name="connsiteY0" fmla="*/ 11797 h 12469"/>
                  <a:gd name="connsiteX1" fmla="*/ 7858 w 13147"/>
                  <a:gd name="connsiteY1" fmla="*/ 7607 h 12469"/>
                  <a:gd name="connsiteX2" fmla="*/ 12407 w 13147"/>
                  <a:gd name="connsiteY2" fmla="*/ 3616 h 12469"/>
                  <a:gd name="connsiteX3" fmla="*/ 12704 w 13147"/>
                  <a:gd name="connsiteY3" fmla="*/ 746 h 12469"/>
                  <a:gd name="connsiteX4" fmla="*/ 9803 w 13147"/>
                  <a:gd name="connsiteY4" fmla="*/ 482 h 12469"/>
                  <a:gd name="connsiteX5" fmla="*/ 5089 w 13147"/>
                  <a:gd name="connsiteY5" fmla="*/ 4605 h 12469"/>
                  <a:gd name="connsiteX6" fmla="*/ 573 w 13147"/>
                  <a:gd name="connsiteY6" fmla="*/ 8960 h 12469"/>
                  <a:gd name="connsiteX7" fmla="*/ 639 w 13147"/>
                  <a:gd name="connsiteY7" fmla="*/ 11896 h 12469"/>
                  <a:gd name="connsiteX8" fmla="*/ 3507 w 13147"/>
                  <a:gd name="connsiteY8" fmla="*/ 11830 h 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7" h="12469">
                    <a:moveTo>
                      <a:pt x="3474" y="11797"/>
                    </a:moveTo>
                    <a:cubicBezTo>
                      <a:pt x="4826" y="10279"/>
                      <a:pt x="6408" y="8993"/>
                      <a:pt x="7858" y="7607"/>
                    </a:cubicBezTo>
                    <a:cubicBezTo>
                      <a:pt x="9309" y="6189"/>
                      <a:pt x="10825" y="4836"/>
                      <a:pt x="12407" y="3616"/>
                    </a:cubicBezTo>
                    <a:cubicBezTo>
                      <a:pt x="13264" y="2923"/>
                      <a:pt x="13396" y="1603"/>
                      <a:pt x="12704" y="746"/>
                    </a:cubicBezTo>
                    <a:cubicBezTo>
                      <a:pt x="12012" y="-145"/>
                      <a:pt x="10693" y="-244"/>
                      <a:pt x="9803" y="482"/>
                    </a:cubicBezTo>
                    <a:cubicBezTo>
                      <a:pt x="8155" y="1768"/>
                      <a:pt x="6606" y="3154"/>
                      <a:pt x="5089" y="4605"/>
                    </a:cubicBezTo>
                    <a:cubicBezTo>
                      <a:pt x="3573" y="6057"/>
                      <a:pt x="1958" y="7409"/>
                      <a:pt x="573" y="8960"/>
                    </a:cubicBezTo>
                    <a:cubicBezTo>
                      <a:pt x="-218" y="9785"/>
                      <a:pt x="-185" y="11137"/>
                      <a:pt x="639" y="11896"/>
                    </a:cubicBezTo>
                    <a:cubicBezTo>
                      <a:pt x="1463" y="12688"/>
                      <a:pt x="2749" y="12655"/>
                      <a:pt x="3507" y="11830"/>
                    </a:cubicBezTo>
                    <a:close/>
                  </a:path>
                </a:pathLst>
              </a:custGeom>
              <a:solidFill>
                <a:srgbClr val="5856D6"/>
              </a:solidFill>
              <a:ln w="3283" cap="flat">
                <a:noFill/>
                <a:prstDash val="solid"/>
                <a:miter/>
              </a:ln>
            </p:spPr>
            <p:txBody>
              <a:bodyPr rtlCol="0" anchor="ctr"/>
              <a:lstStyle/>
              <a:p>
                <a:endParaRPr lang="en-US"/>
              </a:p>
            </p:txBody>
          </p:sp>
          <p:sp>
            <p:nvSpPr>
              <p:cNvPr id="1430" name="Freeform 1429">
                <a:extLst>
                  <a:ext uri="{FF2B5EF4-FFF2-40B4-BE49-F238E27FC236}">
                    <a16:creationId xmlns:a16="http://schemas.microsoft.com/office/drawing/2014/main" id="{DAA65389-495D-12EE-28C3-0FB504644E6C}"/>
                  </a:ext>
                </a:extLst>
              </p:cNvPr>
              <p:cNvSpPr/>
              <p:nvPr/>
            </p:nvSpPr>
            <p:spPr>
              <a:xfrm>
                <a:off x="5595399" y="4378892"/>
                <a:ext cx="10968" cy="14330"/>
              </a:xfrm>
              <a:custGeom>
                <a:avLst/>
                <a:gdLst>
                  <a:gd name="connsiteX0" fmla="*/ 3800 w 10968"/>
                  <a:gd name="connsiteY0" fmla="*/ 13356 h 14330"/>
                  <a:gd name="connsiteX1" fmla="*/ 7030 w 10968"/>
                  <a:gd name="connsiteY1" fmla="*/ 8209 h 14330"/>
                  <a:gd name="connsiteX2" fmla="*/ 10590 w 10968"/>
                  <a:gd name="connsiteY2" fmla="*/ 3294 h 14330"/>
                  <a:gd name="connsiteX3" fmla="*/ 10195 w 10968"/>
                  <a:gd name="connsiteY3" fmla="*/ 424 h 14330"/>
                  <a:gd name="connsiteX4" fmla="*/ 7327 w 10968"/>
                  <a:gd name="connsiteY4" fmla="*/ 853 h 14330"/>
                  <a:gd name="connsiteX5" fmla="*/ 3668 w 10968"/>
                  <a:gd name="connsiteY5" fmla="*/ 5933 h 14330"/>
                  <a:gd name="connsiteX6" fmla="*/ 306 w 10968"/>
                  <a:gd name="connsiteY6" fmla="*/ 11244 h 14330"/>
                  <a:gd name="connsiteX7" fmla="*/ 965 w 10968"/>
                  <a:gd name="connsiteY7" fmla="*/ 14048 h 14330"/>
                  <a:gd name="connsiteX8" fmla="*/ 3800 w 10968"/>
                  <a:gd name="connsiteY8" fmla="*/ 13356 h 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68" h="14330">
                    <a:moveTo>
                      <a:pt x="3800" y="13356"/>
                    </a:moveTo>
                    <a:cubicBezTo>
                      <a:pt x="4888" y="11640"/>
                      <a:pt x="5910" y="9892"/>
                      <a:pt x="7030" y="8209"/>
                    </a:cubicBezTo>
                    <a:lnTo>
                      <a:pt x="10590" y="3294"/>
                    </a:lnTo>
                    <a:cubicBezTo>
                      <a:pt x="11217" y="2370"/>
                      <a:pt x="11052" y="1084"/>
                      <a:pt x="10195" y="424"/>
                    </a:cubicBezTo>
                    <a:cubicBezTo>
                      <a:pt x="9305" y="-269"/>
                      <a:pt x="7986" y="-104"/>
                      <a:pt x="7327" y="853"/>
                    </a:cubicBezTo>
                    <a:lnTo>
                      <a:pt x="3668" y="5933"/>
                    </a:lnTo>
                    <a:cubicBezTo>
                      <a:pt x="2514" y="7681"/>
                      <a:pt x="1427" y="9463"/>
                      <a:pt x="306" y="11244"/>
                    </a:cubicBezTo>
                    <a:cubicBezTo>
                      <a:pt x="-288" y="12234"/>
                      <a:pt x="9" y="13487"/>
                      <a:pt x="965" y="14048"/>
                    </a:cubicBezTo>
                    <a:cubicBezTo>
                      <a:pt x="1954" y="14609"/>
                      <a:pt x="3207" y="14312"/>
                      <a:pt x="3800" y="13356"/>
                    </a:cubicBezTo>
                    <a:close/>
                  </a:path>
                </a:pathLst>
              </a:custGeom>
              <a:solidFill>
                <a:srgbClr val="5856D6"/>
              </a:solidFill>
              <a:ln w="3283" cap="flat">
                <a:noFill/>
                <a:prstDash val="solid"/>
                <a:miter/>
              </a:ln>
            </p:spPr>
            <p:txBody>
              <a:bodyPr rtlCol="0" anchor="ctr"/>
              <a:lstStyle/>
              <a:p>
                <a:endParaRPr lang="en-US"/>
              </a:p>
            </p:txBody>
          </p:sp>
          <p:sp>
            <p:nvSpPr>
              <p:cNvPr id="1431" name="Freeform 1430">
                <a:extLst>
                  <a:ext uri="{FF2B5EF4-FFF2-40B4-BE49-F238E27FC236}">
                    <a16:creationId xmlns:a16="http://schemas.microsoft.com/office/drawing/2014/main" id="{03BDD814-902A-5C03-2CBA-13A9540FEB05}"/>
                  </a:ext>
                </a:extLst>
              </p:cNvPr>
              <p:cNvSpPr/>
              <p:nvPr/>
            </p:nvSpPr>
            <p:spPr>
              <a:xfrm>
                <a:off x="5580895" y="4403356"/>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2" name="Freeform 1431">
                <a:extLst>
                  <a:ext uri="{FF2B5EF4-FFF2-40B4-BE49-F238E27FC236}">
                    <a16:creationId xmlns:a16="http://schemas.microsoft.com/office/drawing/2014/main" id="{770D43B6-6640-5360-AC8C-F6188F23AEA1}"/>
                  </a:ext>
                </a:extLst>
              </p:cNvPr>
              <p:cNvSpPr/>
              <p:nvPr/>
            </p:nvSpPr>
            <p:spPr>
              <a:xfrm>
                <a:off x="5566490" y="4428328"/>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3" name="Freeform 1432">
                <a:extLst>
                  <a:ext uri="{FF2B5EF4-FFF2-40B4-BE49-F238E27FC236}">
                    <a16:creationId xmlns:a16="http://schemas.microsoft.com/office/drawing/2014/main" id="{02B121CC-667C-4CAA-32FC-BD0499DB74FF}"/>
                  </a:ext>
                </a:extLst>
              </p:cNvPr>
              <p:cNvSpPr/>
              <p:nvPr/>
            </p:nvSpPr>
            <p:spPr>
              <a:xfrm>
                <a:off x="5552085" y="4453300"/>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4" name="Freeform 1433">
                <a:extLst>
                  <a:ext uri="{FF2B5EF4-FFF2-40B4-BE49-F238E27FC236}">
                    <a16:creationId xmlns:a16="http://schemas.microsoft.com/office/drawing/2014/main" id="{68A52195-6536-13A0-5635-37021BB376AA}"/>
                  </a:ext>
                </a:extLst>
              </p:cNvPr>
              <p:cNvSpPr/>
              <p:nvPr/>
            </p:nvSpPr>
            <p:spPr>
              <a:xfrm>
                <a:off x="5537680" y="4478239"/>
                <a:ext cx="10268" cy="14795"/>
              </a:xfrm>
              <a:custGeom>
                <a:avLst/>
                <a:gdLst>
                  <a:gd name="connsiteX0" fmla="*/ 3832 w 10268"/>
                  <a:gd name="connsiteY0" fmla="*/ 13765 h 14795"/>
                  <a:gd name="connsiteX1" fmla="*/ 9996 w 10268"/>
                  <a:gd name="connsiteY1" fmla="*/ 3077 h 14795"/>
                  <a:gd name="connsiteX2" fmla="*/ 9238 w 10268"/>
                  <a:gd name="connsiteY2" fmla="*/ 272 h 14795"/>
                  <a:gd name="connsiteX3" fmla="*/ 6436 w 10268"/>
                  <a:gd name="connsiteY3" fmla="*/ 1031 h 14795"/>
                  <a:gd name="connsiteX4" fmla="*/ 272 w 10268"/>
                  <a:gd name="connsiteY4" fmla="*/ 11720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7"/>
                    </a:lnTo>
                    <a:cubicBezTo>
                      <a:pt x="10557" y="2087"/>
                      <a:pt x="10227" y="833"/>
                      <a:pt x="9238" y="272"/>
                    </a:cubicBezTo>
                    <a:cubicBezTo>
                      <a:pt x="8249" y="-288"/>
                      <a:pt x="6997" y="42"/>
                      <a:pt x="6436" y="1031"/>
                    </a:cubicBezTo>
                    <a:lnTo>
                      <a:pt x="272" y="11720"/>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5" name="Freeform 1434">
                <a:extLst>
                  <a:ext uri="{FF2B5EF4-FFF2-40B4-BE49-F238E27FC236}">
                    <a16:creationId xmlns:a16="http://schemas.microsoft.com/office/drawing/2014/main" id="{F6BB042B-7C51-5E19-94B4-F7BF754F893B}"/>
                  </a:ext>
                </a:extLst>
              </p:cNvPr>
              <p:cNvSpPr/>
              <p:nvPr/>
            </p:nvSpPr>
            <p:spPr>
              <a:xfrm>
                <a:off x="5523276" y="4503212"/>
                <a:ext cx="10268" cy="14795"/>
              </a:xfrm>
              <a:custGeom>
                <a:avLst/>
                <a:gdLst>
                  <a:gd name="connsiteX0" fmla="*/ 3832 w 10268"/>
                  <a:gd name="connsiteY0" fmla="*/ 13765 h 14795"/>
                  <a:gd name="connsiteX1" fmla="*/ 9996 w 10268"/>
                  <a:gd name="connsiteY1" fmla="*/ 3076 h 14795"/>
                  <a:gd name="connsiteX2" fmla="*/ 9238 w 10268"/>
                  <a:gd name="connsiteY2" fmla="*/ 272 h 14795"/>
                  <a:gd name="connsiteX3" fmla="*/ 6436 w 10268"/>
                  <a:gd name="connsiteY3" fmla="*/ 1031 h 14795"/>
                  <a:gd name="connsiteX4" fmla="*/ 272 w 10268"/>
                  <a:gd name="connsiteY4" fmla="*/ 11719 h 14795"/>
                  <a:gd name="connsiteX5" fmla="*/ 1030 w 10268"/>
                  <a:gd name="connsiteY5" fmla="*/ 14523 h 14795"/>
                  <a:gd name="connsiteX6" fmla="*/ 3832 w 10268"/>
                  <a:gd name="connsiteY6" fmla="*/ 13765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3832" y="13765"/>
                    </a:moveTo>
                    <a:lnTo>
                      <a:pt x="9996" y="3076"/>
                    </a:lnTo>
                    <a:cubicBezTo>
                      <a:pt x="10557" y="2087"/>
                      <a:pt x="10227" y="833"/>
                      <a:pt x="9238" y="272"/>
                    </a:cubicBezTo>
                    <a:cubicBezTo>
                      <a:pt x="8249" y="-288"/>
                      <a:pt x="6997" y="42"/>
                      <a:pt x="6436" y="1031"/>
                    </a:cubicBezTo>
                    <a:lnTo>
                      <a:pt x="272" y="11719"/>
                    </a:lnTo>
                    <a:cubicBezTo>
                      <a:pt x="-288" y="12709"/>
                      <a:pt x="42" y="13963"/>
                      <a:pt x="1030" y="14523"/>
                    </a:cubicBezTo>
                    <a:cubicBezTo>
                      <a:pt x="2019" y="15084"/>
                      <a:pt x="3272" y="14754"/>
                      <a:pt x="3832" y="13765"/>
                    </a:cubicBezTo>
                    <a:close/>
                  </a:path>
                </a:pathLst>
              </a:custGeom>
              <a:solidFill>
                <a:srgbClr val="5856D6"/>
              </a:solidFill>
              <a:ln w="3283" cap="flat">
                <a:noFill/>
                <a:prstDash val="solid"/>
                <a:miter/>
              </a:ln>
            </p:spPr>
            <p:txBody>
              <a:bodyPr rtlCol="0" anchor="ctr"/>
              <a:lstStyle/>
              <a:p>
                <a:endParaRPr lang="en-US"/>
              </a:p>
            </p:txBody>
          </p:sp>
          <p:sp>
            <p:nvSpPr>
              <p:cNvPr id="1436" name="Freeform 1435">
                <a:extLst>
                  <a:ext uri="{FF2B5EF4-FFF2-40B4-BE49-F238E27FC236}">
                    <a16:creationId xmlns:a16="http://schemas.microsoft.com/office/drawing/2014/main" id="{EAC1C08A-ABEB-3D7C-1133-13B83FEFC1FD}"/>
                  </a:ext>
                </a:extLst>
              </p:cNvPr>
              <p:cNvSpPr/>
              <p:nvPr/>
            </p:nvSpPr>
            <p:spPr>
              <a:xfrm>
                <a:off x="5509106" y="4528184"/>
                <a:ext cx="10065" cy="14916"/>
              </a:xfrm>
              <a:custGeom>
                <a:avLst/>
                <a:gdLst>
                  <a:gd name="connsiteX0" fmla="*/ 3893 w 10065"/>
                  <a:gd name="connsiteY0" fmla="*/ 13798 h 14916"/>
                  <a:gd name="connsiteX1" fmla="*/ 9794 w 10065"/>
                  <a:gd name="connsiteY1" fmla="*/ 3076 h 14916"/>
                  <a:gd name="connsiteX2" fmla="*/ 9035 w 10065"/>
                  <a:gd name="connsiteY2" fmla="*/ 272 h 14916"/>
                  <a:gd name="connsiteX3" fmla="*/ 6234 w 10065"/>
                  <a:gd name="connsiteY3" fmla="*/ 1031 h 14916"/>
                  <a:gd name="connsiteX4" fmla="*/ 234 w 10065"/>
                  <a:gd name="connsiteY4" fmla="*/ 11950 h 14916"/>
                  <a:gd name="connsiteX5" fmla="*/ 1190 w 10065"/>
                  <a:gd name="connsiteY5" fmla="*/ 14721 h 14916"/>
                  <a:gd name="connsiteX6" fmla="*/ 3926 w 10065"/>
                  <a:gd name="connsiteY6" fmla="*/ 13798 h 1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65" h="14916">
                    <a:moveTo>
                      <a:pt x="3893" y="13798"/>
                    </a:moveTo>
                    <a:cubicBezTo>
                      <a:pt x="5805" y="10235"/>
                      <a:pt x="7651" y="6639"/>
                      <a:pt x="9794" y="3076"/>
                    </a:cubicBezTo>
                    <a:cubicBezTo>
                      <a:pt x="10354" y="2087"/>
                      <a:pt x="10024" y="833"/>
                      <a:pt x="9035" y="272"/>
                    </a:cubicBezTo>
                    <a:cubicBezTo>
                      <a:pt x="8047" y="-288"/>
                      <a:pt x="6794" y="42"/>
                      <a:pt x="6234" y="1031"/>
                    </a:cubicBezTo>
                    <a:cubicBezTo>
                      <a:pt x="4157" y="4561"/>
                      <a:pt x="2179" y="8256"/>
                      <a:pt x="234" y="11950"/>
                    </a:cubicBezTo>
                    <a:cubicBezTo>
                      <a:pt x="-326" y="12973"/>
                      <a:pt x="168" y="14260"/>
                      <a:pt x="1190" y="14721"/>
                    </a:cubicBezTo>
                    <a:cubicBezTo>
                      <a:pt x="2245" y="15216"/>
                      <a:pt x="3366" y="14721"/>
                      <a:pt x="3926" y="13798"/>
                    </a:cubicBezTo>
                    <a:close/>
                  </a:path>
                </a:pathLst>
              </a:custGeom>
              <a:solidFill>
                <a:srgbClr val="5856D6"/>
              </a:solidFill>
              <a:ln w="3283" cap="flat">
                <a:noFill/>
                <a:prstDash val="solid"/>
                <a:miter/>
              </a:ln>
            </p:spPr>
            <p:txBody>
              <a:bodyPr rtlCol="0" anchor="ctr"/>
              <a:lstStyle/>
              <a:p>
                <a:endParaRPr lang="en-US"/>
              </a:p>
            </p:txBody>
          </p:sp>
          <p:sp>
            <p:nvSpPr>
              <p:cNvPr id="1437" name="Freeform 1436">
                <a:extLst>
                  <a:ext uri="{FF2B5EF4-FFF2-40B4-BE49-F238E27FC236}">
                    <a16:creationId xmlns:a16="http://schemas.microsoft.com/office/drawing/2014/main" id="{97E65EB5-AB74-E62D-0662-55684C110FE1}"/>
                  </a:ext>
                </a:extLst>
              </p:cNvPr>
              <p:cNvSpPr/>
              <p:nvPr/>
            </p:nvSpPr>
            <p:spPr>
              <a:xfrm>
                <a:off x="5499363" y="4554196"/>
                <a:ext cx="7501" cy="15969"/>
              </a:xfrm>
              <a:custGeom>
                <a:avLst/>
                <a:gdLst>
                  <a:gd name="connsiteX0" fmla="*/ 4078 w 7501"/>
                  <a:gd name="connsiteY0" fmla="*/ 14407 h 15969"/>
                  <a:gd name="connsiteX1" fmla="*/ 7374 w 7501"/>
                  <a:gd name="connsiteY1" fmla="*/ 2730 h 15969"/>
                  <a:gd name="connsiteX2" fmla="*/ 6154 w 7501"/>
                  <a:gd name="connsiteY2" fmla="*/ 123 h 15969"/>
                  <a:gd name="connsiteX3" fmla="*/ 3484 w 7501"/>
                  <a:gd name="connsiteY3" fmla="*/ 1377 h 15969"/>
                  <a:gd name="connsiteX4" fmla="*/ 56 w 7501"/>
                  <a:gd name="connsiteY4" fmla="*/ 13451 h 15969"/>
                  <a:gd name="connsiteX5" fmla="*/ 1605 w 7501"/>
                  <a:gd name="connsiteY5" fmla="*/ 15925 h 15969"/>
                  <a:gd name="connsiteX6" fmla="*/ 4078 w 7501"/>
                  <a:gd name="connsiteY6" fmla="*/ 14374 h 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1" h="15969">
                    <a:moveTo>
                      <a:pt x="4078" y="14407"/>
                    </a:moveTo>
                    <a:cubicBezTo>
                      <a:pt x="4869" y="10449"/>
                      <a:pt x="6187" y="6589"/>
                      <a:pt x="7374" y="2730"/>
                    </a:cubicBezTo>
                    <a:cubicBezTo>
                      <a:pt x="7769" y="1674"/>
                      <a:pt x="7209" y="519"/>
                      <a:pt x="6154" y="123"/>
                    </a:cubicBezTo>
                    <a:cubicBezTo>
                      <a:pt x="5099" y="-272"/>
                      <a:pt x="3913" y="321"/>
                      <a:pt x="3484" y="1377"/>
                    </a:cubicBezTo>
                    <a:cubicBezTo>
                      <a:pt x="2265" y="5369"/>
                      <a:pt x="913" y="9360"/>
                      <a:pt x="56" y="13451"/>
                    </a:cubicBezTo>
                    <a:cubicBezTo>
                      <a:pt x="-208" y="14572"/>
                      <a:pt x="485" y="15694"/>
                      <a:pt x="1605" y="15925"/>
                    </a:cubicBezTo>
                    <a:cubicBezTo>
                      <a:pt x="2693" y="16156"/>
                      <a:pt x="3814" y="15463"/>
                      <a:pt x="4078" y="14374"/>
                    </a:cubicBezTo>
                    <a:close/>
                  </a:path>
                </a:pathLst>
              </a:custGeom>
              <a:solidFill>
                <a:srgbClr val="5856D6"/>
              </a:solidFill>
              <a:ln w="3283" cap="flat">
                <a:noFill/>
                <a:prstDash val="solid"/>
                <a:miter/>
              </a:ln>
            </p:spPr>
            <p:txBody>
              <a:bodyPr rtlCol="0" anchor="ctr"/>
              <a:lstStyle/>
              <a:p>
                <a:endParaRPr lang="en-US"/>
              </a:p>
            </p:txBody>
          </p:sp>
          <p:sp>
            <p:nvSpPr>
              <p:cNvPr id="1438" name="Freeform 1437">
                <a:extLst>
                  <a:ext uri="{FF2B5EF4-FFF2-40B4-BE49-F238E27FC236}">
                    <a16:creationId xmlns:a16="http://schemas.microsoft.com/office/drawing/2014/main" id="{8A2FFC05-B1AF-2092-0F41-58C5B423B2E9}"/>
                  </a:ext>
                </a:extLst>
              </p:cNvPr>
              <p:cNvSpPr/>
              <p:nvPr/>
            </p:nvSpPr>
            <p:spPr>
              <a:xfrm>
                <a:off x="5496057" y="4582279"/>
                <a:ext cx="4754" cy="16442"/>
              </a:xfrm>
              <a:custGeom>
                <a:avLst/>
                <a:gdLst>
                  <a:gd name="connsiteX0" fmla="*/ 4087 w 4754"/>
                  <a:gd name="connsiteY0" fmla="*/ 14397 h 16442"/>
                  <a:gd name="connsiteX1" fmla="*/ 4747 w 4754"/>
                  <a:gd name="connsiteY1" fmla="*/ 2257 h 16442"/>
                  <a:gd name="connsiteX2" fmla="*/ 2901 w 4754"/>
                  <a:gd name="connsiteY2" fmla="*/ 14 h 16442"/>
                  <a:gd name="connsiteX3" fmla="*/ 659 w 4754"/>
                  <a:gd name="connsiteY3" fmla="*/ 1861 h 16442"/>
                  <a:gd name="connsiteX4" fmla="*/ 0 w 4754"/>
                  <a:gd name="connsiteY4" fmla="*/ 14397 h 16442"/>
                  <a:gd name="connsiteX5" fmla="*/ 2110 w 4754"/>
                  <a:gd name="connsiteY5" fmla="*/ 16442 h 16442"/>
                  <a:gd name="connsiteX6" fmla="*/ 4087 w 4754"/>
                  <a:gd name="connsiteY6" fmla="*/ 14397 h 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 h="16442">
                    <a:moveTo>
                      <a:pt x="4087" y="14397"/>
                    </a:moveTo>
                    <a:cubicBezTo>
                      <a:pt x="4219" y="10339"/>
                      <a:pt x="4219" y="6282"/>
                      <a:pt x="4747" y="2257"/>
                    </a:cubicBezTo>
                    <a:cubicBezTo>
                      <a:pt x="4846" y="1135"/>
                      <a:pt x="4022" y="146"/>
                      <a:pt x="2901" y="14"/>
                    </a:cubicBezTo>
                    <a:cubicBezTo>
                      <a:pt x="1780" y="-118"/>
                      <a:pt x="758" y="707"/>
                      <a:pt x="659" y="1861"/>
                    </a:cubicBezTo>
                    <a:cubicBezTo>
                      <a:pt x="132" y="6018"/>
                      <a:pt x="132" y="10207"/>
                      <a:pt x="0" y="14397"/>
                    </a:cubicBezTo>
                    <a:cubicBezTo>
                      <a:pt x="33" y="15551"/>
                      <a:pt x="989" y="16475"/>
                      <a:pt x="2110" y="16442"/>
                    </a:cubicBezTo>
                    <a:cubicBezTo>
                      <a:pt x="3230" y="16442"/>
                      <a:pt x="4120" y="15485"/>
                      <a:pt x="4087" y="14397"/>
                    </a:cubicBezTo>
                    <a:close/>
                  </a:path>
                </a:pathLst>
              </a:custGeom>
              <a:solidFill>
                <a:srgbClr val="5856D6"/>
              </a:solidFill>
              <a:ln w="3283" cap="flat">
                <a:noFill/>
                <a:prstDash val="solid"/>
                <a:miter/>
              </a:ln>
            </p:spPr>
            <p:txBody>
              <a:bodyPr rtlCol="0" anchor="ctr"/>
              <a:lstStyle/>
              <a:p>
                <a:endParaRPr lang="en-US"/>
              </a:p>
            </p:txBody>
          </p:sp>
          <p:sp>
            <p:nvSpPr>
              <p:cNvPr id="1439" name="Freeform 1438">
                <a:extLst>
                  <a:ext uri="{FF2B5EF4-FFF2-40B4-BE49-F238E27FC236}">
                    <a16:creationId xmlns:a16="http://schemas.microsoft.com/office/drawing/2014/main" id="{B43D8A8A-122F-4A47-02E4-CC1101E4977F}"/>
                  </a:ext>
                </a:extLst>
              </p:cNvPr>
              <p:cNvSpPr/>
              <p:nvPr/>
            </p:nvSpPr>
            <p:spPr>
              <a:xfrm>
                <a:off x="5497157" y="4611045"/>
                <a:ext cx="6372" cy="16267"/>
              </a:xfrm>
              <a:custGeom>
                <a:avLst/>
                <a:gdLst>
                  <a:gd name="connsiteX0" fmla="*/ 6316 w 6372"/>
                  <a:gd name="connsiteY0" fmla="*/ 13737 h 16267"/>
                  <a:gd name="connsiteX1" fmla="*/ 4075 w 6372"/>
                  <a:gd name="connsiteY1" fmla="*/ 1795 h 16267"/>
                  <a:gd name="connsiteX2" fmla="*/ 1833 w 6372"/>
                  <a:gd name="connsiteY2" fmla="*/ 14 h 16267"/>
                  <a:gd name="connsiteX3" fmla="*/ 20 w 6372"/>
                  <a:gd name="connsiteY3" fmla="*/ 2323 h 16267"/>
                  <a:gd name="connsiteX4" fmla="*/ 2328 w 6372"/>
                  <a:gd name="connsiteY4" fmla="*/ 14661 h 16267"/>
                  <a:gd name="connsiteX5" fmla="*/ 4800 w 6372"/>
                  <a:gd name="connsiteY5" fmla="*/ 16211 h 16267"/>
                  <a:gd name="connsiteX6" fmla="*/ 6316 w 6372"/>
                  <a:gd name="connsiteY6" fmla="*/ 13737 h 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 h="16267">
                    <a:moveTo>
                      <a:pt x="6316" y="13737"/>
                    </a:moveTo>
                    <a:cubicBezTo>
                      <a:pt x="5294" y="9812"/>
                      <a:pt x="4734" y="5787"/>
                      <a:pt x="4075" y="1795"/>
                    </a:cubicBezTo>
                    <a:cubicBezTo>
                      <a:pt x="3910" y="707"/>
                      <a:pt x="2954" y="-118"/>
                      <a:pt x="1833" y="14"/>
                    </a:cubicBezTo>
                    <a:cubicBezTo>
                      <a:pt x="713" y="146"/>
                      <a:pt x="-144" y="1201"/>
                      <a:pt x="20" y="2323"/>
                    </a:cubicBezTo>
                    <a:cubicBezTo>
                      <a:pt x="680" y="6447"/>
                      <a:pt x="1273" y="10603"/>
                      <a:pt x="2328" y="14661"/>
                    </a:cubicBezTo>
                    <a:cubicBezTo>
                      <a:pt x="2591" y="15782"/>
                      <a:pt x="3679" y="16475"/>
                      <a:pt x="4800" y="16211"/>
                    </a:cubicBezTo>
                    <a:cubicBezTo>
                      <a:pt x="5888" y="15914"/>
                      <a:pt x="6580" y="14826"/>
                      <a:pt x="6316" y="13737"/>
                    </a:cubicBezTo>
                    <a:close/>
                  </a:path>
                </a:pathLst>
              </a:custGeom>
              <a:solidFill>
                <a:srgbClr val="5856D6"/>
              </a:solidFill>
              <a:ln w="3283" cap="flat">
                <a:noFill/>
                <a:prstDash val="solid"/>
                <a:miter/>
              </a:ln>
            </p:spPr>
            <p:txBody>
              <a:bodyPr rtlCol="0" anchor="ctr"/>
              <a:lstStyle/>
              <a:p>
                <a:endParaRPr lang="en-US"/>
              </a:p>
            </p:txBody>
          </p:sp>
          <p:sp>
            <p:nvSpPr>
              <p:cNvPr id="1440" name="Freeform 1439">
                <a:extLst>
                  <a:ext uri="{FF2B5EF4-FFF2-40B4-BE49-F238E27FC236}">
                    <a16:creationId xmlns:a16="http://schemas.microsoft.com/office/drawing/2014/main" id="{E911F623-1E5B-C9C3-3440-08B3BC06C70E}"/>
                  </a:ext>
                </a:extLst>
              </p:cNvPr>
              <p:cNvSpPr/>
              <p:nvPr/>
            </p:nvSpPr>
            <p:spPr>
              <a:xfrm>
                <a:off x="5504251" y="4638935"/>
                <a:ext cx="9048" cy="15440"/>
              </a:xfrm>
              <a:custGeom>
                <a:avLst/>
                <a:gdLst>
                  <a:gd name="connsiteX0" fmla="*/ 8814 w 9048"/>
                  <a:gd name="connsiteY0" fmla="*/ 12436 h 15440"/>
                  <a:gd name="connsiteX1" fmla="*/ 3968 w 9048"/>
                  <a:gd name="connsiteY1" fmla="*/ 1319 h 15440"/>
                  <a:gd name="connsiteX2" fmla="*/ 1331 w 9048"/>
                  <a:gd name="connsiteY2" fmla="*/ 131 h 15440"/>
                  <a:gd name="connsiteX3" fmla="*/ 145 w 9048"/>
                  <a:gd name="connsiteY3" fmla="*/ 2803 h 15440"/>
                  <a:gd name="connsiteX4" fmla="*/ 5155 w 9048"/>
                  <a:gd name="connsiteY4" fmla="*/ 14317 h 15440"/>
                  <a:gd name="connsiteX5" fmla="*/ 7957 w 9048"/>
                  <a:gd name="connsiteY5" fmla="*/ 15207 h 15440"/>
                  <a:gd name="connsiteX6" fmla="*/ 8814 w 9048"/>
                  <a:gd name="connsiteY6" fmla="*/ 12469 h 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 h="15440">
                    <a:moveTo>
                      <a:pt x="8814" y="12436"/>
                    </a:moveTo>
                    <a:cubicBezTo>
                      <a:pt x="7133" y="8774"/>
                      <a:pt x="5287" y="5146"/>
                      <a:pt x="3968" y="1319"/>
                    </a:cubicBezTo>
                    <a:cubicBezTo>
                      <a:pt x="3573" y="263"/>
                      <a:pt x="2386" y="-264"/>
                      <a:pt x="1331" y="131"/>
                    </a:cubicBezTo>
                    <a:cubicBezTo>
                      <a:pt x="277" y="527"/>
                      <a:pt x="-284" y="1715"/>
                      <a:pt x="145" y="2803"/>
                    </a:cubicBezTo>
                    <a:cubicBezTo>
                      <a:pt x="1496" y="6762"/>
                      <a:pt x="3408" y="10523"/>
                      <a:pt x="5155" y="14317"/>
                    </a:cubicBezTo>
                    <a:cubicBezTo>
                      <a:pt x="5683" y="15339"/>
                      <a:pt x="6968" y="15735"/>
                      <a:pt x="7957" y="15207"/>
                    </a:cubicBezTo>
                    <a:cubicBezTo>
                      <a:pt x="8946" y="14679"/>
                      <a:pt x="9342" y="13459"/>
                      <a:pt x="8814" y="12469"/>
                    </a:cubicBezTo>
                    <a:close/>
                  </a:path>
                </a:pathLst>
              </a:custGeom>
              <a:solidFill>
                <a:srgbClr val="5856D6"/>
              </a:solidFill>
              <a:ln w="3283" cap="flat">
                <a:noFill/>
                <a:prstDash val="solid"/>
                <a:miter/>
              </a:ln>
            </p:spPr>
            <p:txBody>
              <a:bodyPr rtlCol="0" anchor="ctr"/>
              <a:lstStyle/>
              <a:p>
                <a:endParaRPr lang="en-US"/>
              </a:p>
            </p:txBody>
          </p:sp>
          <p:sp>
            <p:nvSpPr>
              <p:cNvPr id="1441" name="Freeform 1440">
                <a:extLst>
                  <a:ext uri="{FF2B5EF4-FFF2-40B4-BE49-F238E27FC236}">
                    <a16:creationId xmlns:a16="http://schemas.microsoft.com/office/drawing/2014/main" id="{E140A9BC-E73B-67C9-705E-CCC32C714B0A}"/>
                  </a:ext>
                </a:extLst>
              </p:cNvPr>
              <p:cNvSpPr/>
              <p:nvPr/>
            </p:nvSpPr>
            <p:spPr>
              <a:xfrm>
                <a:off x="5517210" y="4664657"/>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996 w 10268"/>
                  <a:gd name="connsiteY6"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5">
                    <a:moveTo>
                      <a:pt x="9996" y="11719"/>
                    </a:moveTo>
                    <a:lnTo>
                      <a:pt x="3832" y="1031"/>
                    </a:lnTo>
                    <a:cubicBezTo>
                      <a:pt x="3272" y="42"/>
                      <a:pt x="1986" y="-288"/>
                      <a:pt x="1030" y="272"/>
                    </a:cubicBezTo>
                    <a:cubicBezTo>
                      <a:pt x="42" y="833"/>
                      <a:pt x="-288" y="2087"/>
                      <a:pt x="272" y="3076"/>
                    </a:cubicBezTo>
                    <a:lnTo>
                      <a:pt x="6436" y="13765"/>
                    </a:lnTo>
                    <a:cubicBezTo>
                      <a:pt x="6997" y="14754"/>
                      <a:pt x="8249" y="15084"/>
                      <a:pt x="9238" y="14523"/>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2" name="Freeform 1441">
                <a:extLst>
                  <a:ext uri="{FF2B5EF4-FFF2-40B4-BE49-F238E27FC236}">
                    <a16:creationId xmlns:a16="http://schemas.microsoft.com/office/drawing/2014/main" id="{9A9370DF-2079-C55A-24F5-1886E2FC010E}"/>
                  </a:ext>
                </a:extLst>
              </p:cNvPr>
              <p:cNvSpPr/>
              <p:nvPr/>
            </p:nvSpPr>
            <p:spPr>
              <a:xfrm>
                <a:off x="5531615" y="4689596"/>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3" name="Freeform 1442">
                <a:extLst>
                  <a:ext uri="{FF2B5EF4-FFF2-40B4-BE49-F238E27FC236}">
                    <a16:creationId xmlns:a16="http://schemas.microsoft.com/office/drawing/2014/main" id="{5ACEEC4F-1E6C-F9E4-33D8-8BA6C6E558E7}"/>
                  </a:ext>
                </a:extLst>
              </p:cNvPr>
              <p:cNvSpPr/>
              <p:nvPr/>
            </p:nvSpPr>
            <p:spPr>
              <a:xfrm>
                <a:off x="5546020" y="4714568"/>
                <a:ext cx="10268" cy="14795"/>
              </a:xfrm>
              <a:custGeom>
                <a:avLst/>
                <a:gdLst>
                  <a:gd name="connsiteX0" fmla="*/ 9996 w 10268"/>
                  <a:gd name="connsiteY0" fmla="*/ 11719 h 14795"/>
                  <a:gd name="connsiteX1" fmla="*/ 3832 w 10268"/>
                  <a:gd name="connsiteY1" fmla="*/ 1031 h 14795"/>
                  <a:gd name="connsiteX2" fmla="*/ 1030 w 10268"/>
                  <a:gd name="connsiteY2" fmla="*/ 272 h 14795"/>
                  <a:gd name="connsiteX3" fmla="*/ 272 w 10268"/>
                  <a:gd name="connsiteY3" fmla="*/ 3076 h 14795"/>
                  <a:gd name="connsiteX4" fmla="*/ 6436 w 10268"/>
                  <a:gd name="connsiteY4" fmla="*/ 13765 h 14795"/>
                  <a:gd name="connsiteX5" fmla="*/ 9238 w 10268"/>
                  <a:gd name="connsiteY5" fmla="*/ 14523 h 14795"/>
                  <a:gd name="connsiteX6" fmla="*/ 9238 w 10268"/>
                  <a:gd name="connsiteY6" fmla="*/ 14523 h 14795"/>
                  <a:gd name="connsiteX7" fmla="*/ 9996 w 10268"/>
                  <a:gd name="connsiteY7" fmla="*/ 11719 h 1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 h="14795">
                    <a:moveTo>
                      <a:pt x="9996" y="11719"/>
                    </a:moveTo>
                    <a:lnTo>
                      <a:pt x="3832" y="1031"/>
                    </a:lnTo>
                    <a:cubicBezTo>
                      <a:pt x="3272" y="42"/>
                      <a:pt x="2019" y="-288"/>
                      <a:pt x="1030" y="272"/>
                    </a:cubicBezTo>
                    <a:cubicBezTo>
                      <a:pt x="42" y="833"/>
                      <a:pt x="-288" y="2087"/>
                      <a:pt x="272" y="3076"/>
                    </a:cubicBezTo>
                    <a:lnTo>
                      <a:pt x="6436" y="13765"/>
                    </a:lnTo>
                    <a:cubicBezTo>
                      <a:pt x="6997" y="14754"/>
                      <a:pt x="8249" y="15084"/>
                      <a:pt x="9238" y="14523"/>
                    </a:cubicBezTo>
                    <a:lnTo>
                      <a:pt x="9238" y="14523"/>
                    </a:ln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4" name="Freeform 1443">
                <a:extLst>
                  <a:ext uri="{FF2B5EF4-FFF2-40B4-BE49-F238E27FC236}">
                    <a16:creationId xmlns:a16="http://schemas.microsoft.com/office/drawing/2014/main" id="{A3EB07C9-99F6-11D3-B2BC-54FA50AE5ECF}"/>
                  </a:ext>
                </a:extLst>
              </p:cNvPr>
              <p:cNvSpPr/>
              <p:nvPr/>
            </p:nvSpPr>
            <p:spPr>
              <a:xfrm>
                <a:off x="5560425" y="4739540"/>
                <a:ext cx="10268" cy="14796"/>
              </a:xfrm>
              <a:custGeom>
                <a:avLst/>
                <a:gdLst>
                  <a:gd name="connsiteX0" fmla="*/ 9996 w 10268"/>
                  <a:gd name="connsiteY0" fmla="*/ 11719 h 14796"/>
                  <a:gd name="connsiteX1" fmla="*/ 3832 w 10268"/>
                  <a:gd name="connsiteY1" fmla="*/ 1031 h 14796"/>
                  <a:gd name="connsiteX2" fmla="*/ 1030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0" y="273"/>
                    </a:cubicBezTo>
                    <a:cubicBezTo>
                      <a:pt x="42" y="833"/>
                      <a:pt x="-288" y="2087"/>
                      <a:pt x="272" y="3077"/>
                    </a:cubicBezTo>
                    <a:lnTo>
                      <a:pt x="6436" y="13765"/>
                    </a:lnTo>
                    <a:cubicBezTo>
                      <a:pt x="6997" y="14755"/>
                      <a:pt x="8249"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5" name="Freeform 1444">
                <a:extLst>
                  <a:ext uri="{FF2B5EF4-FFF2-40B4-BE49-F238E27FC236}">
                    <a16:creationId xmlns:a16="http://schemas.microsoft.com/office/drawing/2014/main" id="{6AF5F372-65BE-68B7-F285-7E944AC83E3F}"/>
                  </a:ext>
                </a:extLst>
              </p:cNvPr>
              <p:cNvSpPr/>
              <p:nvPr/>
            </p:nvSpPr>
            <p:spPr>
              <a:xfrm>
                <a:off x="5574830" y="4764512"/>
                <a:ext cx="10268" cy="14796"/>
              </a:xfrm>
              <a:custGeom>
                <a:avLst/>
                <a:gdLst>
                  <a:gd name="connsiteX0" fmla="*/ 9996 w 10268"/>
                  <a:gd name="connsiteY0" fmla="*/ 11719 h 14796"/>
                  <a:gd name="connsiteX1" fmla="*/ 3832 w 10268"/>
                  <a:gd name="connsiteY1" fmla="*/ 1031 h 14796"/>
                  <a:gd name="connsiteX2" fmla="*/ 1030 w 10268"/>
                  <a:gd name="connsiteY2" fmla="*/ 273 h 14796"/>
                  <a:gd name="connsiteX3" fmla="*/ 272 w 10268"/>
                  <a:gd name="connsiteY3" fmla="*/ 3077 h 14796"/>
                  <a:gd name="connsiteX4" fmla="*/ 6436 w 10268"/>
                  <a:gd name="connsiteY4" fmla="*/ 13765 h 14796"/>
                  <a:gd name="connsiteX5" fmla="*/ 9238 w 10268"/>
                  <a:gd name="connsiteY5" fmla="*/ 14524 h 14796"/>
                  <a:gd name="connsiteX6" fmla="*/ 9996 w 10268"/>
                  <a:gd name="connsiteY6" fmla="*/ 11719 h 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 h="14796">
                    <a:moveTo>
                      <a:pt x="9996" y="11719"/>
                    </a:moveTo>
                    <a:lnTo>
                      <a:pt x="3832" y="1031"/>
                    </a:lnTo>
                    <a:cubicBezTo>
                      <a:pt x="3272" y="42"/>
                      <a:pt x="2019" y="-288"/>
                      <a:pt x="1030" y="273"/>
                    </a:cubicBezTo>
                    <a:cubicBezTo>
                      <a:pt x="42" y="833"/>
                      <a:pt x="-288" y="2087"/>
                      <a:pt x="272" y="3077"/>
                    </a:cubicBezTo>
                    <a:lnTo>
                      <a:pt x="6436" y="13765"/>
                    </a:lnTo>
                    <a:cubicBezTo>
                      <a:pt x="6997" y="14754"/>
                      <a:pt x="8282" y="15084"/>
                      <a:pt x="9238" y="14524"/>
                    </a:cubicBezTo>
                    <a:cubicBezTo>
                      <a:pt x="10227" y="13963"/>
                      <a:pt x="10557" y="12709"/>
                      <a:pt x="9996" y="11719"/>
                    </a:cubicBezTo>
                    <a:close/>
                  </a:path>
                </a:pathLst>
              </a:custGeom>
              <a:solidFill>
                <a:srgbClr val="5856D6"/>
              </a:solidFill>
              <a:ln w="3283" cap="flat">
                <a:noFill/>
                <a:prstDash val="solid"/>
                <a:miter/>
              </a:ln>
            </p:spPr>
            <p:txBody>
              <a:bodyPr rtlCol="0" anchor="ctr"/>
              <a:lstStyle/>
              <a:p>
                <a:endParaRPr lang="en-US"/>
              </a:p>
            </p:txBody>
          </p:sp>
          <p:sp>
            <p:nvSpPr>
              <p:cNvPr id="1446" name="Freeform 1445">
                <a:extLst>
                  <a:ext uri="{FF2B5EF4-FFF2-40B4-BE49-F238E27FC236}">
                    <a16:creationId xmlns:a16="http://schemas.microsoft.com/office/drawing/2014/main" id="{4EFDBCB1-BCBA-ECDB-18DA-F2298F15D547}"/>
                  </a:ext>
                </a:extLst>
              </p:cNvPr>
              <p:cNvSpPr/>
              <p:nvPr/>
            </p:nvSpPr>
            <p:spPr>
              <a:xfrm>
                <a:off x="5589202" y="4789451"/>
                <a:ext cx="10335" cy="14762"/>
              </a:xfrm>
              <a:custGeom>
                <a:avLst/>
                <a:gdLst>
                  <a:gd name="connsiteX0" fmla="*/ 10062 w 10335"/>
                  <a:gd name="connsiteY0" fmla="*/ 11653 h 14762"/>
                  <a:gd name="connsiteX1" fmla="*/ 3832 w 10335"/>
                  <a:gd name="connsiteY1" fmla="*/ 1031 h 14762"/>
                  <a:gd name="connsiteX2" fmla="*/ 1030 w 10335"/>
                  <a:gd name="connsiteY2" fmla="*/ 273 h 14762"/>
                  <a:gd name="connsiteX3" fmla="*/ 272 w 10335"/>
                  <a:gd name="connsiteY3" fmla="*/ 3077 h 14762"/>
                  <a:gd name="connsiteX4" fmla="*/ 6535 w 10335"/>
                  <a:gd name="connsiteY4" fmla="*/ 13765 h 14762"/>
                  <a:gd name="connsiteX5" fmla="*/ 9370 w 10335"/>
                  <a:gd name="connsiteY5" fmla="*/ 14457 h 14762"/>
                  <a:gd name="connsiteX6" fmla="*/ 10029 w 10335"/>
                  <a:gd name="connsiteY6" fmla="*/ 11653 h 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35" h="14762">
                    <a:moveTo>
                      <a:pt x="10062" y="11653"/>
                    </a:moveTo>
                    <a:cubicBezTo>
                      <a:pt x="7887" y="8256"/>
                      <a:pt x="5909" y="4561"/>
                      <a:pt x="3832" y="1031"/>
                    </a:cubicBezTo>
                    <a:cubicBezTo>
                      <a:pt x="3272" y="41"/>
                      <a:pt x="2019" y="-288"/>
                      <a:pt x="1030" y="273"/>
                    </a:cubicBezTo>
                    <a:cubicBezTo>
                      <a:pt x="42" y="833"/>
                      <a:pt x="-288" y="2087"/>
                      <a:pt x="272" y="3077"/>
                    </a:cubicBezTo>
                    <a:cubicBezTo>
                      <a:pt x="2382" y="6639"/>
                      <a:pt x="4294" y="10202"/>
                      <a:pt x="6535" y="13765"/>
                    </a:cubicBezTo>
                    <a:cubicBezTo>
                      <a:pt x="7129" y="14755"/>
                      <a:pt x="8414" y="15051"/>
                      <a:pt x="9370" y="14457"/>
                    </a:cubicBezTo>
                    <a:cubicBezTo>
                      <a:pt x="10326" y="13864"/>
                      <a:pt x="10623" y="12577"/>
                      <a:pt x="10029" y="11653"/>
                    </a:cubicBezTo>
                    <a:close/>
                  </a:path>
                </a:pathLst>
              </a:custGeom>
              <a:solidFill>
                <a:srgbClr val="5856D6"/>
              </a:solidFill>
              <a:ln w="3283" cap="flat">
                <a:noFill/>
                <a:prstDash val="solid"/>
                <a:miter/>
              </a:ln>
            </p:spPr>
            <p:txBody>
              <a:bodyPr rtlCol="0" anchor="ctr"/>
              <a:lstStyle/>
              <a:p>
                <a:endParaRPr lang="en-US"/>
              </a:p>
            </p:txBody>
          </p:sp>
          <p:sp>
            <p:nvSpPr>
              <p:cNvPr id="1447" name="Freeform 1446">
                <a:extLst>
                  <a:ext uri="{FF2B5EF4-FFF2-40B4-BE49-F238E27FC236}">
                    <a16:creationId xmlns:a16="http://schemas.microsoft.com/office/drawing/2014/main" id="{1EAF404F-8F3C-4930-15AF-3E82626464EF}"/>
                  </a:ext>
                </a:extLst>
              </p:cNvPr>
              <p:cNvSpPr/>
              <p:nvPr/>
            </p:nvSpPr>
            <p:spPr>
              <a:xfrm>
                <a:off x="5604928" y="4813625"/>
                <a:ext cx="12289" cy="13313"/>
              </a:xfrm>
              <a:custGeom>
                <a:avLst/>
                <a:gdLst>
                  <a:gd name="connsiteX0" fmla="*/ 11708 w 12289"/>
                  <a:gd name="connsiteY0" fmla="*/ 9813 h 13313"/>
                  <a:gd name="connsiteX1" fmla="*/ 7555 w 12289"/>
                  <a:gd name="connsiteY1" fmla="*/ 5392 h 13313"/>
                  <a:gd name="connsiteX2" fmla="*/ 3665 w 12289"/>
                  <a:gd name="connsiteY2" fmla="*/ 741 h 13313"/>
                  <a:gd name="connsiteX3" fmla="*/ 765 w 12289"/>
                  <a:gd name="connsiteY3" fmla="*/ 444 h 13313"/>
                  <a:gd name="connsiteX4" fmla="*/ 468 w 12289"/>
                  <a:gd name="connsiteY4" fmla="*/ 3314 h 13313"/>
                  <a:gd name="connsiteX5" fmla="*/ 4490 w 12289"/>
                  <a:gd name="connsiteY5" fmla="*/ 8130 h 13313"/>
                  <a:gd name="connsiteX6" fmla="*/ 8808 w 12289"/>
                  <a:gd name="connsiteY6" fmla="*/ 12683 h 13313"/>
                  <a:gd name="connsiteX7" fmla="*/ 11708 w 12289"/>
                  <a:gd name="connsiteY7" fmla="*/ 12683 h 13313"/>
                  <a:gd name="connsiteX8" fmla="*/ 11708 w 12289"/>
                  <a:gd name="connsiteY8" fmla="*/ 9780 h 1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9" h="13313">
                    <a:moveTo>
                      <a:pt x="11708" y="9813"/>
                    </a:moveTo>
                    <a:lnTo>
                      <a:pt x="7555" y="5392"/>
                    </a:lnTo>
                    <a:cubicBezTo>
                      <a:pt x="6204" y="3908"/>
                      <a:pt x="4951" y="2291"/>
                      <a:pt x="3665" y="741"/>
                    </a:cubicBezTo>
                    <a:cubicBezTo>
                      <a:pt x="2973" y="-117"/>
                      <a:pt x="1655" y="-249"/>
                      <a:pt x="765" y="444"/>
                    </a:cubicBezTo>
                    <a:cubicBezTo>
                      <a:pt x="-125" y="1137"/>
                      <a:pt x="-257" y="2423"/>
                      <a:pt x="468" y="3314"/>
                    </a:cubicBezTo>
                    <a:cubicBezTo>
                      <a:pt x="1819" y="4931"/>
                      <a:pt x="3105" y="6580"/>
                      <a:pt x="4490" y="8130"/>
                    </a:cubicBezTo>
                    <a:lnTo>
                      <a:pt x="8808" y="12683"/>
                    </a:lnTo>
                    <a:cubicBezTo>
                      <a:pt x="9566" y="13541"/>
                      <a:pt x="10917" y="13507"/>
                      <a:pt x="11708" y="12683"/>
                    </a:cubicBezTo>
                    <a:cubicBezTo>
                      <a:pt x="12500" y="11891"/>
                      <a:pt x="12467" y="10604"/>
                      <a:pt x="11708" y="9780"/>
                    </a:cubicBezTo>
                    <a:close/>
                  </a:path>
                </a:pathLst>
              </a:custGeom>
              <a:solidFill>
                <a:srgbClr val="5856D6"/>
              </a:solidFill>
              <a:ln w="3283" cap="flat">
                <a:noFill/>
                <a:prstDash val="solid"/>
                <a:miter/>
              </a:ln>
            </p:spPr>
            <p:txBody>
              <a:bodyPr rtlCol="0" anchor="ctr"/>
              <a:lstStyle/>
              <a:p>
                <a:endParaRPr lang="en-US"/>
              </a:p>
            </p:txBody>
          </p:sp>
          <p:sp>
            <p:nvSpPr>
              <p:cNvPr id="1448" name="Freeform 1447">
                <a:extLst>
                  <a:ext uri="{FF2B5EF4-FFF2-40B4-BE49-F238E27FC236}">
                    <a16:creationId xmlns:a16="http://schemas.microsoft.com/office/drawing/2014/main" id="{7F9EA740-5669-0F86-27D4-5EE80B1EF0EE}"/>
                  </a:ext>
                </a:extLst>
              </p:cNvPr>
              <p:cNvSpPr/>
              <p:nvPr/>
            </p:nvSpPr>
            <p:spPr>
              <a:xfrm>
                <a:off x="5625444" y="4833751"/>
                <a:ext cx="14209" cy="11179"/>
              </a:xfrm>
              <a:custGeom>
                <a:avLst/>
                <a:gdLst>
                  <a:gd name="connsiteX0" fmla="*/ 13245 w 14209"/>
                  <a:gd name="connsiteY0" fmla="*/ 7369 h 11179"/>
                  <a:gd name="connsiteX1" fmla="*/ 3290 w 14209"/>
                  <a:gd name="connsiteY1" fmla="*/ 441 h 11179"/>
                  <a:gd name="connsiteX2" fmla="*/ 455 w 14209"/>
                  <a:gd name="connsiteY2" fmla="*/ 771 h 11179"/>
                  <a:gd name="connsiteX3" fmla="*/ 785 w 14209"/>
                  <a:gd name="connsiteY3" fmla="*/ 3707 h 11179"/>
                  <a:gd name="connsiteX4" fmla="*/ 11069 w 14209"/>
                  <a:gd name="connsiteY4" fmla="*/ 10866 h 11179"/>
                  <a:gd name="connsiteX5" fmla="*/ 13904 w 14209"/>
                  <a:gd name="connsiteY5" fmla="*/ 10206 h 11179"/>
                  <a:gd name="connsiteX6" fmla="*/ 13245 w 14209"/>
                  <a:gd name="connsiteY6" fmla="*/ 7369 h 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 h="11179">
                    <a:moveTo>
                      <a:pt x="13245" y="7369"/>
                    </a:moveTo>
                    <a:cubicBezTo>
                      <a:pt x="9751" y="5324"/>
                      <a:pt x="6553" y="2817"/>
                      <a:pt x="3290" y="441"/>
                    </a:cubicBezTo>
                    <a:cubicBezTo>
                      <a:pt x="2433" y="-251"/>
                      <a:pt x="1147" y="-119"/>
                      <a:pt x="455" y="771"/>
                    </a:cubicBezTo>
                    <a:cubicBezTo>
                      <a:pt x="-270" y="1662"/>
                      <a:pt x="-105" y="2982"/>
                      <a:pt x="785" y="3707"/>
                    </a:cubicBezTo>
                    <a:cubicBezTo>
                      <a:pt x="4147" y="6181"/>
                      <a:pt x="7476" y="8755"/>
                      <a:pt x="11069" y="10866"/>
                    </a:cubicBezTo>
                    <a:cubicBezTo>
                      <a:pt x="12058" y="11459"/>
                      <a:pt x="13311" y="11196"/>
                      <a:pt x="13904" y="10206"/>
                    </a:cubicBezTo>
                    <a:cubicBezTo>
                      <a:pt x="14497" y="9249"/>
                      <a:pt x="14201" y="7963"/>
                      <a:pt x="13245" y="7369"/>
                    </a:cubicBezTo>
                    <a:close/>
                  </a:path>
                </a:pathLst>
              </a:custGeom>
              <a:solidFill>
                <a:srgbClr val="5856D6"/>
              </a:solidFill>
              <a:ln w="3283" cap="flat">
                <a:noFill/>
                <a:prstDash val="solid"/>
                <a:miter/>
              </a:ln>
            </p:spPr>
            <p:txBody>
              <a:bodyPr rtlCol="0" anchor="ctr"/>
              <a:lstStyle/>
              <a:p>
                <a:endParaRPr lang="en-US"/>
              </a:p>
            </p:txBody>
          </p:sp>
          <p:sp>
            <p:nvSpPr>
              <p:cNvPr id="1449" name="Freeform 1448">
                <a:extLst>
                  <a:ext uri="{FF2B5EF4-FFF2-40B4-BE49-F238E27FC236}">
                    <a16:creationId xmlns:a16="http://schemas.microsoft.com/office/drawing/2014/main" id="{D3DFE984-27ED-F053-EDBD-1D310CCAC4A2}"/>
                  </a:ext>
                </a:extLst>
              </p:cNvPr>
              <p:cNvSpPr/>
              <p:nvPr/>
            </p:nvSpPr>
            <p:spPr>
              <a:xfrm>
                <a:off x="5649999" y="4848627"/>
                <a:ext cx="15595" cy="8727"/>
              </a:xfrm>
              <a:custGeom>
                <a:avLst/>
                <a:gdLst>
                  <a:gd name="connsiteX0" fmla="*/ 14170 w 15595"/>
                  <a:gd name="connsiteY0" fmla="*/ 4732 h 8727"/>
                  <a:gd name="connsiteX1" fmla="*/ 2929 w 15595"/>
                  <a:gd name="connsiteY1" fmla="*/ 179 h 8727"/>
                  <a:gd name="connsiteX2" fmla="*/ 193 w 15595"/>
                  <a:gd name="connsiteY2" fmla="*/ 1202 h 8727"/>
                  <a:gd name="connsiteX3" fmla="*/ 1215 w 15595"/>
                  <a:gd name="connsiteY3" fmla="*/ 3907 h 8727"/>
                  <a:gd name="connsiteX4" fmla="*/ 12851 w 15595"/>
                  <a:gd name="connsiteY4" fmla="*/ 8624 h 8727"/>
                  <a:gd name="connsiteX5" fmla="*/ 15488 w 15595"/>
                  <a:gd name="connsiteY5" fmla="*/ 7305 h 8727"/>
                  <a:gd name="connsiteX6" fmla="*/ 14203 w 15595"/>
                  <a:gd name="connsiteY6" fmla="*/ 4764 h 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5" h="8727">
                    <a:moveTo>
                      <a:pt x="14170" y="4732"/>
                    </a:moveTo>
                    <a:cubicBezTo>
                      <a:pt x="10379" y="3280"/>
                      <a:pt x="6555" y="1960"/>
                      <a:pt x="2929" y="179"/>
                    </a:cubicBezTo>
                    <a:cubicBezTo>
                      <a:pt x="1907" y="-283"/>
                      <a:pt x="688" y="179"/>
                      <a:pt x="193" y="1202"/>
                    </a:cubicBezTo>
                    <a:cubicBezTo>
                      <a:pt x="-301" y="2225"/>
                      <a:pt x="193" y="3445"/>
                      <a:pt x="1215" y="3907"/>
                    </a:cubicBezTo>
                    <a:cubicBezTo>
                      <a:pt x="4973" y="5754"/>
                      <a:pt x="8929" y="7140"/>
                      <a:pt x="12851" y="8624"/>
                    </a:cubicBezTo>
                    <a:cubicBezTo>
                      <a:pt x="13939" y="8987"/>
                      <a:pt x="15126" y="8360"/>
                      <a:pt x="15488" y="7305"/>
                    </a:cubicBezTo>
                    <a:cubicBezTo>
                      <a:pt x="15851" y="6216"/>
                      <a:pt x="15258" y="5095"/>
                      <a:pt x="14203" y="4764"/>
                    </a:cubicBezTo>
                    <a:close/>
                  </a:path>
                </a:pathLst>
              </a:custGeom>
              <a:solidFill>
                <a:srgbClr val="5856D6"/>
              </a:solidFill>
              <a:ln w="3283" cap="flat">
                <a:noFill/>
                <a:prstDash val="solid"/>
                <a:miter/>
              </a:ln>
            </p:spPr>
            <p:txBody>
              <a:bodyPr rtlCol="0" anchor="ctr"/>
              <a:lstStyle/>
              <a:p>
                <a:endParaRPr lang="en-US"/>
              </a:p>
            </p:txBody>
          </p:sp>
          <p:sp>
            <p:nvSpPr>
              <p:cNvPr id="1450" name="Freeform 1449">
                <a:extLst>
                  <a:ext uri="{FF2B5EF4-FFF2-40B4-BE49-F238E27FC236}">
                    <a16:creationId xmlns:a16="http://schemas.microsoft.com/office/drawing/2014/main" id="{4D4DF633-DB13-DACE-2584-87FB60706A66}"/>
                  </a:ext>
                </a:extLst>
              </p:cNvPr>
              <p:cNvSpPr/>
              <p:nvPr/>
            </p:nvSpPr>
            <p:spPr>
              <a:xfrm>
                <a:off x="5677343" y="4857568"/>
                <a:ext cx="16336" cy="5865"/>
              </a:xfrm>
              <a:custGeom>
                <a:avLst/>
                <a:gdLst>
                  <a:gd name="connsiteX0" fmla="*/ 14449 w 16336"/>
                  <a:gd name="connsiteY0" fmla="*/ 1794 h 5865"/>
                  <a:gd name="connsiteX1" fmla="*/ 2451 w 16336"/>
                  <a:gd name="connsiteY1" fmla="*/ 46 h 5865"/>
                  <a:gd name="connsiteX2" fmla="*/ 44 w 16336"/>
                  <a:gd name="connsiteY2" fmla="*/ 1596 h 5865"/>
                  <a:gd name="connsiteX3" fmla="*/ 1659 w 16336"/>
                  <a:gd name="connsiteY3" fmla="*/ 4070 h 5865"/>
                  <a:gd name="connsiteX4" fmla="*/ 14087 w 16336"/>
                  <a:gd name="connsiteY4" fmla="*/ 5852 h 5865"/>
                  <a:gd name="connsiteX5" fmla="*/ 16328 w 16336"/>
                  <a:gd name="connsiteY5" fmla="*/ 4005 h 5865"/>
                  <a:gd name="connsiteX6" fmla="*/ 14482 w 16336"/>
                  <a:gd name="connsiteY6" fmla="*/ 1761 h 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6" h="5865">
                    <a:moveTo>
                      <a:pt x="14449" y="1794"/>
                    </a:moveTo>
                    <a:cubicBezTo>
                      <a:pt x="10395" y="1498"/>
                      <a:pt x="6439" y="706"/>
                      <a:pt x="2451" y="46"/>
                    </a:cubicBezTo>
                    <a:cubicBezTo>
                      <a:pt x="1363" y="-185"/>
                      <a:pt x="275" y="475"/>
                      <a:pt x="44" y="1596"/>
                    </a:cubicBezTo>
                    <a:cubicBezTo>
                      <a:pt x="-187" y="2685"/>
                      <a:pt x="506" y="3840"/>
                      <a:pt x="1659" y="4070"/>
                    </a:cubicBezTo>
                    <a:cubicBezTo>
                      <a:pt x="5780" y="4730"/>
                      <a:pt x="9900" y="5555"/>
                      <a:pt x="14087" y="5852"/>
                    </a:cubicBezTo>
                    <a:cubicBezTo>
                      <a:pt x="15240" y="5984"/>
                      <a:pt x="16262" y="5126"/>
                      <a:pt x="16328" y="4005"/>
                    </a:cubicBezTo>
                    <a:cubicBezTo>
                      <a:pt x="16427" y="2883"/>
                      <a:pt x="15603" y="1860"/>
                      <a:pt x="14482" y="1761"/>
                    </a:cubicBezTo>
                    <a:close/>
                  </a:path>
                </a:pathLst>
              </a:custGeom>
              <a:solidFill>
                <a:srgbClr val="5856D6"/>
              </a:solidFill>
              <a:ln w="3283" cap="flat">
                <a:noFill/>
                <a:prstDash val="solid"/>
                <a:miter/>
              </a:ln>
            </p:spPr>
            <p:txBody>
              <a:bodyPr rtlCol="0" anchor="ctr"/>
              <a:lstStyle/>
              <a:p>
                <a:endParaRPr lang="en-US"/>
              </a:p>
            </p:txBody>
          </p:sp>
          <p:sp>
            <p:nvSpPr>
              <p:cNvPr id="1451" name="Freeform 1450">
                <a:extLst>
                  <a:ext uri="{FF2B5EF4-FFF2-40B4-BE49-F238E27FC236}">
                    <a16:creationId xmlns:a16="http://schemas.microsoft.com/office/drawing/2014/main" id="{554DBF79-71AB-0F47-962A-3EEACEA172C5}"/>
                  </a:ext>
                </a:extLst>
              </p:cNvPr>
              <p:cNvSpPr/>
              <p:nvPr/>
            </p:nvSpPr>
            <p:spPr>
              <a:xfrm>
                <a:off x="570599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2" name="Freeform 1451">
                <a:extLst>
                  <a:ext uri="{FF2B5EF4-FFF2-40B4-BE49-F238E27FC236}">
                    <a16:creationId xmlns:a16="http://schemas.microsoft.com/office/drawing/2014/main" id="{76361647-213C-2BFA-D525-5855E3911885}"/>
                  </a:ext>
                </a:extLst>
              </p:cNvPr>
              <p:cNvSpPr/>
              <p:nvPr/>
            </p:nvSpPr>
            <p:spPr>
              <a:xfrm>
                <a:off x="573480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3" name="Freeform 1452">
                <a:extLst>
                  <a:ext uri="{FF2B5EF4-FFF2-40B4-BE49-F238E27FC236}">
                    <a16:creationId xmlns:a16="http://schemas.microsoft.com/office/drawing/2014/main" id="{8A7E3FA6-91BA-196F-05EC-273204629E26}"/>
                  </a:ext>
                </a:extLst>
              </p:cNvPr>
              <p:cNvSpPr/>
              <p:nvPr/>
            </p:nvSpPr>
            <p:spPr>
              <a:xfrm>
                <a:off x="576361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4" name="Freeform 1453">
                <a:extLst>
                  <a:ext uri="{FF2B5EF4-FFF2-40B4-BE49-F238E27FC236}">
                    <a16:creationId xmlns:a16="http://schemas.microsoft.com/office/drawing/2014/main" id="{97D3241F-82C0-E738-5AD8-B78A05714608}"/>
                  </a:ext>
                </a:extLst>
              </p:cNvPr>
              <p:cNvSpPr/>
              <p:nvPr/>
            </p:nvSpPr>
            <p:spPr>
              <a:xfrm>
                <a:off x="579242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5" name="Freeform 1454">
                <a:extLst>
                  <a:ext uri="{FF2B5EF4-FFF2-40B4-BE49-F238E27FC236}">
                    <a16:creationId xmlns:a16="http://schemas.microsoft.com/office/drawing/2014/main" id="{8B8DE209-DDD5-F358-37D9-DDFF6975DA45}"/>
                  </a:ext>
                </a:extLst>
              </p:cNvPr>
              <p:cNvSpPr/>
              <p:nvPr/>
            </p:nvSpPr>
            <p:spPr>
              <a:xfrm>
                <a:off x="5821239" y="4860022"/>
                <a:ext cx="16415" cy="4090"/>
              </a:xfrm>
              <a:custGeom>
                <a:avLst/>
                <a:gdLst>
                  <a:gd name="connsiteX0" fmla="*/ 14372 w 16415"/>
                  <a:gd name="connsiteY0" fmla="*/ 0 h 4090"/>
                  <a:gd name="connsiteX1" fmla="*/ 2044 w 16415"/>
                  <a:gd name="connsiteY1" fmla="*/ 0 h 4090"/>
                  <a:gd name="connsiteX2" fmla="*/ 0 w 16415"/>
                  <a:gd name="connsiteY2" fmla="*/ 2045 h 4090"/>
                  <a:gd name="connsiteX3" fmla="*/ 2044 w 16415"/>
                  <a:gd name="connsiteY3" fmla="*/ 4091 h 4090"/>
                  <a:gd name="connsiteX4" fmla="*/ 14372 w 16415"/>
                  <a:gd name="connsiteY4" fmla="*/ 4091 h 4090"/>
                  <a:gd name="connsiteX5" fmla="*/ 16416 w 16415"/>
                  <a:gd name="connsiteY5" fmla="*/ 2045 h 4090"/>
                  <a:gd name="connsiteX6" fmla="*/ 14372 w 16415"/>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5" h="4090">
                    <a:moveTo>
                      <a:pt x="14372" y="0"/>
                    </a:moveTo>
                    <a:lnTo>
                      <a:pt x="2044" y="0"/>
                    </a:lnTo>
                    <a:cubicBezTo>
                      <a:pt x="923" y="0"/>
                      <a:pt x="0" y="924"/>
                      <a:pt x="0" y="2045"/>
                    </a:cubicBezTo>
                    <a:cubicBezTo>
                      <a:pt x="0" y="3167"/>
                      <a:pt x="923" y="4091"/>
                      <a:pt x="2044" y="4091"/>
                    </a:cubicBezTo>
                    <a:lnTo>
                      <a:pt x="14372" y="4091"/>
                    </a:lnTo>
                    <a:cubicBezTo>
                      <a:pt x="15493" y="4091"/>
                      <a:pt x="16416" y="3167"/>
                      <a:pt x="16416" y="2045"/>
                    </a:cubicBezTo>
                    <a:cubicBezTo>
                      <a:pt x="16416" y="924"/>
                      <a:pt x="15493" y="0"/>
                      <a:pt x="14372" y="0"/>
                    </a:cubicBezTo>
                    <a:close/>
                  </a:path>
                </a:pathLst>
              </a:custGeom>
              <a:solidFill>
                <a:srgbClr val="5856D6"/>
              </a:solidFill>
              <a:ln w="3283" cap="flat">
                <a:noFill/>
                <a:prstDash val="solid"/>
                <a:miter/>
              </a:ln>
            </p:spPr>
            <p:txBody>
              <a:bodyPr rtlCol="0" anchor="ctr"/>
              <a:lstStyle/>
              <a:p>
                <a:endParaRPr lang="en-US"/>
              </a:p>
            </p:txBody>
          </p:sp>
          <p:sp>
            <p:nvSpPr>
              <p:cNvPr id="1456" name="Freeform 1455">
                <a:extLst>
                  <a:ext uri="{FF2B5EF4-FFF2-40B4-BE49-F238E27FC236}">
                    <a16:creationId xmlns:a16="http://schemas.microsoft.com/office/drawing/2014/main" id="{AFD05B5F-B284-85B2-D625-AF9678DE7B2A}"/>
                  </a:ext>
                </a:extLst>
              </p:cNvPr>
              <p:cNvSpPr/>
              <p:nvPr/>
            </p:nvSpPr>
            <p:spPr>
              <a:xfrm>
                <a:off x="5850016" y="4860022"/>
                <a:ext cx="16448" cy="4090"/>
              </a:xfrm>
              <a:custGeom>
                <a:avLst/>
                <a:gdLst>
                  <a:gd name="connsiteX0" fmla="*/ 14405 w 16448"/>
                  <a:gd name="connsiteY0" fmla="*/ 0 h 4090"/>
                  <a:gd name="connsiteX1" fmla="*/ 2044 w 16448"/>
                  <a:gd name="connsiteY1" fmla="*/ 0 h 4090"/>
                  <a:gd name="connsiteX2" fmla="*/ 0 w 16448"/>
                  <a:gd name="connsiteY2" fmla="*/ 2045 h 4090"/>
                  <a:gd name="connsiteX3" fmla="*/ 2044 w 16448"/>
                  <a:gd name="connsiteY3" fmla="*/ 4091 h 4090"/>
                  <a:gd name="connsiteX4" fmla="*/ 14405 w 16448"/>
                  <a:gd name="connsiteY4" fmla="*/ 4091 h 4090"/>
                  <a:gd name="connsiteX5" fmla="*/ 16449 w 16448"/>
                  <a:gd name="connsiteY5" fmla="*/ 2045 h 4090"/>
                  <a:gd name="connsiteX6" fmla="*/ 14405 w 16448"/>
                  <a:gd name="connsiteY6" fmla="*/ 0 h 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48" h="4090">
                    <a:moveTo>
                      <a:pt x="14405" y="0"/>
                    </a:moveTo>
                    <a:lnTo>
                      <a:pt x="2044" y="0"/>
                    </a:lnTo>
                    <a:cubicBezTo>
                      <a:pt x="923" y="0"/>
                      <a:pt x="0" y="924"/>
                      <a:pt x="0" y="2045"/>
                    </a:cubicBezTo>
                    <a:cubicBezTo>
                      <a:pt x="0" y="3167"/>
                      <a:pt x="923" y="4091"/>
                      <a:pt x="2044" y="4091"/>
                    </a:cubicBezTo>
                    <a:lnTo>
                      <a:pt x="14405" y="4091"/>
                    </a:lnTo>
                    <a:cubicBezTo>
                      <a:pt x="15526" y="4091"/>
                      <a:pt x="16449" y="3167"/>
                      <a:pt x="16449" y="2045"/>
                    </a:cubicBezTo>
                    <a:cubicBezTo>
                      <a:pt x="16449" y="924"/>
                      <a:pt x="15526" y="0"/>
                      <a:pt x="14405" y="0"/>
                    </a:cubicBezTo>
                    <a:close/>
                  </a:path>
                </a:pathLst>
              </a:custGeom>
              <a:solidFill>
                <a:srgbClr val="5856D6"/>
              </a:solidFill>
              <a:ln w="3283" cap="flat">
                <a:noFill/>
                <a:prstDash val="solid"/>
                <a:miter/>
              </a:ln>
            </p:spPr>
            <p:txBody>
              <a:bodyPr rtlCol="0" anchor="ctr"/>
              <a:lstStyle/>
              <a:p>
                <a:endParaRPr lang="en-US"/>
              </a:p>
            </p:txBody>
          </p:sp>
        </p:grpSp>
      </p:grpSp>
      <p:sp>
        <p:nvSpPr>
          <p:cNvPr id="1457" name="Freeform 1456">
            <a:extLst>
              <a:ext uri="{FF2B5EF4-FFF2-40B4-BE49-F238E27FC236}">
                <a16:creationId xmlns:a16="http://schemas.microsoft.com/office/drawing/2014/main" id="{979ACB25-8750-F0E8-21C7-E697023C67B0}"/>
              </a:ext>
            </a:extLst>
          </p:cNvPr>
          <p:cNvSpPr/>
          <p:nvPr/>
        </p:nvSpPr>
        <p:spPr>
          <a:xfrm>
            <a:off x="6099127" y="4457339"/>
            <a:ext cx="491976" cy="448839"/>
          </a:xfrm>
          <a:custGeom>
            <a:avLst/>
            <a:gdLst>
              <a:gd name="connsiteX0" fmla="*/ 327342 w 491976"/>
              <a:gd name="connsiteY0" fmla="*/ 448839 h 448839"/>
              <a:gd name="connsiteX1" fmla="*/ 399498 w 491976"/>
              <a:gd name="connsiteY1" fmla="*/ 407142 h 448839"/>
              <a:gd name="connsiteX2" fmla="*/ 480851 w 491976"/>
              <a:gd name="connsiteY2" fmla="*/ 266117 h 448839"/>
              <a:gd name="connsiteX3" fmla="*/ 480851 w 491976"/>
              <a:gd name="connsiteY3" fmla="*/ 182723 h 448839"/>
              <a:gd name="connsiteX4" fmla="*/ 399498 w 491976"/>
              <a:gd name="connsiteY4" fmla="*/ 41697 h 448839"/>
              <a:gd name="connsiteX5" fmla="*/ 327342 w 491976"/>
              <a:gd name="connsiteY5" fmla="*/ 0 h 448839"/>
              <a:gd name="connsiteX6" fmla="*/ 164635 w 491976"/>
              <a:gd name="connsiteY6" fmla="*/ 0 h 448839"/>
              <a:gd name="connsiteX7" fmla="*/ 92478 w 491976"/>
              <a:gd name="connsiteY7" fmla="*/ 41697 h 448839"/>
              <a:gd name="connsiteX8" fmla="*/ 11125 w 491976"/>
              <a:gd name="connsiteY8" fmla="*/ 182723 h 448839"/>
              <a:gd name="connsiteX9" fmla="*/ 11125 w 491976"/>
              <a:gd name="connsiteY9" fmla="*/ 266117 h 448839"/>
              <a:gd name="connsiteX10" fmla="*/ 92478 w 491976"/>
              <a:gd name="connsiteY10" fmla="*/ 407142 h 448839"/>
              <a:gd name="connsiteX11" fmla="*/ 164635 w 491976"/>
              <a:gd name="connsiteY11" fmla="*/ 448839 h 448839"/>
              <a:gd name="connsiteX12" fmla="*/ 327342 w 491976"/>
              <a:gd name="connsiteY12" fmla="*/ 448839 h 4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976" h="448839">
                <a:moveTo>
                  <a:pt x="327342" y="448839"/>
                </a:moveTo>
                <a:cubicBezTo>
                  <a:pt x="357009" y="448839"/>
                  <a:pt x="384665" y="432873"/>
                  <a:pt x="399498" y="407142"/>
                </a:cubicBezTo>
                <a:lnTo>
                  <a:pt x="480851" y="266117"/>
                </a:lnTo>
                <a:cubicBezTo>
                  <a:pt x="495685" y="240386"/>
                  <a:pt x="495685" y="208453"/>
                  <a:pt x="480851" y="182723"/>
                </a:cubicBezTo>
                <a:lnTo>
                  <a:pt x="399498" y="41697"/>
                </a:lnTo>
                <a:cubicBezTo>
                  <a:pt x="384665" y="15966"/>
                  <a:pt x="357009" y="0"/>
                  <a:pt x="327342" y="0"/>
                </a:cubicBezTo>
                <a:lnTo>
                  <a:pt x="164635" y="0"/>
                </a:lnTo>
                <a:cubicBezTo>
                  <a:pt x="134968" y="0"/>
                  <a:pt x="107312" y="15966"/>
                  <a:pt x="92478" y="41697"/>
                </a:cubicBezTo>
                <a:lnTo>
                  <a:pt x="11125" y="182723"/>
                </a:lnTo>
                <a:cubicBezTo>
                  <a:pt x="-3708" y="208453"/>
                  <a:pt x="-3708" y="240386"/>
                  <a:pt x="11125" y="266117"/>
                </a:cubicBezTo>
                <a:lnTo>
                  <a:pt x="92478" y="407142"/>
                </a:lnTo>
                <a:cubicBezTo>
                  <a:pt x="107312" y="432873"/>
                  <a:pt x="134968" y="448839"/>
                  <a:pt x="164635" y="448839"/>
                </a:cubicBezTo>
                <a:lnTo>
                  <a:pt x="327342" y="448839"/>
                </a:lnTo>
                <a:close/>
              </a:path>
            </a:pathLst>
          </a:custGeom>
          <a:solidFill>
            <a:srgbClr val="5856D6"/>
          </a:solidFill>
          <a:ln w="3283" cap="flat">
            <a:noFill/>
            <a:prstDash val="solid"/>
            <a:miter/>
          </a:ln>
        </p:spPr>
        <p:txBody>
          <a:bodyPr rtlCol="0" anchor="ctr"/>
          <a:lstStyle/>
          <a:p>
            <a:endParaRPr lang="en-US"/>
          </a:p>
        </p:txBody>
      </p:sp>
      <p:sp>
        <p:nvSpPr>
          <p:cNvPr id="1458" name="Freeform 1457">
            <a:extLst>
              <a:ext uri="{FF2B5EF4-FFF2-40B4-BE49-F238E27FC236}">
                <a16:creationId xmlns:a16="http://schemas.microsoft.com/office/drawing/2014/main" id="{040DE7EA-F01A-93E3-D941-8EB4D1AE3078}"/>
              </a:ext>
            </a:extLst>
          </p:cNvPr>
          <p:cNvSpPr/>
          <p:nvPr/>
        </p:nvSpPr>
        <p:spPr>
          <a:xfrm>
            <a:off x="6140092" y="4498376"/>
            <a:ext cx="410046" cy="366764"/>
          </a:xfrm>
          <a:custGeom>
            <a:avLst/>
            <a:gdLst>
              <a:gd name="connsiteX0" fmla="*/ 123670 w 410046"/>
              <a:gd name="connsiteY0" fmla="*/ 0 h 366764"/>
              <a:gd name="connsiteX1" fmla="*/ 286377 w 410046"/>
              <a:gd name="connsiteY1" fmla="*/ 0 h 366764"/>
              <a:gd name="connsiteX2" fmla="*/ 323032 w 410046"/>
              <a:gd name="connsiteY2" fmla="*/ 21178 h 366764"/>
              <a:gd name="connsiteX3" fmla="*/ 404385 w 410046"/>
              <a:gd name="connsiteY3" fmla="*/ 162204 h 366764"/>
              <a:gd name="connsiteX4" fmla="*/ 404385 w 410046"/>
              <a:gd name="connsiteY4" fmla="*/ 204561 h 366764"/>
              <a:gd name="connsiteX5" fmla="*/ 323032 w 410046"/>
              <a:gd name="connsiteY5" fmla="*/ 345586 h 366764"/>
              <a:gd name="connsiteX6" fmla="*/ 286377 w 410046"/>
              <a:gd name="connsiteY6" fmla="*/ 366764 h 366764"/>
              <a:gd name="connsiteX7" fmla="*/ 123670 w 410046"/>
              <a:gd name="connsiteY7" fmla="*/ 366764 h 366764"/>
              <a:gd name="connsiteX8" fmla="*/ 87015 w 410046"/>
              <a:gd name="connsiteY8" fmla="*/ 345586 h 366764"/>
              <a:gd name="connsiteX9" fmla="*/ 5661 w 410046"/>
              <a:gd name="connsiteY9" fmla="*/ 204561 h 366764"/>
              <a:gd name="connsiteX10" fmla="*/ 5661 w 410046"/>
              <a:gd name="connsiteY10" fmla="*/ 162204 h 366764"/>
              <a:gd name="connsiteX11" fmla="*/ 87015 w 410046"/>
              <a:gd name="connsiteY11" fmla="*/ 21178 h 366764"/>
              <a:gd name="connsiteX12" fmla="*/ 123670 w 410046"/>
              <a:gd name="connsiteY12" fmla="*/ 0 h 3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046" h="366764">
                <a:moveTo>
                  <a:pt x="123670" y="0"/>
                </a:moveTo>
                <a:lnTo>
                  <a:pt x="286377" y="0"/>
                </a:lnTo>
                <a:cubicBezTo>
                  <a:pt x="301507" y="0"/>
                  <a:pt x="315450" y="8082"/>
                  <a:pt x="323032" y="21178"/>
                </a:cubicBezTo>
                <a:lnTo>
                  <a:pt x="404385" y="162204"/>
                </a:lnTo>
                <a:cubicBezTo>
                  <a:pt x="411934" y="175300"/>
                  <a:pt x="411934" y="191464"/>
                  <a:pt x="404385" y="204561"/>
                </a:cubicBezTo>
                <a:lnTo>
                  <a:pt x="323032" y="345586"/>
                </a:lnTo>
                <a:cubicBezTo>
                  <a:pt x="315483" y="358682"/>
                  <a:pt x="301507" y="366764"/>
                  <a:pt x="286377" y="366764"/>
                </a:cubicBezTo>
                <a:lnTo>
                  <a:pt x="123670" y="366764"/>
                </a:lnTo>
                <a:cubicBezTo>
                  <a:pt x="108540" y="366764"/>
                  <a:pt x="94596" y="358682"/>
                  <a:pt x="87015" y="345586"/>
                </a:cubicBezTo>
                <a:lnTo>
                  <a:pt x="5661" y="204561"/>
                </a:lnTo>
                <a:cubicBezTo>
                  <a:pt x="-1887" y="191464"/>
                  <a:pt x="-1887" y="175300"/>
                  <a:pt x="5661" y="162204"/>
                </a:cubicBezTo>
                <a:lnTo>
                  <a:pt x="87015" y="21178"/>
                </a:lnTo>
                <a:cubicBezTo>
                  <a:pt x="94563" y="8082"/>
                  <a:pt x="108540" y="0"/>
                  <a:pt x="123670" y="0"/>
                </a:cubicBezTo>
                <a:close/>
              </a:path>
            </a:pathLst>
          </a:custGeom>
          <a:solidFill>
            <a:srgbClr val="FFFFFF"/>
          </a:solidFill>
          <a:ln w="3283" cap="flat">
            <a:noFill/>
            <a:prstDash val="solid"/>
            <a:miter/>
          </a:ln>
        </p:spPr>
        <p:txBody>
          <a:bodyPr rtlCol="0" anchor="ctr"/>
          <a:lstStyle/>
          <a:p>
            <a:endParaRPr lang="en-US"/>
          </a:p>
        </p:txBody>
      </p:sp>
      <p:sp>
        <p:nvSpPr>
          <p:cNvPr id="1459" name="Freeform 1458">
            <a:extLst>
              <a:ext uri="{FF2B5EF4-FFF2-40B4-BE49-F238E27FC236}">
                <a16:creationId xmlns:a16="http://schemas.microsoft.com/office/drawing/2014/main" id="{D9C21CEC-BD07-9F48-D349-263D8E852874}"/>
              </a:ext>
            </a:extLst>
          </p:cNvPr>
          <p:cNvSpPr/>
          <p:nvPr/>
        </p:nvSpPr>
        <p:spPr>
          <a:xfrm>
            <a:off x="6303417" y="4577416"/>
            <a:ext cx="83397" cy="208651"/>
          </a:xfrm>
          <a:custGeom>
            <a:avLst/>
            <a:gdLst>
              <a:gd name="connsiteX0" fmla="*/ 55873 w 83397"/>
              <a:gd name="connsiteY0" fmla="*/ 21640 h 208651"/>
              <a:gd name="connsiteX1" fmla="*/ 0 w 83397"/>
              <a:gd name="connsiteY1" fmla="*/ 21640 h 208651"/>
              <a:gd name="connsiteX2" fmla="*/ 0 w 83397"/>
              <a:gd name="connsiteY2" fmla="*/ 0 h 208651"/>
              <a:gd name="connsiteX3" fmla="*/ 83397 w 83397"/>
              <a:gd name="connsiteY3" fmla="*/ 0 h 208651"/>
              <a:gd name="connsiteX4" fmla="*/ 83397 w 83397"/>
              <a:gd name="connsiteY4" fmla="*/ 13393 h 208651"/>
              <a:gd name="connsiteX5" fmla="*/ 44797 w 83397"/>
              <a:gd name="connsiteY5" fmla="*/ 208651 h 208651"/>
              <a:gd name="connsiteX6" fmla="*/ 18295 w 83397"/>
              <a:gd name="connsiteY6" fmla="*/ 208651 h 208651"/>
              <a:gd name="connsiteX7" fmla="*/ 55873 w 83397"/>
              <a:gd name="connsiteY7" fmla="*/ 21640 h 20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397" h="208651">
                <a:moveTo>
                  <a:pt x="55873" y="21640"/>
                </a:moveTo>
                <a:lnTo>
                  <a:pt x="0" y="21640"/>
                </a:lnTo>
                <a:lnTo>
                  <a:pt x="0" y="0"/>
                </a:lnTo>
                <a:lnTo>
                  <a:pt x="83397" y="0"/>
                </a:lnTo>
                <a:lnTo>
                  <a:pt x="83397" y="13393"/>
                </a:lnTo>
                <a:lnTo>
                  <a:pt x="44797" y="208651"/>
                </a:lnTo>
                <a:lnTo>
                  <a:pt x="18295" y="208651"/>
                </a:lnTo>
                <a:cubicBezTo>
                  <a:pt x="18295" y="208651"/>
                  <a:pt x="55873" y="21640"/>
                  <a:pt x="55873" y="21640"/>
                </a:cubicBezTo>
                <a:close/>
              </a:path>
            </a:pathLst>
          </a:custGeom>
          <a:solidFill>
            <a:srgbClr val="5856D6"/>
          </a:solidFill>
          <a:ln w="3283" cap="flat">
            <a:noFill/>
            <a:prstDash val="solid"/>
            <a:miter/>
          </a:ln>
        </p:spPr>
        <p:txBody>
          <a:bodyPr rtlCol="0" anchor="ctr"/>
          <a:lstStyle/>
          <a:p>
            <a:endParaRPr lang="en-US"/>
          </a:p>
        </p:txBody>
      </p:sp>
      <p:grpSp>
        <p:nvGrpSpPr>
          <p:cNvPr id="1460" name="Graphic 776">
            <a:extLst>
              <a:ext uri="{FF2B5EF4-FFF2-40B4-BE49-F238E27FC236}">
                <a16:creationId xmlns:a16="http://schemas.microsoft.com/office/drawing/2014/main" id="{4AB5A773-CE59-AD25-F4ED-BAC133299ED8}"/>
              </a:ext>
            </a:extLst>
          </p:cNvPr>
          <p:cNvGrpSpPr/>
          <p:nvPr/>
        </p:nvGrpSpPr>
        <p:grpSpPr>
          <a:xfrm>
            <a:off x="6099127" y="3988126"/>
            <a:ext cx="113571" cy="103353"/>
            <a:chOff x="5728283" y="3936942"/>
            <a:chExt cx="113571" cy="103353"/>
          </a:xfrm>
        </p:grpSpPr>
        <p:grpSp>
          <p:nvGrpSpPr>
            <p:cNvPr id="1461" name="Graphic 776">
              <a:extLst>
                <a:ext uri="{FF2B5EF4-FFF2-40B4-BE49-F238E27FC236}">
                  <a16:creationId xmlns:a16="http://schemas.microsoft.com/office/drawing/2014/main" id="{B5729BE5-F0C0-745A-1BBF-EB1C5BC366B4}"/>
                </a:ext>
              </a:extLst>
            </p:cNvPr>
            <p:cNvGrpSpPr/>
            <p:nvPr/>
          </p:nvGrpSpPr>
          <p:grpSpPr>
            <a:xfrm>
              <a:off x="5728283" y="3936942"/>
              <a:ext cx="113571" cy="103353"/>
              <a:chOff x="5728283" y="3936942"/>
              <a:chExt cx="113571" cy="103353"/>
            </a:xfrm>
          </p:grpSpPr>
          <p:sp>
            <p:nvSpPr>
              <p:cNvPr id="1462" name="Freeform 1461">
                <a:extLst>
                  <a:ext uri="{FF2B5EF4-FFF2-40B4-BE49-F238E27FC236}">
                    <a16:creationId xmlns:a16="http://schemas.microsoft.com/office/drawing/2014/main" id="{CC6B6016-C140-C63C-7A29-FADBB55C7B62}"/>
                  </a:ext>
                </a:extLst>
              </p:cNvPr>
              <p:cNvSpPr/>
              <p:nvPr/>
            </p:nvSpPr>
            <p:spPr>
              <a:xfrm>
                <a:off x="5729527" y="3939713"/>
                <a:ext cx="109586" cy="97843"/>
              </a:xfrm>
              <a:custGeom>
                <a:avLst/>
                <a:gdLst>
                  <a:gd name="connsiteX0" fmla="*/ 108128 w 109586"/>
                  <a:gd name="connsiteY0" fmla="*/ 43446 h 97843"/>
                  <a:gd name="connsiteX1" fmla="*/ 86207 w 109586"/>
                  <a:gd name="connsiteY1" fmla="*/ 5476 h 97843"/>
                  <a:gd name="connsiteX2" fmla="*/ 76714 w 109586"/>
                  <a:gd name="connsiteY2" fmla="*/ 0 h 97843"/>
                  <a:gd name="connsiteX3" fmla="*/ 32873 w 109586"/>
                  <a:gd name="connsiteY3" fmla="*/ 0 h 97843"/>
                  <a:gd name="connsiteX4" fmla="*/ 23379 w 109586"/>
                  <a:gd name="connsiteY4" fmla="*/ 5476 h 97843"/>
                  <a:gd name="connsiteX5" fmla="*/ 1459 w 109586"/>
                  <a:gd name="connsiteY5" fmla="*/ 43446 h 97843"/>
                  <a:gd name="connsiteX6" fmla="*/ 1459 w 109586"/>
                  <a:gd name="connsiteY6" fmla="*/ 54398 h 97843"/>
                  <a:gd name="connsiteX7" fmla="*/ 23379 w 109586"/>
                  <a:gd name="connsiteY7" fmla="*/ 92367 h 97843"/>
                  <a:gd name="connsiteX8" fmla="*/ 32873 w 109586"/>
                  <a:gd name="connsiteY8" fmla="*/ 97844 h 97843"/>
                  <a:gd name="connsiteX9" fmla="*/ 76714 w 109586"/>
                  <a:gd name="connsiteY9" fmla="*/ 97844 h 97843"/>
                  <a:gd name="connsiteX10" fmla="*/ 86207 w 109586"/>
                  <a:gd name="connsiteY10" fmla="*/ 92367 h 97843"/>
                  <a:gd name="connsiteX11" fmla="*/ 108128 w 109586"/>
                  <a:gd name="connsiteY11" fmla="*/ 54398 h 97843"/>
                  <a:gd name="connsiteX12" fmla="*/ 108128 w 109586"/>
                  <a:gd name="connsiteY12" fmla="*/ 43446 h 9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86" h="97843">
                    <a:moveTo>
                      <a:pt x="108128" y="43446"/>
                    </a:moveTo>
                    <a:lnTo>
                      <a:pt x="86207" y="5476"/>
                    </a:lnTo>
                    <a:cubicBezTo>
                      <a:pt x="84262" y="2078"/>
                      <a:pt x="80636" y="0"/>
                      <a:pt x="76714" y="0"/>
                    </a:cubicBezTo>
                    <a:lnTo>
                      <a:pt x="32873" y="0"/>
                    </a:lnTo>
                    <a:cubicBezTo>
                      <a:pt x="28950" y="0"/>
                      <a:pt x="25357" y="2078"/>
                      <a:pt x="23379" y="5476"/>
                    </a:cubicBezTo>
                    <a:lnTo>
                      <a:pt x="1459" y="43446"/>
                    </a:lnTo>
                    <a:cubicBezTo>
                      <a:pt x="-486" y="46843"/>
                      <a:pt x="-486" y="51000"/>
                      <a:pt x="1459" y="54398"/>
                    </a:cubicBezTo>
                    <a:lnTo>
                      <a:pt x="23379" y="92367"/>
                    </a:lnTo>
                    <a:cubicBezTo>
                      <a:pt x="25324" y="95765"/>
                      <a:pt x="28950" y="97844"/>
                      <a:pt x="32873" y="97844"/>
                    </a:cubicBezTo>
                    <a:lnTo>
                      <a:pt x="76714" y="97844"/>
                    </a:lnTo>
                    <a:cubicBezTo>
                      <a:pt x="80636" y="97844"/>
                      <a:pt x="84229" y="95765"/>
                      <a:pt x="86207" y="92367"/>
                    </a:cubicBezTo>
                    <a:lnTo>
                      <a:pt x="108128" y="54398"/>
                    </a:lnTo>
                    <a:cubicBezTo>
                      <a:pt x="110073" y="51000"/>
                      <a:pt x="110073" y="46843"/>
                      <a:pt x="108128" y="43446"/>
                    </a:cubicBezTo>
                    <a:close/>
                  </a:path>
                </a:pathLst>
              </a:custGeom>
              <a:solidFill>
                <a:srgbClr val="FFFFFF"/>
              </a:solidFill>
              <a:ln w="3283" cap="flat">
                <a:noFill/>
                <a:prstDash val="solid"/>
                <a:miter/>
              </a:ln>
            </p:spPr>
            <p:txBody>
              <a:bodyPr rtlCol="0" anchor="ctr"/>
              <a:lstStyle/>
              <a:p>
                <a:endParaRPr lang="en-US"/>
              </a:p>
            </p:txBody>
          </p:sp>
          <p:grpSp>
            <p:nvGrpSpPr>
              <p:cNvPr id="1463" name="Graphic 776">
                <a:extLst>
                  <a:ext uri="{FF2B5EF4-FFF2-40B4-BE49-F238E27FC236}">
                    <a16:creationId xmlns:a16="http://schemas.microsoft.com/office/drawing/2014/main" id="{7E4CFD91-6E0A-28F3-047D-258B156ED728}"/>
                  </a:ext>
                </a:extLst>
              </p:cNvPr>
              <p:cNvGrpSpPr/>
              <p:nvPr/>
            </p:nvGrpSpPr>
            <p:grpSpPr>
              <a:xfrm>
                <a:off x="5728283" y="3936942"/>
                <a:ext cx="113571" cy="103353"/>
                <a:chOff x="5728283" y="3936942"/>
                <a:chExt cx="113571" cy="103353"/>
              </a:xfrm>
              <a:solidFill>
                <a:srgbClr val="5856D6"/>
              </a:solidFill>
            </p:grpSpPr>
            <p:sp>
              <p:nvSpPr>
                <p:cNvPr id="1464" name="Freeform 1463">
                  <a:extLst>
                    <a:ext uri="{FF2B5EF4-FFF2-40B4-BE49-F238E27FC236}">
                      <a16:creationId xmlns:a16="http://schemas.microsoft.com/office/drawing/2014/main" id="{FE33AABB-5A1E-74E3-7EEB-903BD77BB898}"/>
                    </a:ext>
                  </a:extLst>
                </p:cNvPr>
                <p:cNvSpPr/>
                <p:nvPr/>
              </p:nvSpPr>
              <p:spPr>
                <a:xfrm>
                  <a:off x="5817831" y="3950817"/>
                  <a:ext cx="13342" cy="19028"/>
                </a:xfrm>
                <a:custGeom>
                  <a:avLst/>
                  <a:gdLst>
                    <a:gd name="connsiteX0" fmla="*/ 5089 w 13342"/>
                    <a:gd name="connsiteY0" fmla="*/ 1300 h 19028"/>
                    <a:gd name="connsiteX1" fmla="*/ 13000 w 13342"/>
                    <a:gd name="connsiteY1" fmla="*/ 14990 h 19028"/>
                    <a:gd name="connsiteX2" fmla="*/ 11945 w 13342"/>
                    <a:gd name="connsiteY2" fmla="*/ 18652 h 19028"/>
                    <a:gd name="connsiteX3" fmla="*/ 8254 w 13342"/>
                    <a:gd name="connsiteY3" fmla="*/ 17728 h 19028"/>
                    <a:gd name="connsiteX4" fmla="*/ 342 w 13342"/>
                    <a:gd name="connsiteY4" fmla="*/ 4038 h 19028"/>
                    <a:gd name="connsiteX5" fmla="*/ 1397 w 13342"/>
                    <a:gd name="connsiteY5" fmla="*/ 376 h 19028"/>
                    <a:gd name="connsiteX6" fmla="*/ 5089 w 13342"/>
                    <a:gd name="connsiteY6" fmla="*/ 1300 h 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9028">
                      <a:moveTo>
                        <a:pt x="5089" y="1300"/>
                      </a:moveTo>
                      <a:lnTo>
                        <a:pt x="13000" y="14990"/>
                      </a:lnTo>
                      <a:cubicBezTo>
                        <a:pt x="13726" y="16244"/>
                        <a:pt x="13264" y="17893"/>
                        <a:pt x="11945" y="18652"/>
                      </a:cubicBezTo>
                      <a:cubicBezTo>
                        <a:pt x="10627" y="19411"/>
                        <a:pt x="8979" y="18982"/>
                        <a:pt x="8254" y="17728"/>
                      </a:cubicBezTo>
                      <a:lnTo>
                        <a:pt x="342" y="4038"/>
                      </a:lnTo>
                      <a:cubicBezTo>
                        <a:pt x="-383" y="2785"/>
                        <a:pt x="79" y="1135"/>
                        <a:pt x="1397" y="376"/>
                      </a:cubicBezTo>
                      <a:cubicBezTo>
                        <a:pt x="2716" y="-382"/>
                        <a:pt x="4364" y="46"/>
                        <a:pt x="5089" y="1300"/>
                      </a:cubicBezTo>
                      <a:close/>
                    </a:path>
                  </a:pathLst>
                </a:custGeom>
                <a:solidFill>
                  <a:srgbClr val="5856D6"/>
                </a:solidFill>
                <a:ln w="3283" cap="flat">
                  <a:noFill/>
                  <a:prstDash val="solid"/>
                  <a:miter/>
                </a:ln>
              </p:spPr>
              <p:txBody>
                <a:bodyPr rtlCol="0" anchor="ctr"/>
                <a:lstStyle/>
                <a:p>
                  <a:endParaRPr lang="en-US"/>
                </a:p>
              </p:txBody>
            </p:sp>
            <p:sp>
              <p:nvSpPr>
                <p:cNvPr id="1465" name="Freeform 1464">
                  <a:extLst>
                    <a:ext uri="{FF2B5EF4-FFF2-40B4-BE49-F238E27FC236}">
                      <a16:creationId xmlns:a16="http://schemas.microsoft.com/office/drawing/2014/main" id="{538EC74F-D2E6-01AC-E99B-ACDCBB9DD5AE}"/>
                    </a:ext>
                  </a:extLst>
                </p:cNvPr>
                <p:cNvSpPr/>
                <p:nvPr/>
              </p:nvSpPr>
              <p:spPr>
                <a:xfrm>
                  <a:off x="5787847" y="3936942"/>
                  <a:ext cx="21119" cy="5475"/>
                </a:xfrm>
                <a:custGeom>
                  <a:avLst/>
                  <a:gdLst>
                    <a:gd name="connsiteX0" fmla="*/ 2637 w 21119"/>
                    <a:gd name="connsiteY0" fmla="*/ 0 h 5475"/>
                    <a:gd name="connsiteX1" fmla="*/ 18426 w 21119"/>
                    <a:gd name="connsiteY1" fmla="*/ 0 h 5475"/>
                    <a:gd name="connsiteX2" fmla="*/ 21031 w 21119"/>
                    <a:gd name="connsiteY2" fmla="*/ 3068 h 5475"/>
                    <a:gd name="connsiteX3" fmla="*/ 18426 w 21119"/>
                    <a:gd name="connsiteY3" fmla="*/ 5476 h 5475"/>
                    <a:gd name="connsiteX4" fmla="*/ 2637 w 21119"/>
                    <a:gd name="connsiteY4" fmla="*/ 5476 h 5475"/>
                    <a:gd name="connsiteX5" fmla="*/ 0 w 21119"/>
                    <a:gd name="connsiteY5" fmla="*/ 2738 h 5475"/>
                    <a:gd name="connsiteX6" fmla="*/ 2637 w 21119"/>
                    <a:gd name="connsiteY6" fmla="*/ 0 h 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9" h="5475">
                      <a:moveTo>
                        <a:pt x="2637" y="0"/>
                      </a:moveTo>
                      <a:lnTo>
                        <a:pt x="18426" y="0"/>
                      </a:lnTo>
                      <a:cubicBezTo>
                        <a:pt x="20305" y="0"/>
                        <a:pt x="21459" y="1616"/>
                        <a:pt x="21031" y="3068"/>
                      </a:cubicBezTo>
                      <a:cubicBezTo>
                        <a:pt x="20602" y="4519"/>
                        <a:pt x="19448" y="5476"/>
                        <a:pt x="18426" y="5476"/>
                      </a:cubicBezTo>
                      <a:lnTo>
                        <a:pt x="2637" y="5476"/>
                      </a:lnTo>
                      <a:cubicBezTo>
                        <a:pt x="1187" y="5476"/>
                        <a:pt x="0" y="4255"/>
                        <a:pt x="0" y="2738"/>
                      </a:cubicBezTo>
                      <a:cubicBezTo>
                        <a:pt x="0" y="1221"/>
                        <a:pt x="1187" y="0"/>
                        <a:pt x="2637" y="0"/>
                      </a:cubicBezTo>
                      <a:close/>
                    </a:path>
                  </a:pathLst>
                </a:custGeom>
                <a:solidFill>
                  <a:srgbClr val="5856D6"/>
                </a:solidFill>
                <a:ln w="3283" cap="flat">
                  <a:noFill/>
                  <a:prstDash val="solid"/>
                  <a:miter/>
                </a:ln>
              </p:spPr>
              <p:txBody>
                <a:bodyPr rtlCol="0" anchor="ctr"/>
                <a:lstStyle/>
                <a:p>
                  <a:endParaRPr lang="en-US"/>
                </a:p>
              </p:txBody>
            </p:sp>
            <p:sp>
              <p:nvSpPr>
                <p:cNvPr id="1466" name="Freeform 1465">
                  <a:extLst>
                    <a:ext uri="{FF2B5EF4-FFF2-40B4-BE49-F238E27FC236}">
                      <a16:creationId xmlns:a16="http://schemas.microsoft.com/office/drawing/2014/main" id="{9A3F58B1-573C-DEBD-1CC5-6DAA27D3E9D3}"/>
                    </a:ext>
                  </a:extLst>
                </p:cNvPr>
                <p:cNvSpPr/>
                <p:nvPr/>
              </p:nvSpPr>
              <p:spPr>
                <a:xfrm>
                  <a:off x="5751763" y="3936942"/>
                  <a:ext cx="20294" cy="8669"/>
                </a:xfrm>
                <a:custGeom>
                  <a:avLst/>
                  <a:gdLst>
                    <a:gd name="connsiteX0" fmla="*/ 813 w 20294"/>
                    <a:gd name="connsiteY0" fmla="*/ 4222 h 8669"/>
                    <a:gd name="connsiteX1" fmla="*/ 9515 w 20294"/>
                    <a:gd name="connsiteY1" fmla="*/ 66 h 8669"/>
                    <a:gd name="connsiteX2" fmla="*/ 17657 w 20294"/>
                    <a:gd name="connsiteY2" fmla="*/ 0 h 8669"/>
                    <a:gd name="connsiteX3" fmla="*/ 20294 w 20294"/>
                    <a:gd name="connsiteY3" fmla="*/ 2738 h 8669"/>
                    <a:gd name="connsiteX4" fmla="*/ 17657 w 20294"/>
                    <a:gd name="connsiteY4" fmla="*/ 5476 h 8669"/>
                    <a:gd name="connsiteX5" fmla="*/ 9977 w 20294"/>
                    <a:gd name="connsiteY5" fmla="*/ 5476 h 8669"/>
                    <a:gd name="connsiteX6" fmla="*/ 4769 w 20294"/>
                    <a:gd name="connsiteY6" fmla="*/ 8016 h 8669"/>
                    <a:gd name="connsiteX7" fmla="*/ 1209 w 20294"/>
                    <a:gd name="connsiteY7" fmla="*/ 8214 h 8669"/>
                    <a:gd name="connsiteX8" fmla="*/ 813 w 20294"/>
                    <a:gd name="connsiteY8" fmla="*/ 4222 h 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94" h="8669">
                      <a:moveTo>
                        <a:pt x="813" y="4222"/>
                      </a:moveTo>
                      <a:cubicBezTo>
                        <a:pt x="3088" y="1847"/>
                        <a:pt x="6252" y="330"/>
                        <a:pt x="9515" y="66"/>
                      </a:cubicBezTo>
                      <a:cubicBezTo>
                        <a:pt x="12614" y="-33"/>
                        <a:pt x="14921" y="66"/>
                        <a:pt x="17657" y="0"/>
                      </a:cubicBezTo>
                      <a:cubicBezTo>
                        <a:pt x="19108" y="0"/>
                        <a:pt x="20294" y="1221"/>
                        <a:pt x="20294" y="2738"/>
                      </a:cubicBezTo>
                      <a:cubicBezTo>
                        <a:pt x="20294" y="4255"/>
                        <a:pt x="19108" y="5476"/>
                        <a:pt x="17657" y="5476"/>
                      </a:cubicBezTo>
                      <a:lnTo>
                        <a:pt x="9977" y="5476"/>
                      </a:lnTo>
                      <a:cubicBezTo>
                        <a:pt x="7999" y="5674"/>
                        <a:pt x="6120" y="6598"/>
                        <a:pt x="4769" y="8016"/>
                      </a:cubicBezTo>
                      <a:cubicBezTo>
                        <a:pt x="4043" y="8742"/>
                        <a:pt x="2560" y="8940"/>
                        <a:pt x="1209" y="8214"/>
                      </a:cubicBezTo>
                      <a:cubicBezTo>
                        <a:pt x="-110" y="7521"/>
                        <a:pt x="-505" y="5575"/>
                        <a:pt x="813" y="4222"/>
                      </a:cubicBezTo>
                      <a:close/>
                    </a:path>
                  </a:pathLst>
                </a:custGeom>
                <a:solidFill>
                  <a:srgbClr val="5856D6"/>
                </a:solidFill>
                <a:ln w="3283" cap="flat">
                  <a:noFill/>
                  <a:prstDash val="solid"/>
                  <a:miter/>
                </a:ln>
              </p:spPr>
              <p:txBody>
                <a:bodyPr rtlCol="0" anchor="ctr"/>
                <a:lstStyle/>
                <a:p>
                  <a:endParaRPr lang="en-US"/>
                </a:p>
              </p:txBody>
            </p:sp>
            <p:sp>
              <p:nvSpPr>
                <p:cNvPr id="1467" name="Freeform 1466">
                  <a:extLst>
                    <a:ext uri="{FF2B5EF4-FFF2-40B4-BE49-F238E27FC236}">
                      <a16:creationId xmlns:a16="http://schemas.microsoft.com/office/drawing/2014/main" id="{B35BB60C-55C4-DF98-5203-0287267D310B}"/>
                    </a:ext>
                  </a:extLst>
                </p:cNvPr>
                <p:cNvSpPr/>
                <p:nvPr/>
              </p:nvSpPr>
              <p:spPr>
                <a:xfrm>
                  <a:off x="5733148" y="3958485"/>
                  <a:ext cx="13342" cy="18998"/>
                </a:xfrm>
                <a:custGeom>
                  <a:avLst/>
                  <a:gdLst>
                    <a:gd name="connsiteX0" fmla="*/ 342 w 13342"/>
                    <a:gd name="connsiteY0" fmla="*/ 14976 h 18998"/>
                    <a:gd name="connsiteX1" fmla="*/ 8254 w 13342"/>
                    <a:gd name="connsiteY1" fmla="*/ 1285 h 18998"/>
                    <a:gd name="connsiteX2" fmla="*/ 11946 w 13342"/>
                    <a:gd name="connsiteY2" fmla="*/ 362 h 18998"/>
                    <a:gd name="connsiteX3" fmla="*/ 13000 w 13342"/>
                    <a:gd name="connsiteY3" fmla="*/ 4023 h 18998"/>
                    <a:gd name="connsiteX4" fmla="*/ 5089 w 13342"/>
                    <a:gd name="connsiteY4" fmla="*/ 17713 h 18998"/>
                    <a:gd name="connsiteX5" fmla="*/ 1397 w 13342"/>
                    <a:gd name="connsiteY5" fmla="*/ 18637 h 18998"/>
                    <a:gd name="connsiteX6" fmla="*/ 342 w 13342"/>
                    <a:gd name="connsiteY6" fmla="*/ 14976 h 1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2" h="18998">
                      <a:moveTo>
                        <a:pt x="342" y="14976"/>
                      </a:moveTo>
                      <a:lnTo>
                        <a:pt x="8254" y="1285"/>
                      </a:lnTo>
                      <a:cubicBezTo>
                        <a:pt x="8979" y="32"/>
                        <a:pt x="10627" y="-364"/>
                        <a:pt x="11946" y="362"/>
                      </a:cubicBezTo>
                      <a:cubicBezTo>
                        <a:pt x="13264" y="1120"/>
                        <a:pt x="13726" y="2770"/>
                        <a:pt x="13000" y="4023"/>
                      </a:cubicBezTo>
                      <a:lnTo>
                        <a:pt x="5089" y="17713"/>
                      </a:lnTo>
                      <a:cubicBezTo>
                        <a:pt x="4364" y="18967"/>
                        <a:pt x="2716" y="19363"/>
                        <a:pt x="1397" y="18637"/>
                      </a:cubicBezTo>
                      <a:cubicBezTo>
                        <a:pt x="79" y="17879"/>
                        <a:pt x="-383" y="16229"/>
                        <a:pt x="342" y="14976"/>
                      </a:cubicBezTo>
                      <a:close/>
                    </a:path>
                  </a:pathLst>
                </a:custGeom>
                <a:solidFill>
                  <a:srgbClr val="5856D6"/>
                </a:solidFill>
                <a:ln w="3283" cap="flat">
                  <a:noFill/>
                  <a:prstDash val="solid"/>
                  <a:miter/>
                </a:ln>
              </p:spPr>
              <p:txBody>
                <a:bodyPr rtlCol="0" anchor="ctr"/>
                <a:lstStyle/>
                <a:p>
                  <a:endParaRPr lang="en-US"/>
                </a:p>
              </p:txBody>
            </p:sp>
            <p:sp>
              <p:nvSpPr>
                <p:cNvPr id="1468" name="Freeform 1467">
                  <a:extLst>
                    <a:ext uri="{FF2B5EF4-FFF2-40B4-BE49-F238E27FC236}">
                      <a16:creationId xmlns:a16="http://schemas.microsoft.com/office/drawing/2014/main" id="{777F1B8E-F427-50E4-7AF3-78287B3783C1}"/>
                    </a:ext>
                  </a:extLst>
                </p:cNvPr>
                <p:cNvSpPr/>
                <p:nvPr/>
              </p:nvSpPr>
              <p:spPr>
                <a:xfrm>
                  <a:off x="5728283" y="3991554"/>
                  <a:ext cx="13395" cy="18899"/>
                </a:xfrm>
                <a:custGeom>
                  <a:avLst/>
                  <a:gdLst>
                    <a:gd name="connsiteX0" fmla="*/ 8307 w 13395"/>
                    <a:gd name="connsiteY0" fmla="*/ 17600 h 18899"/>
                    <a:gd name="connsiteX1" fmla="*/ 396 w 13395"/>
                    <a:gd name="connsiteY1" fmla="*/ 3910 h 18899"/>
                    <a:gd name="connsiteX2" fmla="*/ 1747 w 13395"/>
                    <a:gd name="connsiteY2" fmla="*/ 116 h 18899"/>
                    <a:gd name="connsiteX3" fmla="*/ 5142 w 13395"/>
                    <a:gd name="connsiteY3" fmla="*/ 1171 h 18899"/>
                    <a:gd name="connsiteX4" fmla="*/ 13053 w 13395"/>
                    <a:gd name="connsiteY4" fmla="*/ 14862 h 18899"/>
                    <a:gd name="connsiteX5" fmla="*/ 11999 w 13395"/>
                    <a:gd name="connsiteY5" fmla="*/ 18523 h 18899"/>
                    <a:gd name="connsiteX6" fmla="*/ 8307 w 13395"/>
                    <a:gd name="connsiteY6" fmla="*/ 17600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5" h="18899">
                      <a:moveTo>
                        <a:pt x="8307" y="17600"/>
                      </a:moveTo>
                      <a:lnTo>
                        <a:pt x="396" y="3910"/>
                      </a:lnTo>
                      <a:cubicBezTo>
                        <a:pt x="-527" y="2260"/>
                        <a:pt x="264" y="479"/>
                        <a:pt x="1747" y="116"/>
                      </a:cubicBezTo>
                      <a:cubicBezTo>
                        <a:pt x="3197" y="-247"/>
                        <a:pt x="4648" y="281"/>
                        <a:pt x="5142" y="1171"/>
                      </a:cubicBezTo>
                      <a:lnTo>
                        <a:pt x="13053" y="14862"/>
                      </a:lnTo>
                      <a:cubicBezTo>
                        <a:pt x="13779" y="16115"/>
                        <a:pt x="13317" y="17765"/>
                        <a:pt x="11999" y="18523"/>
                      </a:cubicBezTo>
                      <a:cubicBezTo>
                        <a:pt x="10680" y="19282"/>
                        <a:pt x="9032" y="18853"/>
                        <a:pt x="8307" y="17600"/>
                      </a:cubicBezTo>
                      <a:close/>
                    </a:path>
                  </a:pathLst>
                </a:custGeom>
                <a:solidFill>
                  <a:srgbClr val="5856D6"/>
                </a:solidFill>
                <a:ln w="3283" cap="flat">
                  <a:noFill/>
                  <a:prstDash val="solid"/>
                  <a:miter/>
                </a:ln>
              </p:spPr>
              <p:txBody>
                <a:bodyPr rtlCol="0" anchor="ctr"/>
                <a:lstStyle/>
                <a:p>
                  <a:endParaRPr lang="en-US"/>
                </a:p>
              </p:txBody>
            </p:sp>
            <p:sp>
              <p:nvSpPr>
                <p:cNvPr id="1469" name="Freeform 1468">
                  <a:extLst>
                    <a:ext uri="{FF2B5EF4-FFF2-40B4-BE49-F238E27FC236}">
                      <a16:creationId xmlns:a16="http://schemas.microsoft.com/office/drawing/2014/main" id="{06974E3E-1737-9434-0DC1-11DEDEC79092}"/>
                    </a:ext>
                  </a:extLst>
                </p:cNvPr>
                <p:cNvSpPr/>
                <p:nvPr/>
              </p:nvSpPr>
              <p:spPr>
                <a:xfrm>
                  <a:off x="5746762" y="4023358"/>
                  <a:ext cx="15672" cy="16601"/>
                </a:xfrm>
                <a:custGeom>
                  <a:avLst/>
                  <a:gdLst>
                    <a:gd name="connsiteX0" fmla="*/ 12440 w 15672"/>
                    <a:gd name="connsiteY0" fmla="*/ 16541 h 16601"/>
                    <a:gd name="connsiteX1" fmla="*/ 4463 w 15672"/>
                    <a:gd name="connsiteY1" fmla="*/ 11065 h 16601"/>
                    <a:gd name="connsiteX2" fmla="*/ 342 w 15672"/>
                    <a:gd name="connsiteY2" fmla="*/ 4038 h 16601"/>
                    <a:gd name="connsiteX3" fmla="*/ 1397 w 15672"/>
                    <a:gd name="connsiteY3" fmla="*/ 376 h 16601"/>
                    <a:gd name="connsiteX4" fmla="*/ 5089 w 15672"/>
                    <a:gd name="connsiteY4" fmla="*/ 1300 h 16601"/>
                    <a:gd name="connsiteX5" fmla="*/ 8946 w 15672"/>
                    <a:gd name="connsiteY5" fmla="*/ 7931 h 16601"/>
                    <a:gd name="connsiteX6" fmla="*/ 13726 w 15672"/>
                    <a:gd name="connsiteY6" fmla="*/ 11196 h 16601"/>
                    <a:gd name="connsiteX7" fmla="*/ 15670 w 15672"/>
                    <a:gd name="connsiteY7" fmla="*/ 14165 h 16601"/>
                    <a:gd name="connsiteX8" fmla="*/ 12407 w 15672"/>
                    <a:gd name="connsiteY8" fmla="*/ 16508 h 1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2" h="16601">
                      <a:moveTo>
                        <a:pt x="12440" y="16541"/>
                      </a:moveTo>
                      <a:cubicBezTo>
                        <a:pt x="9243" y="15749"/>
                        <a:pt x="6342" y="13803"/>
                        <a:pt x="4463" y="11065"/>
                      </a:cubicBezTo>
                      <a:cubicBezTo>
                        <a:pt x="2815" y="8426"/>
                        <a:pt x="1727" y="6413"/>
                        <a:pt x="342" y="4038"/>
                      </a:cubicBezTo>
                      <a:cubicBezTo>
                        <a:pt x="-383" y="2784"/>
                        <a:pt x="79" y="1135"/>
                        <a:pt x="1397" y="376"/>
                      </a:cubicBezTo>
                      <a:cubicBezTo>
                        <a:pt x="2716" y="-382"/>
                        <a:pt x="4364" y="46"/>
                        <a:pt x="5089" y="1300"/>
                      </a:cubicBezTo>
                      <a:lnTo>
                        <a:pt x="8946" y="7931"/>
                      </a:lnTo>
                      <a:cubicBezTo>
                        <a:pt x="10067" y="9547"/>
                        <a:pt x="11814" y="10735"/>
                        <a:pt x="13726" y="11196"/>
                      </a:cubicBezTo>
                      <a:cubicBezTo>
                        <a:pt x="14714" y="11460"/>
                        <a:pt x="15604" y="12648"/>
                        <a:pt x="15670" y="14165"/>
                      </a:cubicBezTo>
                      <a:cubicBezTo>
                        <a:pt x="15736" y="15650"/>
                        <a:pt x="14253" y="16969"/>
                        <a:pt x="12407" y="16508"/>
                      </a:cubicBezTo>
                      <a:close/>
                    </a:path>
                  </a:pathLst>
                </a:custGeom>
                <a:solidFill>
                  <a:srgbClr val="5856D6"/>
                </a:solidFill>
                <a:ln w="3283" cap="flat">
                  <a:noFill/>
                  <a:prstDash val="solid"/>
                  <a:miter/>
                </a:ln>
              </p:spPr>
              <p:txBody>
                <a:bodyPr rtlCol="0" anchor="ctr"/>
                <a:lstStyle/>
                <a:p>
                  <a:endParaRPr lang="en-US"/>
                </a:p>
              </p:txBody>
            </p:sp>
            <p:sp>
              <p:nvSpPr>
                <p:cNvPr id="1470" name="Freeform 1469">
                  <a:extLst>
                    <a:ext uri="{FF2B5EF4-FFF2-40B4-BE49-F238E27FC236}">
                      <a16:creationId xmlns:a16="http://schemas.microsoft.com/office/drawing/2014/main" id="{116B40AD-B96E-19C3-37D3-E89E300AADB8}"/>
                    </a:ext>
                  </a:extLst>
                </p:cNvPr>
                <p:cNvSpPr/>
                <p:nvPr/>
              </p:nvSpPr>
              <p:spPr>
                <a:xfrm>
                  <a:off x="5778255" y="4034819"/>
                  <a:ext cx="21063" cy="5476"/>
                </a:xfrm>
                <a:custGeom>
                  <a:avLst/>
                  <a:gdLst>
                    <a:gd name="connsiteX0" fmla="*/ 18426 w 21063"/>
                    <a:gd name="connsiteY0" fmla="*/ 5476 h 5476"/>
                    <a:gd name="connsiteX1" fmla="*/ 2637 w 21063"/>
                    <a:gd name="connsiteY1" fmla="*/ 5476 h 5476"/>
                    <a:gd name="connsiteX2" fmla="*/ 0 w 21063"/>
                    <a:gd name="connsiteY2" fmla="*/ 2738 h 5476"/>
                    <a:gd name="connsiteX3" fmla="*/ 2637 w 21063"/>
                    <a:gd name="connsiteY3" fmla="*/ 0 h 5476"/>
                    <a:gd name="connsiteX4" fmla="*/ 18426 w 21063"/>
                    <a:gd name="connsiteY4" fmla="*/ 0 h 5476"/>
                    <a:gd name="connsiteX5" fmla="*/ 21064 w 21063"/>
                    <a:gd name="connsiteY5" fmla="*/ 2738 h 5476"/>
                    <a:gd name="connsiteX6" fmla="*/ 18426 w 21063"/>
                    <a:gd name="connsiteY6" fmla="*/ 5476 h 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3" h="5476">
                      <a:moveTo>
                        <a:pt x="18426" y="5476"/>
                      </a:moveTo>
                      <a:lnTo>
                        <a:pt x="2637" y="5476"/>
                      </a:lnTo>
                      <a:cubicBezTo>
                        <a:pt x="1187" y="5476"/>
                        <a:pt x="0" y="4255"/>
                        <a:pt x="0" y="2738"/>
                      </a:cubicBezTo>
                      <a:cubicBezTo>
                        <a:pt x="0" y="1221"/>
                        <a:pt x="1187" y="0"/>
                        <a:pt x="2637" y="0"/>
                      </a:cubicBezTo>
                      <a:lnTo>
                        <a:pt x="18426" y="0"/>
                      </a:lnTo>
                      <a:cubicBezTo>
                        <a:pt x="19877" y="0"/>
                        <a:pt x="21064" y="1221"/>
                        <a:pt x="21064" y="2738"/>
                      </a:cubicBezTo>
                      <a:cubicBezTo>
                        <a:pt x="21064" y="4255"/>
                        <a:pt x="19877" y="5476"/>
                        <a:pt x="18426" y="5476"/>
                      </a:cubicBezTo>
                      <a:close/>
                    </a:path>
                  </a:pathLst>
                </a:custGeom>
                <a:solidFill>
                  <a:srgbClr val="5856D6"/>
                </a:solidFill>
                <a:ln w="3283" cap="flat">
                  <a:noFill/>
                  <a:prstDash val="solid"/>
                  <a:miter/>
                </a:ln>
              </p:spPr>
              <p:txBody>
                <a:bodyPr rtlCol="0" anchor="ctr"/>
                <a:lstStyle/>
                <a:p>
                  <a:endParaRPr lang="en-US"/>
                </a:p>
              </p:txBody>
            </p:sp>
            <p:sp>
              <p:nvSpPr>
                <p:cNvPr id="1471" name="Freeform 1470">
                  <a:extLst>
                    <a:ext uri="{FF2B5EF4-FFF2-40B4-BE49-F238E27FC236}">
                      <a16:creationId xmlns:a16="http://schemas.microsoft.com/office/drawing/2014/main" id="{56E8F13A-9EC8-5E90-DFFB-B37D98783E05}"/>
                    </a:ext>
                  </a:extLst>
                </p:cNvPr>
                <p:cNvSpPr/>
                <p:nvPr/>
              </p:nvSpPr>
              <p:spPr>
                <a:xfrm>
                  <a:off x="5813112" y="4015753"/>
                  <a:ext cx="13249" cy="19120"/>
                </a:xfrm>
                <a:custGeom>
                  <a:avLst/>
                  <a:gdLst>
                    <a:gd name="connsiteX0" fmla="*/ 12907 w 13249"/>
                    <a:gd name="connsiteY0" fmla="*/ 4023 h 19120"/>
                    <a:gd name="connsiteX1" fmla="*/ 4996 w 13249"/>
                    <a:gd name="connsiteY1" fmla="*/ 17714 h 19120"/>
                    <a:gd name="connsiteX2" fmla="*/ 1040 w 13249"/>
                    <a:gd name="connsiteY2" fmla="*/ 18439 h 19120"/>
                    <a:gd name="connsiteX3" fmla="*/ 249 w 13249"/>
                    <a:gd name="connsiteY3" fmla="*/ 14976 h 19120"/>
                    <a:gd name="connsiteX4" fmla="*/ 8160 w 13249"/>
                    <a:gd name="connsiteY4" fmla="*/ 1285 h 19120"/>
                    <a:gd name="connsiteX5" fmla="*/ 11852 w 13249"/>
                    <a:gd name="connsiteY5" fmla="*/ 362 h 19120"/>
                    <a:gd name="connsiteX6" fmla="*/ 12907 w 13249"/>
                    <a:gd name="connsiteY6" fmla="*/ 4023 h 1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9" h="19120">
                      <a:moveTo>
                        <a:pt x="12907" y="4023"/>
                      </a:moveTo>
                      <a:lnTo>
                        <a:pt x="4996" y="17714"/>
                      </a:lnTo>
                      <a:cubicBezTo>
                        <a:pt x="4040" y="19330"/>
                        <a:pt x="2095" y="19528"/>
                        <a:pt x="1040" y="18439"/>
                      </a:cubicBezTo>
                      <a:cubicBezTo>
                        <a:pt x="-15" y="17351"/>
                        <a:pt x="-245" y="15866"/>
                        <a:pt x="249" y="14976"/>
                      </a:cubicBezTo>
                      <a:lnTo>
                        <a:pt x="8160" y="1285"/>
                      </a:lnTo>
                      <a:cubicBezTo>
                        <a:pt x="8885" y="32"/>
                        <a:pt x="10534" y="-364"/>
                        <a:pt x="11852" y="362"/>
                      </a:cubicBezTo>
                      <a:cubicBezTo>
                        <a:pt x="13171" y="1120"/>
                        <a:pt x="13632" y="2770"/>
                        <a:pt x="12907" y="4023"/>
                      </a:cubicBezTo>
                      <a:close/>
                    </a:path>
                  </a:pathLst>
                </a:custGeom>
                <a:solidFill>
                  <a:srgbClr val="5856D6"/>
                </a:solidFill>
                <a:ln w="3283" cap="flat">
                  <a:noFill/>
                  <a:prstDash val="solid"/>
                  <a:miter/>
                </a:ln>
              </p:spPr>
              <p:txBody>
                <a:bodyPr rtlCol="0" anchor="ctr"/>
                <a:lstStyle/>
                <a:p>
                  <a:endParaRPr lang="en-US"/>
                </a:p>
              </p:txBody>
            </p:sp>
            <p:sp>
              <p:nvSpPr>
                <p:cNvPr id="1472" name="Freeform 1471">
                  <a:extLst>
                    <a:ext uri="{FF2B5EF4-FFF2-40B4-BE49-F238E27FC236}">
                      <a16:creationId xmlns:a16="http://schemas.microsoft.com/office/drawing/2014/main" id="{DED1A9C6-DB4C-5D49-5833-4E74684CDBCE}"/>
                    </a:ext>
                  </a:extLst>
                </p:cNvPr>
                <p:cNvSpPr/>
                <p:nvPr/>
              </p:nvSpPr>
              <p:spPr>
                <a:xfrm>
                  <a:off x="5831445" y="3982822"/>
                  <a:ext cx="10409" cy="19963"/>
                </a:xfrm>
                <a:custGeom>
                  <a:avLst/>
                  <a:gdLst>
                    <a:gd name="connsiteX0" fmla="*/ 9869 w 10409"/>
                    <a:gd name="connsiteY0" fmla="*/ 1986 h 19963"/>
                    <a:gd name="connsiteX1" fmla="*/ 9111 w 10409"/>
                    <a:gd name="connsiteY1" fmla="*/ 11619 h 19963"/>
                    <a:gd name="connsiteX2" fmla="*/ 5089 w 10409"/>
                    <a:gd name="connsiteY2" fmla="*/ 18678 h 19963"/>
                    <a:gd name="connsiteX3" fmla="*/ 1397 w 10409"/>
                    <a:gd name="connsiteY3" fmla="*/ 19602 h 19963"/>
                    <a:gd name="connsiteX4" fmla="*/ 342 w 10409"/>
                    <a:gd name="connsiteY4" fmla="*/ 15940 h 19963"/>
                    <a:gd name="connsiteX5" fmla="*/ 4133 w 10409"/>
                    <a:gd name="connsiteY5" fmla="*/ 9276 h 19963"/>
                    <a:gd name="connsiteX6" fmla="*/ 4595 w 10409"/>
                    <a:gd name="connsiteY6" fmla="*/ 3503 h 19963"/>
                    <a:gd name="connsiteX7" fmla="*/ 6210 w 10409"/>
                    <a:gd name="connsiteY7" fmla="*/ 337 h 19963"/>
                    <a:gd name="connsiteX8" fmla="*/ 9869 w 10409"/>
                    <a:gd name="connsiteY8" fmla="*/ 1986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9" h="19963">
                      <a:moveTo>
                        <a:pt x="9869" y="1986"/>
                      </a:moveTo>
                      <a:cubicBezTo>
                        <a:pt x="10792" y="5153"/>
                        <a:pt x="10528" y="8650"/>
                        <a:pt x="9111" y="11619"/>
                      </a:cubicBezTo>
                      <a:cubicBezTo>
                        <a:pt x="7660" y="14357"/>
                        <a:pt x="6441" y="16303"/>
                        <a:pt x="5089" y="18678"/>
                      </a:cubicBezTo>
                      <a:cubicBezTo>
                        <a:pt x="4364" y="19932"/>
                        <a:pt x="2716" y="20328"/>
                        <a:pt x="1397" y="19602"/>
                      </a:cubicBezTo>
                      <a:cubicBezTo>
                        <a:pt x="79" y="18843"/>
                        <a:pt x="-383" y="17194"/>
                        <a:pt x="342" y="15940"/>
                      </a:cubicBezTo>
                      <a:lnTo>
                        <a:pt x="4133" y="9276"/>
                      </a:lnTo>
                      <a:cubicBezTo>
                        <a:pt x="4990" y="7495"/>
                        <a:pt x="5122" y="5384"/>
                        <a:pt x="4595" y="3503"/>
                      </a:cubicBezTo>
                      <a:cubicBezTo>
                        <a:pt x="4331" y="2514"/>
                        <a:pt x="4924" y="1128"/>
                        <a:pt x="6210" y="337"/>
                      </a:cubicBezTo>
                      <a:cubicBezTo>
                        <a:pt x="7463" y="-455"/>
                        <a:pt x="9341" y="172"/>
                        <a:pt x="9869" y="1986"/>
                      </a:cubicBezTo>
                      <a:close/>
                    </a:path>
                  </a:pathLst>
                </a:custGeom>
                <a:solidFill>
                  <a:srgbClr val="5856D6"/>
                </a:solidFill>
                <a:ln w="3283" cap="flat">
                  <a:noFill/>
                  <a:prstDash val="solid"/>
                  <a:miter/>
                </a:ln>
              </p:spPr>
              <p:txBody>
                <a:bodyPr rtlCol="0" anchor="ctr"/>
                <a:lstStyle/>
                <a:p>
                  <a:endParaRPr lang="en-US"/>
                </a:p>
              </p:txBody>
            </p:sp>
          </p:grpSp>
        </p:grpSp>
        <p:sp>
          <p:nvSpPr>
            <p:cNvPr id="1473" name="Freeform 1472">
              <a:extLst>
                <a:ext uri="{FF2B5EF4-FFF2-40B4-BE49-F238E27FC236}">
                  <a16:creationId xmlns:a16="http://schemas.microsoft.com/office/drawing/2014/main" id="{0CAB8888-E7CD-8811-74DF-0970789AE4BF}"/>
                </a:ext>
              </a:extLst>
            </p:cNvPr>
            <p:cNvSpPr/>
            <p:nvPr/>
          </p:nvSpPr>
          <p:spPr>
            <a:xfrm>
              <a:off x="5756944" y="3964158"/>
              <a:ext cx="54850" cy="48954"/>
            </a:xfrm>
            <a:custGeom>
              <a:avLst/>
              <a:gdLst>
                <a:gd name="connsiteX0" fmla="*/ 54109 w 54850"/>
                <a:gd name="connsiteY0" fmla="*/ 21739 h 48954"/>
                <a:gd name="connsiteX1" fmla="*/ 43132 w 54850"/>
                <a:gd name="connsiteY1" fmla="*/ 2738 h 48954"/>
                <a:gd name="connsiteX2" fmla="*/ 38386 w 54850"/>
                <a:gd name="connsiteY2" fmla="*/ 0 h 48954"/>
                <a:gd name="connsiteX3" fmla="*/ 16465 w 54850"/>
                <a:gd name="connsiteY3" fmla="*/ 0 h 48954"/>
                <a:gd name="connsiteX4" fmla="*/ 11718 w 54850"/>
                <a:gd name="connsiteY4" fmla="*/ 2738 h 48954"/>
                <a:gd name="connsiteX5" fmla="*/ 742 w 54850"/>
                <a:gd name="connsiteY5" fmla="*/ 21739 h 48954"/>
                <a:gd name="connsiteX6" fmla="*/ 742 w 54850"/>
                <a:gd name="connsiteY6" fmla="*/ 27215 h 48954"/>
                <a:gd name="connsiteX7" fmla="*/ 11718 w 54850"/>
                <a:gd name="connsiteY7" fmla="*/ 46217 h 48954"/>
                <a:gd name="connsiteX8" fmla="*/ 16465 w 54850"/>
                <a:gd name="connsiteY8" fmla="*/ 48955 h 48954"/>
                <a:gd name="connsiteX9" fmla="*/ 38386 w 54850"/>
                <a:gd name="connsiteY9" fmla="*/ 48955 h 48954"/>
                <a:gd name="connsiteX10" fmla="*/ 43132 w 54850"/>
                <a:gd name="connsiteY10" fmla="*/ 46217 h 48954"/>
                <a:gd name="connsiteX11" fmla="*/ 54109 w 54850"/>
                <a:gd name="connsiteY11" fmla="*/ 27215 h 48954"/>
                <a:gd name="connsiteX12" fmla="*/ 54109 w 54850"/>
                <a:gd name="connsiteY12" fmla="*/ 21739 h 4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50" h="48954">
                  <a:moveTo>
                    <a:pt x="54109" y="21739"/>
                  </a:moveTo>
                  <a:lnTo>
                    <a:pt x="43132" y="2738"/>
                  </a:lnTo>
                  <a:cubicBezTo>
                    <a:pt x="42144" y="1056"/>
                    <a:pt x="40331" y="0"/>
                    <a:pt x="38386" y="0"/>
                  </a:cubicBezTo>
                  <a:lnTo>
                    <a:pt x="16465" y="0"/>
                  </a:lnTo>
                  <a:cubicBezTo>
                    <a:pt x="14520" y="0"/>
                    <a:pt x="12707" y="1056"/>
                    <a:pt x="11718" y="2738"/>
                  </a:cubicBezTo>
                  <a:lnTo>
                    <a:pt x="742" y="21739"/>
                  </a:lnTo>
                  <a:cubicBezTo>
                    <a:pt x="-247" y="23422"/>
                    <a:pt x="-247" y="25533"/>
                    <a:pt x="742" y="27215"/>
                  </a:cubicBezTo>
                  <a:lnTo>
                    <a:pt x="11718" y="46217"/>
                  </a:lnTo>
                  <a:cubicBezTo>
                    <a:pt x="12707" y="47899"/>
                    <a:pt x="14487" y="48955"/>
                    <a:pt x="16465" y="48955"/>
                  </a:cubicBezTo>
                  <a:lnTo>
                    <a:pt x="38386" y="48955"/>
                  </a:lnTo>
                  <a:cubicBezTo>
                    <a:pt x="40331" y="48955"/>
                    <a:pt x="42144" y="47899"/>
                    <a:pt x="43132" y="46217"/>
                  </a:cubicBezTo>
                  <a:lnTo>
                    <a:pt x="54109" y="27215"/>
                  </a:lnTo>
                  <a:cubicBezTo>
                    <a:pt x="55098" y="25533"/>
                    <a:pt x="55098" y="23422"/>
                    <a:pt x="54109" y="21739"/>
                  </a:cubicBezTo>
                  <a:close/>
                </a:path>
              </a:pathLst>
            </a:custGeom>
            <a:solidFill>
              <a:srgbClr val="5856D6"/>
            </a:solidFill>
            <a:ln w="3283" cap="flat">
              <a:noFill/>
              <a:prstDash val="solid"/>
              <a:miter/>
            </a:ln>
          </p:spPr>
          <p:txBody>
            <a:bodyPr rtlCol="0" anchor="ctr"/>
            <a:lstStyle/>
            <a:p>
              <a:endParaRPr lang="en-US"/>
            </a:p>
          </p:txBody>
        </p:sp>
      </p:grpSp>
      <p:sp>
        <p:nvSpPr>
          <p:cNvPr id="1475" name="TextBox 1474">
            <a:extLst>
              <a:ext uri="{FF2B5EF4-FFF2-40B4-BE49-F238E27FC236}">
                <a16:creationId xmlns:a16="http://schemas.microsoft.com/office/drawing/2014/main" id="{55E8F395-0373-13EB-B823-6A1FE85C5BFE}"/>
              </a:ext>
            </a:extLst>
          </p:cNvPr>
          <p:cNvSpPr txBox="1"/>
          <p:nvPr/>
        </p:nvSpPr>
        <p:spPr>
          <a:xfrm>
            <a:off x="4572638" y="4195190"/>
            <a:ext cx="1471039" cy="400110"/>
          </a:xfrm>
          <a:prstGeom prst="rect">
            <a:avLst/>
          </a:prstGeom>
          <a:noFill/>
        </p:spPr>
        <p:txBody>
          <a:bodyPr wrap="square" rtlCol="0">
            <a:spAutoFit/>
          </a:bodyPr>
          <a:lstStyle/>
          <a:p>
            <a:r>
              <a:rPr lang="en-US" sz="1000" b="1">
                <a:solidFill>
                  <a:schemeClr val="bg2">
                    <a:lumMod val="10000"/>
                  </a:schemeClr>
                </a:solidFill>
              </a:rPr>
              <a:t>Information &amp; Technology</a:t>
            </a:r>
          </a:p>
        </p:txBody>
      </p:sp>
    </p:spTree>
    <p:extLst>
      <p:ext uri="{BB962C8B-B14F-4D97-AF65-F5344CB8AC3E}">
        <p14:creationId xmlns:p14="http://schemas.microsoft.com/office/powerpoint/2010/main" val="1809732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 screen&#10;&#10;AI-generated content may be incorrect.">
            <a:extLst>
              <a:ext uri="{FF2B5EF4-FFF2-40B4-BE49-F238E27FC236}">
                <a16:creationId xmlns:a16="http://schemas.microsoft.com/office/drawing/2014/main" id="{BA283C37-F62C-FA86-43DA-C9135454A640}"/>
              </a:ext>
            </a:extLst>
          </p:cNvPr>
          <p:cNvPicPr>
            <a:picLocks noChangeAspect="1"/>
          </p:cNvPicPr>
          <p:nvPr/>
        </p:nvPicPr>
        <p:blipFill>
          <a:blip r:embed="rId2"/>
          <a:stretch>
            <a:fillRect/>
          </a:stretch>
        </p:blipFill>
        <p:spPr>
          <a:xfrm>
            <a:off x="6369" y="0"/>
            <a:ext cx="12176956" cy="6858000"/>
          </a:xfrm>
          <a:prstGeom prst="rect">
            <a:avLst/>
          </a:prstGeom>
        </p:spPr>
      </p:pic>
      <p:grpSp>
        <p:nvGrpSpPr>
          <p:cNvPr id="10" name="Group 9">
            <a:extLst>
              <a:ext uri="{FF2B5EF4-FFF2-40B4-BE49-F238E27FC236}">
                <a16:creationId xmlns:a16="http://schemas.microsoft.com/office/drawing/2014/main" id="{88552D64-1A13-201F-404E-817DE6B80955}"/>
              </a:ext>
            </a:extLst>
          </p:cNvPr>
          <p:cNvGrpSpPr/>
          <p:nvPr/>
        </p:nvGrpSpPr>
        <p:grpSpPr>
          <a:xfrm>
            <a:off x="2137833" y="2249326"/>
            <a:ext cx="1531826" cy="246221"/>
            <a:chOff x="1978020" y="2362215"/>
            <a:chExt cx="1531826" cy="246221"/>
          </a:xfrm>
        </p:grpSpPr>
        <p:sp>
          <p:nvSpPr>
            <p:cNvPr id="5" name="Oval 4">
              <a:extLst>
                <a:ext uri="{FF2B5EF4-FFF2-40B4-BE49-F238E27FC236}">
                  <a16:creationId xmlns:a16="http://schemas.microsoft.com/office/drawing/2014/main" id="{DD9DAE30-E6A4-A3AF-7ED4-723CBA4D3274}"/>
                </a:ext>
              </a:extLst>
            </p:cNvPr>
            <p:cNvSpPr/>
            <p:nvPr/>
          </p:nvSpPr>
          <p:spPr>
            <a:xfrm>
              <a:off x="1978020" y="2414378"/>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6" name="TextBox 3">
              <a:extLst>
                <a:ext uri="{FF2B5EF4-FFF2-40B4-BE49-F238E27FC236}">
                  <a16:creationId xmlns:a16="http://schemas.microsoft.com/office/drawing/2014/main" id="{2BF6FFCC-927E-3B65-CDB5-184CAD21465D}"/>
                </a:ext>
              </a:extLst>
            </p:cNvPr>
            <p:cNvSpPr txBox="1"/>
            <p:nvPr/>
          </p:nvSpPr>
          <p:spPr>
            <a:xfrm>
              <a:off x="2073104" y="2362215"/>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panose="02000000000000000000" pitchFamily="2" charset="0"/>
                  <a:ea typeface="Roboto" panose="02000000000000000000" pitchFamily="2" charset="0"/>
                  <a:cs typeface="Roboto" panose="02000000000000000000" pitchFamily="2" charset="0"/>
                </a:rPr>
                <a:t>Payment Posting</a:t>
              </a:r>
            </a:p>
          </p:txBody>
        </p:sp>
      </p:grpSp>
      <p:sp>
        <p:nvSpPr>
          <p:cNvPr id="8" name="TextBox 26">
            <a:extLst>
              <a:ext uri="{FF2B5EF4-FFF2-40B4-BE49-F238E27FC236}">
                <a16:creationId xmlns:a16="http://schemas.microsoft.com/office/drawing/2014/main" id="{160BF05B-55ED-F0F9-A264-A398C3314EBF}"/>
              </a:ext>
            </a:extLst>
          </p:cNvPr>
          <p:cNvSpPr txBox="1"/>
          <p:nvPr/>
        </p:nvSpPr>
        <p:spPr>
          <a:xfrm>
            <a:off x="2320684" y="325131"/>
            <a:ext cx="7548327" cy="615456"/>
          </a:xfrm>
          <a:prstGeom prst="rect">
            <a:avLst/>
          </a:prstGeom>
          <a:noFill/>
        </p:spPr>
        <p:txBody>
          <a:bodyPr wrap="square" lIns="91392" tIns="91392" rIns="91392" bIns="91392"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6926">
              <a:defRPr/>
            </a:pPr>
            <a:r>
              <a:rPr lang="en-US" sz="2800" b="1">
                <a:solidFill>
                  <a:schemeClr val="bg1"/>
                </a:solidFill>
                <a:latin typeface="Roboto" panose="02000000000000000000" pitchFamily="2" charset="0"/>
                <a:ea typeface="Roboto" panose="02000000000000000000" pitchFamily="2" charset="0"/>
                <a:cs typeface="Roboto" panose="02000000000000000000" pitchFamily="2" charset="0"/>
              </a:rPr>
              <a:t>Where do we start in revenue cycle?</a:t>
            </a:r>
            <a:endParaRPr lang="en-US" sz="2800">
              <a:solidFill>
                <a:schemeClr val="bg1"/>
              </a:solidFill>
              <a:latin typeface="Roboto" panose="02000000000000000000" pitchFamily="2" charset="0"/>
              <a:ea typeface="Roboto" panose="02000000000000000000" pitchFamily="2" charset="0"/>
              <a:cs typeface="Roboto" panose="02000000000000000000" pitchFamily="2" charset="0"/>
            </a:endParaRPr>
          </a:p>
        </p:txBody>
      </p:sp>
      <p:grpSp>
        <p:nvGrpSpPr>
          <p:cNvPr id="11" name="Group 10">
            <a:extLst>
              <a:ext uri="{FF2B5EF4-FFF2-40B4-BE49-F238E27FC236}">
                <a16:creationId xmlns:a16="http://schemas.microsoft.com/office/drawing/2014/main" id="{7323510C-3C77-B52C-5CEC-F96C3C1E8566}"/>
              </a:ext>
            </a:extLst>
          </p:cNvPr>
          <p:cNvGrpSpPr/>
          <p:nvPr/>
        </p:nvGrpSpPr>
        <p:grpSpPr>
          <a:xfrm>
            <a:off x="2137833" y="2559770"/>
            <a:ext cx="1531826" cy="246221"/>
            <a:chOff x="1992131" y="2672659"/>
            <a:chExt cx="1531826" cy="246221"/>
          </a:xfrm>
        </p:grpSpPr>
        <p:sp>
          <p:nvSpPr>
            <p:cNvPr id="3" name="Oval 2">
              <a:extLst>
                <a:ext uri="{FF2B5EF4-FFF2-40B4-BE49-F238E27FC236}">
                  <a16:creationId xmlns:a16="http://schemas.microsoft.com/office/drawing/2014/main" id="{AFEA7F15-89B7-FEFC-CBED-527338266290}"/>
                </a:ext>
              </a:extLst>
            </p:cNvPr>
            <p:cNvSpPr/>
            <p:nvPr/>
          </p:nvSpPr>
          <p:spPr>
            <a:xfrm>
              <a:off x="1992131" y="2724822"/>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E39B1800-C9F5-E971-F9DF-203BEC5827E6}"/>
                </a:ext>
              </a:extLst>
            </p:cNvPr>
            <p:cNvSpPr txBox="1"/>
            <p:nvPr/>
          </p:nvSpPr>
          <p:spPr>
            <a:xfrm>
              <a:off x="2087215" y="2672659"/>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Insurance Follow-up</a:t>
              </a:r>
            </a:p>
          </p:txBody>
        </p:sp>
      </p:grpSp>
      <p:grpSp>
        <p:nvGrpSpPr>
          <p:cNvPr id="12" name="Group 11">
            <a:extLst>
              <a:ext uri="{FF2B5EF4-FFF2-40B4-BE49-F238E27FC236}">
                <a16:creationId xmlns:a16="http://schemas.microsoft.com/office/drawing/2014/main" id="{C40E9F09-F5C3-A71E-67B1-43893201CA2E}"/>
              </a:ext>
            </a:extLst>
          </p:cNvPr>
          <p:cNvGrpSpPr/>
          <p:nvPr/>
        </p:nvGrpSpPr>
        <p:grpSpPr>
          <a:xfrm>
            <a:off x="2137833" y="2863159"/>
            <a:ext cx="1531826" cy="246221"/>
            <a:chOff x="2006242" y="2961937"/>
            <a:chExt cx="1531826" cy="246221"/>
          </a:xfrm>
        </p:grpSpPr>
        <p:sp>
          <p:nvSpPr>
            <p:cNvPr id="7" name="Oval 6">
              <a:extLst>
                <a:ext uri="{FF2B5EF4-FFF2-40B4-BE49-F238E27FC236}">
                  <a16:creationId xmlns:a16="http://schemas.microsoft.com/office/drawing/2014/main" id="{049A801F-7289-1EFC-897E-7CD36DC3ADBE}"/>
                </a:ext>
              </a:extLst>
            </p:cNvPr>
            <p:cNvSpPr/>
            <p:nvPr/>
          </p:nvSpPr>
          <p:spPr>
            <a:xfrm>
              <a:off x="2006242" y="3014100"/>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9" name="TextBox 3">
              <a:extLst>
                <a:ext uri="{FF2B5EF4-FFF2-40B4-BE49-F238E27FC236}">
                  <a16:creationId xmlns:a16="http://schemas.microsoft.com/office/drawing/2014/main" id="{88EC4CC2-5B7D-3928-1FAB-EEA3A39DB4E7}"/>
                </a:ext>
              </a:extLst>
            </p:cNvPr>
            <p:cNvSpPr txBox="1"/>
            <p:nvPr/>
          </p:nvSpPr>
          <p:spPr>
            <a:xfrm>
              <a:off x="2101326" y="2961937"/>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Claims Submission</a:t>
              </a:r>
            </a:p>
          </p:txBody>
        </p:sp>
      </p:grpSp>
      <p:grpSp>
        <p:nvGrpSpPr>
          <p:cNvPr id="13" name="Group 12">
            <a:extLst>
              <a:ext uri="{FF2B5EF4-FFF2-40B4-BE49-F238E27FC236}">
                <a16:creationId xmlns:a16="http://schemas.microsoft.com/office/drawing/2014/main" id="{65D98042-A569-DA26-56E5-01F788B399CB}"/>
              </a:ext>
            </a:extLst>
          </p:cNvPr>
          <p:cNvGrpSpPr/>
          <p:nvPr/>
        </p:nvGrpSpPr>
        <p:grpSpPr>
          <a:xfrm>
            <a:off x="6321777" y="2242270"/>
            <a:ext cx="1969270" cy="246221"/>
            <a:chOff x="1978020" y="2383381"/>
            <a:chExt cx="1969270" cy="246221"/>
          </a:xfrm>
        </p:grpSpPr>
        <p:sp>
          <p:nvSpPr>
            <p:cNvPr id="14" name="Oval 13">
              <a:extLst>
                <a:ext uri="{FF2B5EF4-FFF2-40B4-BE49-F238E27FC236}">
                  <a16:creationId xmlns:a16="http://schemas.microsoft.com/office/drawing/2014/main" id="{11C58138-7C5F-7929-7815-A54B1EF74002}"/>
                </a:ext>
              </a:extLst>
            </p:cNvPr>
            <p:cNvSpPr/>
            <p:nvPr/>
          </p:nvSpPr>
          <p:spPr>
            <a:xfrm>
              <a:off x="1978020" y="2414378"/>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5" name="TextBox 3">
              <a:extLst>
                <a:ext uri="{FF2B5EF4-FFF2-40B4-BE49-F238E27FC236}">
                  <a16:creationId xmlns:a16="http://schemas.microsoft.com/office/drawing/2014/main" id="{A2A37095-189B-C6AA-168A-4297FBF26403}"/>
                </a:ext>
              </a:extLst>
            </p:cNvPr>
            <p:cNvSpPr txBox="1"/>
            <p:nvPr/>
          </p:nvSpPr>
          <p:spPr>
            <a:xfrm>
              <a:off x="2073104" y="2383381"/>
              <a:ext cx="1874186"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Patient Access / Registration</a:t>
              </a:r>
              <a:endParaRPr lang="en-US" sz="1000">
                <a:solidFill>
                  <a:srgbClr val="FFFFFF"/>
                </a:solidFill>
                <a:latin typeface="Roboto" panose="02000000000000000000" pitchFamily="2" charset="0"/>
                <a:ea typeface="Roboto" panose="02000000000000000000" pitchFamily="2" charset="0"/>
                <a:cs typeface="Roboto" panose="02000000000000000000" pitchFamily="2" charset="0"/>
              </a:endParaRPr>
            </a:p>
          </p:txBody>
        </p:sp>
      </p:grpSp>
      <p:grpSp>
        <p:nvGrpSpPr>
          <p:cNvPr id="16" name="Group 15">
            <a:extLst>
              <a:ext uri="{FF2B5EF4-FFF2-40B4-BE49-F238E27FC236}">
                <a16:creationId xmlns:a16="http://schemas.microsoft.com/office/drawing/2014/main" id="{E55C3734-CAEB-6B65-C083-F5621A0D824E}"/>
              </a:ext>
            </a:extLst>
          </p:cNvPr>
          <p:cNvGrpSpPr/>
          <p:nvPr/>
        </p:nvGrpSpPr>
        <p:grpSpPr>
          <a:xfrm>
            <a:off x="6321777" y="2517436"/>
            <a:ext cx="2900602" cy="246221"/>
            <a:chOff x="1992131" y="2658547"/>
            <a:chExt cx="2900602" cy="246221"/>
          </a:xfrm>
        </p:grpSpPr>
        <p:sp>
          <p:nvSpPr>
            <p:cNvPr id="17" name="Oval 16">
              <a:extLst>
                <a:ext uri="{FF2B5EF4-FFF2-40B4-BE49-F238E27FC236}">
                  <a16:creationId xmlns:a16="http://schemas.microsoft.com/office/drawing/2014/main" id="{30C3E3E5-6A9B-2D60-AAA5-C2B5188E0E75}"/>
                </a:ext>
              </a:extLst>
            </p:cNvPr>
            <p:cNvSpPr/>
            <p:nvPr/>
          </p:nvSpPr>
          <p:spPr>
            <a:xfrm>
              <a:off x="1992131" y="2724822"/>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8" name="TextBox 17">
              <a:extLst>
                <a:ext uri="{FF2B5EF4-FFF2-40B4-BE49-F238E27FC236}">
                  <a16:creationId xmlns:a16="http://schemas.microsoft.com/office/drawing/2014/main" id="{4A607AA0-B652-6E10-9E19-0A24B64DFF54}"/>
                </a:ext>
              </a:extLst>
            </p:cNvPr>
            <p:cNvSpPr txBox="1"/>
            <p:nvPr/>
          </p:nvSpPr>
          <p:spPr>
            <a:xfrm>
              <a:off x="2087215" y="2658547"/>
              <a:ext cx="2805518"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Utilization Review / Case Management</a:t>
              </a:r>
            </a:p>
          </p:txBody>
        </p:sp>
      </p:grpSp>
      <p:grpSp>
        <p:nvGrpSpPr>
          <p:cNvPr id="19" name="Group 18">
            <a:extLst>
              <a:ext uri="{FF2B5EF4-FFF2-40B4-BE49-F238E27FC236}">
                <a16:creationId xmlns:a16="http://schemas.microsoft.com/office/drawing/2014/main" id="{5369309C-F042-9483-2AD8-02613C48FC10}"/>
              </a:ext>
            </a:extLst>
          </p:cNvPr>
          <p:cNvGrpSpPr/>
          <p:nvPr/>
        </p:nvGrpSpPr>
        <p:grpSpPr>
          <a:xfrm>
            <a:off x="6321777" y="2834937"/>
            <a:ext cx="1531826" cy="246221"/>
            <a:chOff x="2006242" y="2961937"/>
            <a:chExt cx="1531826" cy="246221"/>
          </a:xfrm>
        </p:grpSpPr>
        <p:sp>
          <p:nvSpPr>
            <p:cNvPr id="20" name="Oval 19">
              <a:extLst>
                <a:ext uri="{FF2B5EF4-FFF2-40B4-BE49-F238E27FC236}">
                  <a16:creationId xmlns:a16="http://schemas.microsoft.com/office/drawing/2014/main" id="{1A6E16ED-1D76-8C3C-2A67-ED6F3473870D}"/>
                </a:ext>
              </a:extLst>
            </p:cNvPr>
            <p:cNvSpPr/>
            <p:nvPr/>
          </p:nvSpPr>
          <p:spPr>
            <a:xfrm>
              <a:off x="2006242" y="3014100"/>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21" name="TextBox 3">
              <a:extLst>
                <a:ext uri="{FF2B5EF4-FFF2-40B4-BE49-F238E27FC236}">
                  <a16:creationId xmlns:a16="http://schemas.microsoft.com/office/drawing/2014/main" id="{8C6BC5FB-2A6E-5678-3BBE-33864B2FCE7A}"/>
                </a:ext>
              </a:extLst>
            </p:cNvPr>
            <p:cNvSpPr txBox="1"/>
            <p:nvPr/>
          </p:nvSpPr>
          <p:spPr>
            <a:xfrm>
              <a:off x="2101326" y="2961937"/>
              <a:ext cx="1436742"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Coding</a:t>
              </a:r>
            </a:p>
          </p:txBody>
        </p:sp>
      </p:grpSp>
      <p:grpSp>
        <p:nvGrpSpPr>
          <p:cNvPr id="22" name="Group 21">
            <a:extLst>
              <a:ext uri="{FF2B5EF4-FFF2-40B4-BE49-F238E27FC236}">
                <a16:creationId xmlns:a16="http://schemas.microsoft.com/office/drawing/2014/main" id="{8A6ACF4B-FD03-16D1-804B-6EA0E31A2B03}"/>
              </a:ext>
            </a:extLst>
          </p:cNvPr>
          <p:cNvGrpSpPr/>
          <p:nvPr/>
        </p:nvGrpSpPr>
        <p:grpSpPr>
          <a:xfrm>
            <a:off x="6307666" y="5071548"/>
            <a:ext cx="1969270" cy="246221"/>
            <a:chOff x="1978020" y="2383381"/>
            <a:chExt cx="1969270" cy="246221"/>
          </a:xfrm>
        </p:grpSpPr>
        <p:sp>
          <p:nvSpPr>
            <p:cNvPr id="23" name="Oval 22">
              <a:extLst>
                <a:ext uri="{FF2B5EF4-FFF2-40B4-BE49-F238E27FC236}">
                  <a16:creationId xmlns:a16="http://schemas.microsoft.com/office/drawing/2014/main" id="{B97E8FD2-A442-B1D2-1BA4-A5C107559D98}"/>
                </a:ext>
              </a:extLst>
            </p:cNvPr>
            <p:cNvSpPr/>
            <p:nvPr/>
          </p:nvSpPr>
          <p:spPr>
            <a:xfrm>
              <a:off x="1978020" y="2414378"/>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24" name="TextBox 3">
              <a:extLst>
                <a:ext uri="{FF2B5EF4-FFF2-40B4-BE49-F238E27FC236}">
                  <a16:creationId xmlns:a16="http://schemas.microsoft.com/office/drawing/2014/main" id="{866B663C-3B5C-00F9-728E-1B6D28DD74B0}"/>
                </a:ext>
              </a:extLst>
            </p:cNvPr>
            <p:cNvSpPr txBox="1"/>
            <p:nvPr/>
          </p:nvSpPr>
          <p:spPr>
            <a:xfrm>
              <a:off x="2073104" y="2383381"/>
              <a:ext cx="1874186"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Pre-Registration</a:t>
              </a:r>
              <a:endParaRPr lang="en-US" sz="1000">
                <a:solidFill>
                  <a:srgbClr val="FFFFFF"/>
                </a:solidFill>
                <a:latin typeface="Roboto" panose="02000000000000000000" pitchFamily="2" charset="0"/>
                <a:ea typeface="Roboto" panose="02000000000000000000" pitchFamily="2" charset="0"/>
                <a:cs typeface="Roboto" panose="02000000000000000000" pitchFamily="2" charset="0"/>
              </a:endParaRPr>
            </a:p>
          </p:txBody>
        </p:sp>
      </p:grpSp>
      <p:grpSp>
        <p:nvGrpSpPr>
          <p:cNvPr id="25" name="Group 24">
            <a:extLst>
              <a:ext uri="{FF2B5EF4-FFF2-40B4-BE49-F238E27FC236}">
                <a16:creationId xmlns:a16="http://schemas.microsoft.com/office/drawing/2014/main" id="{DA81D97C-8242-CBC0-E833-B5AA3A278125}"/>
              </a:ext>
            </a:extLst>
          </p:cNvPr>
          <p:cNvGrpSpPr/>
          <p:nvPr/>
        </p:nvGrpSpPr>
        <p:grpSpPr>
          <a:xfrm>
            <a:off x="6307666" y="5346714"/>
            <a:ext cx="2900602" cy="246221"/>
            <a:chOff x="1992131" y="2658547"/>
            <a:chExt cx="2900602" cy="246221"/>
          </a:xfrm>
        </p:grpSpPr>
        <p:sp>
          <p:nvSpPr>
            <p:cNvPr id="26" name="Oval 25">
              <a:extLst>
                <a:ext uri="{FF2B5EF4-FFF2-40B4-BE49-F238E27FC236}">
                  <a16:creationId xmlns:a16="http://schemas.microsoft.com/office/drawing/2014/main" id="{67329EF3-9E51-F07B-02E2-DC9F8A3CD667}"/>
                </a:ext>
              </a:extLst>
            </p:cNvPr>
            <p:cNvSpPr/>
            <p:nvPr/>
          </p:nvSpPr>
          <p:spPr>
            <a:xfrm>
              <a:off x="1992131" y="2724822"/>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27" name="TextBox 26">
              <a:extLst>
                <a:ext uri="{FF2B5EF4-FFF2-40B4-BE49-F238E27FC236}">
                  <a16:creationId xmlns:a16="http://schemas.microsoft.com/office/drawing/2014/main" id="{77B4DDCA-F285-BF58-AF1A-D1972BF5EB50}"/>
                </a:ext>
              </a:extLst>
            </p:cNvPr>
            <p:cNvSpPr txBox="1"/>
            <p:nvPr/>
          </p:nvSpPr>
          <p:spPr>
            <a:xfrm>
              <a:off x="2087215" y="2658547"/>
              <a:ext cx="2805518"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a:rPr>
                <a:t>Patient Payment Estimation</a:t>
              </a:r>
              <a:endParaRPr lang="en-US"/>
            </a:p>
          </p:txBody>
        </p:sp>
      </p:grpSp>
      <p:sp>
        <p:nvSpPr>
          <p:cNvPr id="28" name="Oval 27">
            <a:extLst>
              <a:ext uri="{FF2B5EF4-FFF2-40B4-BE49-F238E27FC236}">
                <a16:creationId xmlns:a16="http://schemas.microsoft.com/office/drawing/2014/main" id="{A8C7E708-E318-4987-4E3C-19C630AEA598}"/>
              </a:ext>
            </a:extLst>
          </p:cNvPr>
          <p:cNvSpPr/>
          <p:nvPr/>
        </p:nvSpPr>
        <p:spPr>
          <a:xfrm>
            <a:off x="6307666" y="3187969"/>
            <a:ext cx="129189" cy="134732"/>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30" name="TextBox 3">
            <a:extLst>
              <a:ext uri="{FF2B5EF4-FFF2-40B4-BE49-F238E27FC236}">
                <a16:creationId xmlns:a16="http://schemas.microsoft.com/office/drawing/2014/main" id="{BDC58EAA-AA09-C114-238B-AEF5F21D7B76}"/>
              </a:ext>
            </a:extLst>
          </p:cNvPr>
          <p:cNvSpPr txBox="1"/>
          <p:nvPr/>
        </p:nvSpPr>
        <p:spPr>
          <a:xfrm>
            <a:off x="6402750" y="3156972"/>
            <a:ext cx="1874186" cy="24622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FFFFFF"/>
                </a:solidFill>
                <a:latin typeface="Roboto"/>
                <a:ea typeface="Roboto"/>
                <a:cs typeface="Roboto" panose="02000000000000000000" pitchFamily="2" charset="0"/>
              </a:rPr>
              <a:t>Denials Management</a:t>
            </a:r>
            <a:endParaRPr lang="en-US" sz="100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4181900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3CE1C-105A-14D2-F236-79B81B58023E}"/>
            </a:ext>
          </a:extLst>
        </p:cNvPr>
        <p:cNvGrpSpPr/>
        <p:nvPr/>
      </p:nvGrpSpPr>
      <p:grpSpPr>
        <a:xfrm>
          <a:off x="0" y="0"/>
          <a:ext cx="0" cy="0"/>
          <a:chOff x="0" y="0"/>
          <a:chExt cx="0" cy="0"/>
        </a:xfrm>
      </p:grpSpPr>
      <p:pic>
        <p:nvPicPr>
          <p:cNvPr id="7" name="Picture 6" descr="A blue circle with white dots&#10;&#10;AI-generated content may be incorrect.">
            <a:extLst>
              <a:ext uri="{FF2B5EF4-FFF2-40B4-BE49-F238E27FC236}">
                <a16:creationId xmlns:a16="http://schemas.microsoft.com/office/drawing/2014/main" id="{D27D900D-8B60-E0C5-E118-ED3CB23DADB6}"/>
              </a:ext>
            </a:extLst>
          </p:cNvPr>
          <p:cNvPicPr>
            <a:picLocks noChangeAspect="1"/>
          </p:cNvPicPr>
          <p:nvPr/>
        </p:nvPicPr>
        <p:blipFill>
          <a:blip r:embed="rId3">
            <a:extLst>
              <a:ext uri="{28A0092B-C50C-407E-A947-70E740481C1C}">
                <a14:useLocalDpi xmlns:a14="http://schemas.microsoft.com/office/drawing/2010/main" val="0"/>
              </a:ext>
            </a:extLst>
          </a:blip>
          <a:srcRect r="-1238" b="25347"/>
          <a:stretch>
            <a:fillRect/>
          </a:stretch>
        </p:blipFill>
        <p:spPr>
          <a:xfrm>
            <a:off x="654600" y="2591262"/>
            <a:ext cx="694291" cy="2806371"/>
          </a:xfrm>
          <a:prstGeom prst="rect">
            <a:avLst/>
          </a:prstGeom>
        </p:spPr>
      </p:pic>
      <p:pic>
        <p:nvPicPr>
          <p:cNvPr id="9" name="Picture 8" descr="A black screen with a white border&#10;&#10;AI-generated content may be incorrect.">
            <a:extLst>
              <a:ext uri="{FF2B5EF4-FFF2-40B4-BE49-F238E27FC236}">
                <a16:creationId xmlns:a16="http://schemas.microsoft.com/office/drawing/2014/main" id="{F14A95DF-47C4-6996-70B4-047D90DF2D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52915" y="2570480"/>
            <a:ext cx="685800" cy="2256089"/>
          </a:xfrm>
          <a:prstGeom prst="rect">
            <a:avLst/>
          </a:prstGeom>
        </p:spPr>
      </p:pic>
      <p:pic>
        <p:nvPicPr>
          <p:cNvPr id="13" name="Picture 12" descr="A person shaking hands with another person&#10;&#10;AI-generated content may be incorrect.">
            <a:extLst>
              <a:ext uri="{FF2B5EF4-FFF2-40B4-BE49-F238E27FC236}">
                <a16:creationId xmlns:a16="http://schemas.microsoft.com/office/drawing/2014/main" id="{BFCD968F-FE6F-36EB-CFDC-86F7081B8A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94682" y="0"/>
            <a:ext cx="2602546" cy="6858000"/>
          </a:xfrm>
          <a:prstGeom prst="rect">
            <a:avLst/>
          </a:prstGeom>
        </p:spPr>
      </p:pic>
      <p:pic>
        <p:nvPicPr>
          <p:cNvPr id="11" name="Picture 10" descr="A blue rectangle with white border&#10;&#10;AI-generated content may be incorrect.">
            <a:extLst>
              <a:ext uri="{FF2B5EF4-FFF2-40B4-BE49-F238E27FC236}">
                <a16:creationId xmlns:a16="http://schemas.microsoft.com/office/drawing/2014/main" id="{815CBBBD-78DC-266C-0651-6CA3B20E09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96511" y="5280396"/>
            <a:ext cx="5873048" cy="1252484"/>
          </a:xfrm>
          <a:prstGeom prst="rect">
            <a:avLst/>
          </a:prstGeom>
        </p:spPr>
      </p:pic>
      <p:sp>
        <p:nvSpPr>
          <p:cNvPr id="14" name="Rectangle 13">
            <a:extLst>
              <a:ext uri="{FF2B5EF4-FFF2-40B4-BE49-F238E27FC236}">
                <a16:creationId xmlns:a16="http://schemas.microsoft.com/office/drawing/2014/main" id="{EEACB3CB-DF9D-0B08-71F4-8BD59FDD2042}"/>
              </a:ext>
            </a:extLst>
          </p:cNvPr>
          <p:cNvSpPr/>
          <p:nvPr/>
        </p:nvSpPr>
        <p:spPr>
          <a:xfrm>
            <a:off x="534186" y="528320"/>
            <a:ext cx="9166292" cy="523220"/>
          </a:xfrm>
          <a:prstGeom prst="rect">
            <a:avLst/>
          </a:prstGeom>
          <a:noFill/>
        </p:spPr>
        <p:txBody>
          <a:bodyPr wrap="none" lIns="91440" tIns="45720" rIns="91440" bIns="45720">
            <a:spAutoFit/>
          </a:bodyPr>
          <a:lstStyle/>
          <a:p>
            <a:r>
              <a:rPr lang="en-US" sz="2800" noProof="0" dirty="0">
                <a:solidFill>
                  <a:srgbClr val="FF0000"/>
                </a:solidFill>
                <a:effectLst/>
                <a:latin typeface="Roboto medium" pitchFamily="2" charset="0"/>
                <a:ea typeface="Roboto medium" pitchFamily="2" charset="0"/>
              </a:rPr>
              <a:t>The Growing Challenges of Healthcare Payment posting​</a:t>
            </a:r>
            <a:endParaRPr lang="en-US" sz="2800" cap="none" spc="0" noProof="0" dirty="0">
              <a:ln w="0"/>
              <a:solidFill>
                <a:srgbClr val="FF0000"/>
              </a:solidFill>
              <a:effectLst/>
              <a:latin typeface="Roboto medium" pitchFamily="2" charset="0"/>
              <a:ea typeface="Roboto medium" pitchFamily="2" charset="0"/>
            </a:endParaRPr>
          </a:p>
        </p:txBody>
      </p:sp>
      <p:sp>
        <p:nvSpPr>
          <p:cNvPr id="15" name="Rectangle 14">
            <a:extLst>
              <a:ext uri="{FF2B5EF4-FFF2-40B4-BE49-F238E27FC236}">
                <a16:creationId xmlns:a16="http://schemas.microsoft.com/office/drawing/2014/main" id="{B3654BD2-C8B4-5572-6A47-C024C8512128}"/>
              </a:ext>
            </a:extLst>
          </p:cNvPr>
          <p:cNvSpPr/>
          <p:nvPr/>
        </p:nvSpPr>
        <p:spPr>
          <a:xfrm>
            <a:off x="534186" y="1056640"/>
            <a:ext cx="7752443" cy="369332"/>
          </a:xfrm>
          <a:prstGeom prst="rect">
            <a:avLst/>
          </a:prstGeom>
          <a:noFill/>
        </p:spPr>
        <p:txBody>
          <a:bodyPr wrap="none" lIns="91440" tIns="45720" rIns="91440" bIns="45720">
            <a:spAutoFit/>
          </a:bodyPr>
          <a:lstStyle/>
          <a:p>
            <a:r>
              <a:rPr lang="en-US" noProof="0" dirty="0">
                <a:solidFill>
                  <a:srgbClr val="595959"/>
                </a:solidFill>
                <a:latin typeface="Roboto" pitchFamily="2" charset="0"/>
                <a:ea typeface="Roboto" pitchFamily="2" charset="0"/>
              </a:rPr>
              <a:t>How Manual Payment Posting Impacts Finances, Operations, and Teams.​</a:t>
            </a:r>
          </a:p>
        </p:txBody>
      </p:sp>
      <p:sp>
        <p:nvSpPr>
          <p:cNvPr id="16" name="Rectangle 15">
            <a:extLst>
              <a:ext uri="{FF2B5EF4-FFF2-40B4-BE49-F238E27FC236}">
                <a16:creationId xmlns:a16="http://schemas.microsoft.com/office/drawing/2014/main" id="{06FB1183-CF1D-FBBB-F98E-22945D2C0D76}"/>
              </a:ext>
            </a:extLst>
          </p:cNvPr>
          <p:cNvSpPr/>
          <p:nvPr/>
        </p:nvSpPr>
        <p:spPr>
          <a:xfrm>
            <a:off x="534187" y="1515024"/>
            <a:ext cx="8712799" cy="523220"/>
          </a:xfrm>
          <a:prstGeom prst="rect">
            <a:avLst/>
          </a:prstGeom>
          <a:noFill/>
        </p:spPr>
        <p:txBody>
          <a:bodyPr wrap="square" lIns="91440" tIns="45720" rIns="91440" bIns="45720">
            <a:spAutoFit/>
          </a:bodyPr>
          <a:lstStyle/>
          <a:p>
            <a:r>
              <a:rPr lang="en-US" sz="1400" noProof="0" dirty="0">
                <a:solidFill>
                  <a:schemeClr val="tx1">
                    <a:lumMod val="65000"/>
                    <a:lumOff val="35000"/>
                  </a:schemeClr>
                </a:solidFill>
                <a:effectLst/>
                <a:latin typeface="Roboto" pitchFamily="2" charset="0"/>
                <a:ea typeface="Roboto" pitchFamily="2" charset="0"/>
              </a:rPr>
              <a:t>Managing payment posting is a time-consuming, expensive process that puts financial and operational strain on healthcare providers. This process is highly manual, leading to delays and revenue loss.​</a:t>
            </a:r>
            <a:endParaRPr lang="en-US" sz="1400" cap="none" spc="0" noProof="0" dirty="0">
              <a:ln w="0"/>
              <a:solidFill>
                <a:schemeClr val="tx1">
                  <a:lumMod val="65000"/>
                  <a:lumOff val="35000"/>
                </a:schemeClr>
              </a:solidFill>
              <a:effectLst/>
              <a:latin typeface="Roboto" pitchFamily="2" charset="0"/>
              <a:ea typeface="Roboto" pitchFamily="2" charset="0"/>
            </a:endParaRPr>
          </a:p>
        </p:txBody>
      </p:sp>
      <p:sp>
        <p:nvSpPr>
          <p:cNvPr id="17" name="Rectangle 16">
            <a:extLst>
              <a:ext uri="{FF2B5EF4-FFF2-40B4-BE49-F238E27FC236}">
                <a16:creationId xmlns:a16="http://schemas.microsoft.com/office/drawing/2014/main" id="{5B026639-402E-E89A-1785-C04E6B2BE188}"/>
              </a:ext>
            </a:extLst>
          </p:cNvPr>
          <p:cNvSpPr/>
          <p:nvPr/>
        </p:nvSpPr>
        <p:spPr>
          <a:xfrm>
            <a:off x="1351083" y="2522187"/>
            <a:ext cx="3291867" cy="523220"/>
          </a:xfrm>
          <a:prstGeom prst="rect">
            <a:avLst/>
          </a:prstGeom>
          <a:noFill/>
        </p:spPr>
        <p:txBody>
          <a:bodyPr wrap="square" lIns="91440" tIns="45720" rIns="91440" bIns="45720">
            <a:spAutoFit/>
          </a:bodyPr>
          <a:lstStyle/>
          <a:p>
            <a:r>
              <a:rPr lang="en-US" sz="1400" noProof="0" dirty="0">
                <a:solidFill>
                  <a:srgbClr val="0751DF"/>
                </a:solidFill>
                <a:effectLst/>
                <a:latin typeface="Roboto medium" pitchFamily="2" charset="0"/>
                <a:ea typeface="Roboto medium" pitchFamily="2" charset="0"/>
              </a:rPr>
              <a:t>1. </a:t>
            </a:r>
            <a:r>
              <a:rPr lang="en-US" sz="1400" noProof="0" dirty="0">
                <a:solidFill>
                  <a:srgbClr val="0751DF"/>
                </a:solidFill>
                <a:latin typeface="Roboto medium" pitchFamily="2" charset="0"/>
                <a:ea typeface="Roboto medium" pitchFamily="2" charset="0"/>
              </a:rPr>
              <a:t>Revenue Leakage &amp; Contract Complexity</a:t>
            </a:r>
          </a:p>
        </p:txBody>
      </p:sp>
      <p:sp>
        <p:nvSpPr>
          <p:cNvPr id="18" name="Rectangle 17">
            <a:extLst>
              <a:ext uri="{FF2B5EF4-FFF2-40B4-BE49-F238E27FC236}">
                <a16:creationId xmlns:a16="http://schemas.microsoft.com/office/drawing/2014/main" id="{E400145C-1E9F-B207-C011-E8B85C3EBB5D}"/>
              </a:ext>
            </a:extLst>
          </p:cNvPr>
          <p:cNvSpPr/>
          <p:nvPr/>
        </p:nvSpPr>
        <p:spPr>
          <a:xfrm>
            <a:off x="5238715" y="2724776"/>
            <a:ext cx="2408640" cy="307777"/>
          </a:xfrm>
          <a:prstGeom prst="rect">
            <a:avLst/>
          </a:prstGeom>
          <a:noFill/>
        </p:spPr>
        <p:txBody>
          <a:bodyPr wrap="square" lIns="91440" tIns="45720" rIns="91440" bIns="45720">
            <a:spAutoFit/>
          </a:bodyPr>
          <a:lstStyle/>
          <a:p>
            <a:r>
              <a:rPr lang="en-US" sz="1400" noProof="0" dirty="0">
                <a:solidFill>
                  <a:srgbClr val="0751DF"/>
                </a:solidFill>
                <a:effectLst/>
                <a:latin typeface="Roboto medium" pitchFamily="2" charset="0"/>
                <a:ea typeface="Roboto medium" pitchFamily="2" charset="0"/>
              </a:rPr>
              <a:t>2. Operational Burden</a:t>
            </a:r>
            <a:endParaRPr lang="en-US" sz="1400" cap="none" spc="0" noProof="0" dirty="0">
              <a:ln w="0"/>
              <a:solidFill>
                <a:srgbClr val="0751DF"/>
              </a:solidFill>
              <a:effectLst/>
              <a:latin typeface="Roboto medium" pitchFamily="2" charset="0"/>
              <a:ea typeface="Roboto medium" pitchFamily="2" charset="0"/>
            </a:endParaRPr>
          </a:p>
        </p:txBody>
      </p:sp>
      <p:sp>
        <p:nvSpPr>
          <p:cNvPr id="19" name="Rectangle 18">
            <a:extLst>
              <a:ext uri="{FF2B5EF4-FFF2-40B4-BE49-F238E27FC236}">
                <a16:creationId xmlns:a16="http://schemas.microsoft.com/office/drawing/2014/main" id="{7C468372-C2C6-C697-1CA2-803E8ECDF17E}"/>
              </a:ext>
            </a:extLst>
          </p:cNvPr>
          <p:cNvSpPr/>
          <p:nvPr/>
        </p:nvSpPr>
        <p:spPr>
          <a:xfrm>
            <a:off x="1355344" y="3058765"/>
            <a:ext cx="3012251" cy="646331"/>
          </a:xfrm>
          <a:prstGeom prst="rect">
            <a:avLst/>
          </a:prstGeom>
          <a:noFill/>
        </p:spPr>
        <p:txBody>
          <a:bodyPr wrap="square" lIns="91440" tIns="45720" rIns="91440" bIns="45720" anchor="t">
            <a:spAutoFit/>
          </a:bodyPr>
          <a:lstStyle/>
          <a:p>
            <a:pPr marL="171450" lvl="0" indent="-171450" eaLnBrk="0" fontAlgn="base" hangingPunct="0">
              <a:spcBef>
                <a:spcPct val="0"/>
              </a:spcBef>
              <a:spcAft>
                <a:spcPct val="0"/>
              </a:spcAft>
              <a:buFont typeface="Arial" panose="020B0604020202020204" pitchFamily="34" charset="0"/>
              <a:buChar char="•"/>
            </a:pPr>
            <a:r>
              <a:rPr lang="en-US" sz="900" noProof="0" dirty="0">
                <a:solidFill>
                  <a:schemeClr val="tx1">
                    <a:lumMod val="65000"/>
                    <a:lumOff val="35000"/>
                  </a:schemeClr>
                </a:solidFill>
                <a:latin typeface="Roboto"/>
                <a:ea typeface="Roboto"/>
                <a:cs typeface="Roboto"/>
              </a:rPr>
              <a:t>Underpayments and errors represent 1–11% of net revenue for providers.</a:t>
            </a:r>
          </a:p>
          <a:p>
            <a:pPr marL="171450" lvl="0" indent="-171450" eaLnBrk="0" fontAlgn="base" hangingPunct="0">
              <a:spcBef>
                <a:spcPct val="0"/>
              </a:spcBef>
              <a:spcAft>
                <a:spcPct val="0"/>
              </a:spcAft>
              <a:buFont typeface="Arial" panose="020B0604020202020204" pitchFamily="34" charset="0"/>
              <a:buChar char="•"/>
            </a:pPr>
            <a:r>
              <a:rPr lang="en-US" sz="900" noProof="0" dirty="0">
                <a:solidFill>
                  <a:schemeClr val="tx1">
                    <a:lumMod val="65000"/>
                    <a:lumOff val="35000"/>
                  </a:schemeClr>
                </a:solidFill>
                <a:latin typeface="Roboto"/>
                <a:ea typeface="Roboto"/>
                <a:cs typeface="Roboto"/>
              </a:rPr>
              <a:t>Retrospective audits often uncover millions in missed underpayments</a:t>
            </a:r>
          </a:p>
        </p:txBody>
      </p:sp>
      <p:sp>
        <p:nvSpPr>
          <p:cNvPr id="20" name="Rectangle 19">
            <a:extLst>
              <a:ext uri="{FF2B5EF4-FFF2-40B4-BE49-F238E27FC236}">
                <a16:creationId xmlns:a16="http://schemas.microsoft.com/office/drawing/2014/main" id="{AE17CD6C-53EE-423B-9AE4-13D57F201F54}"/>
              </a:ext>
            </a:extLst>
          </p:cNvPr>
          <p:cNvSpPr/>
          <p:nvPr/>
        </p:nvSpPr>
        <p:spPr>
          <a:xfrm>
            <a:off x="5280783" y="3058765"/>
            <a:ext cx="3515778" cy="646331"/>
          </a:xfrm>
          <a:prstGeom prst="rect">
            <a:avLst/>
          </a:prstGeom>
          <a:noFill/>
        </p:spPr>
        <p:txBody>
          <a:bodyPr wrap="square" lIns="91440" tIns="45720" rIns="91440" bIns="45720">
            <a:spAutoFit/>
          </a:bodyPr>
          <a:lstStyle/>
          <a:p>
            <a:pPr marL="171450" indent="-171450" eaLnBrk="0" fontAlgn="base" hangingPunct="0">
              <a:spcBef>
                <a:spcPct val="0"/>
              </a:spcBef>
              <a:spcAft>
                <a:spcPct val="0"/>
              </a:spcAft>
              <a:buFont typeface="Arial" panose="020B0604020202020204" pitchFamily="34" charset="0"/>
              <a:buChar char="•"/>
            </a:pPr>
            <a:r>
              <a:rPr lang="en-US" sz="900" noProof="0" dirty="0">
                <a:solidFill>
                  <a:schemeClr val="tx1">
                    <a:lumMod val="65000"/>
                    <a:lumOff val="35000"/>
                  </a:schemeClr>
                </a:solidFill>
                <a:latin typeface="Roboto"/>
                <a:ea typeface="Roboto"/>
                <a:cs typeface="Roboto"/>
              </a:rPr>
              <a:t>Payment teams spend disproportionate time cleaning inputs rather than applying payments.</a:t>
            </a:r>
          </a:p>
          <a:p>
            <a:pPr marL="171450" indent="-171450" eaLnBrk="0" fontAlgn="base" hangingPunct="0">
              <a:spcBef>
                <a:spcPct val="0"/>
              </a:spcBef>
              <a:spcAft>
                <a:spcPct val="0"/>
              </a:spcAft>
              <a:buFont typeface="Arial" panose="020B0604020202020204" pitchFamily="34" charset="0"/>
              <a:buChar char="•"/>
            </a:pPr>
            <a:r>
              <a:rPr lang="en-US" sz="900" noProof="0" dirty="0">
                <a:solidFill>
                  <a:schemeClr val="tx1">
                    <a:lumMod val="65000"/>
                    <a:lumOff val="35000"/>
                  </a:schemeClr>
                </a:solidFill>
                <a:latin typeface="Roboto"/>
                <a:ea typeface="Roboto"/>
                <a:cs typeface="Roboto"/>
              </a:rPr>
              <a:t>Nearly 25% of U.S. healthcare spending is administrative, with manual posting being a significant contributor</a:t>
            </a:r>
          </a:p>
        </p:txBody>
      </p:sp>
      <p:sp>
        <p:nvSpPr>
          <p:cNvPr id="21" name="Rectangle 20">
            <a:extLst>
              <a:ext uri="{FF2B5EF4-FFF2-40B4-BE49-F238E27FC236}">
                <a16:creationId xmlns:a16="http://schemas.microsoft.com/office/drawing/2014/main" id="{4D2C970E-50AE-73A0-B21B-93EC0FBFBC95}"/>
              </a:ext>
            </a:extLst>
          </p:cNvPr>
          <p:cNvSpPr/>
          <p:nvPr/>
        </p:nvSpPr>
        <p:spPr>
          <a:xfrm>
            <a:off x="1355345" y="4506732"/>
            <a:ext cx="3011778" cy="923330"/>
          </a:xfrm>
          <a:prstGeom prst="rect">
            <a:avLst/>
          </a:prstGeom>
          <a:noFill/>
        </p:spPr>
        <p:txBody>
          <a:bodyPr wrap="square" lIns="91440" tIns="45720" rIns="91440" bIns="45720" anchor="t">
            <a:spAutoFit/>
          </a:bodyPr>
          <a:lstStyle/>
          <a:p>
            <a:pPr marL="171450" indent="-171450" eaLnBrk="0" fontAlgn="base" hangingPunct="0">
              <a:spcBef>
                <a:spcPct val="0"/>
              </a:spcBef>
              <a:spcAft>
                <a:spcPct val="0"/>
              </a:spcAft>
              <a:buFont typeface="Arial" panose="020B0604020202020204" pitchFamily="34" charset="0"/>
              <a:buChar char="•"/>
            </a:pPr>
            <a:r>
              <a:rPr lang="en-US" sz="900" noProof="0" dirty="0">
                <a:solidFill>
                  <a:schemeClr val="tx1">
                    <a:lumMod val="65000"/>
                    <a:lumOff val="35000"/>
                  </a:schemeClr>
                </a:solidFill>
                <a:latin typeface="Roboto"/>
                <a:ea typeface="Roboto"/>
                <a:cs typeface="Roboto"/>
              </a:rPr>
              <a:t>With 75% of provider organizations reporting denial increases, posting delays directly constrain cash flow.</a:t>
            </a:r>
          </a:p>
          <a:p>
            <a:pPr marL="171450" indent="-171450" eaLnBrk="0" fontAlgn="base" hangingPunct="0">
              <a:spcBef>
                <a:spcPct val="0"/>
              </a:spcBef>
              <a:spcAft>
                <a:spcPct val="0"/>
              </a:spcAft>
              <a:buFont typeface="Arial" panose="020B0604020202020204" pitchFamily="34" charset="0"/>
              <a:buChar char="•"/>
            </a:pPr>
            <a:r>
              <a:rPr lang="en-US" sz="900" noProof="0" dirty="0">
                <a:solidFill>
                  <a:schemeClr val="tx1">
                    <a:lumMod val="65000"/>
                    <a:lumOff val="35000"/>
                  </a:schemeClr>
                </a:solidFill>
                <a:latin typeface="Roboto"/>
                <a:ea typeface="Roboto"/>
                <a:cs typeface="Roboto"/>
              </a:rPr>
              <a:t>Inefficient reconciliation can push Days in A/R to 30–35+ days</a:t>
            </a:r>
          </a:p>
          <a:p>
            <a:pPr marL="171450" indent="-171450" eaLnBrk="0" fontAlgn="base" hangingPunct="0">
              <a:spcBef>
                <a:spcPct val="0"/>
              </a:spcBef>
              <a:spcAft>
                <a:spcPct val="0"/>
              </a:spcAft>
              <a:buFont typeface="Arial" panose="020B0604020202020204" pitchFamily="34" charset="0"/>
              <a:buChar char="•"/>
            </a:pPr>
            <a:endParaRPr lang="en-US" sz="900" noProof="0" dirty="0">
              <a:solidFill>
                <a:schemeClr val="tx1">
                  <a:lumMod val="65000"/>
                  <a:lumOff val="35000"/>
                </a:schemeClr>
              </a:solidFill>
              <a:latin typeface="Roboto"/>
              <a:ea typeface="Roboto"/>
              <a:cs typeface="Roboto"/>
            </a:endParaRPr>
          </a:p>
        </p:txBody>
      </p:sp>
      <p:sp>
        <p:nvSpPr>
          <p:cNvPr id="22" name="Rectangle 21">
            <a:extLst>
              <a:ext uri="{FF2B5EF4-FFF2-40B4-BE49-F238E27FC236}">
                <a16:creationId xmlns:a16="http://schemas.microsoft.com/office/drawing/2014/main" id="{C8C860DD-B2E3-875C-B0A0-413DB69F5553}"/>
              </a:ext>
            </a:extLst>
          </p:cNvPr>
          <p:cNvSpPr/>
          <p:nvPr/>
        </p:nvSpPr>
        <p:spPr>
          <a:xfrm>
            <a:off x="5280618" y="4506732"/>
            <a:ext cx="3771327" cy="812539"/>
          </a:xfrm>
          <a:prstGeom prst="rect">
            <a:avLst/>
          </a:prstGeom>
          <a:noFill/>
        </p:spPr>
        <p:txBody>
          <a:bodyPr wrap="square" lIns="91440" tIns="45720" rIns="91440" bIns="45720" anchor="t">
            <a:spAutoFit/>
          </a:bodyPr>
          <a:lstStyle/>
          <a:p>
            <a:pPr marL="171450" lvl="1" indent="-171450" eaLnBrk="0" fontAlgn="base" hangingPunct="0">
              <a:spcBef>
                <a:spcPct val="0"/>
              </a:spcBef>
              <a:spcAft>
                <a:spcPct val="0"/>
              </a:spcAft>
              <a:buFont typeface="Arial" panose="020B0604020202020204" pitchFamily="34" charset="0"/>
              <a:buChar char="•"/>
            </a:pPr>
            <a:r>
              <a:rPr lang="en-US" sz="900" noProof="0" dirty="0">
                <a:solidFill>
                  <a:schemeClr val="tx1">
                    <a:lumMod val="65000"/>
                    <a:lumOff val="35000"/>
                  </a:schemeClr>
                </a:solidFill>
                <a:latin typeface="Roboto"/>
                <a:ea typeface="Roboto"/>
                <a:cs typeface="Roboto"/>
              </a:rPr>
              <a:t>Inconsistent mapping of payer reason codes (CARC/RARC) creates compliance risk and audit exposure.</a:t>
            </a:r>
          </a:p>
          <a:p>
            <a:pPr marL="171450" lvl="1" indent="-171450" eaLnBrk="0" fontAlgn="base" hangingPunct="0">
              <a:spcBef>
                <a:spcPct val="0"/>
              </a:spcBef>
              <a:spcAft>
                <a:spcPct val="0"/>
              </a:spcAft>
              <a:buFont typeface="Arial" panose="020B0604020202020204" pitchFamily="34" charset="0"/>
              <a:buChar char="•"/>
            </a:pPr>
            <a:r>
              <a:rPr lang="en-US" sz="900" noProof="0" dirty="0">
                <a:solidFill>
                  <a:schemeClr val="tx1">
                    <a:lumMod val="65000"/>
                    <a:lumOff val="35000"/>
                  </a:schemeClr>
                </a:solidFill>
                <a:latin typeface="Roboto"/>
                <a:ea typeface="Roboto"/>
                <a:cs typeface="Roboto"/>
              </a:rPr>
              <a:t>Limited real-time insight into denial volumes and underpayment exposure restricts proactive management.</a:t>
            </a:r>
          </a:p>
          <a:p>
            <a:pPr marL="171450" indent="-171450" eaLnBrk="0" fontAlgn="base" hangingPunct="0">
              <a:spcBef>
                <a:spcPct val="0"/>
              </a:spcBef>
              <a:spcAft>
                <a:spcPct val="0"/>
              </a:spcAft>
              <a:buFont typeface="Arial" panose="020B0604020202020204" pitchFamily="34" charset="0"/>
              <a:buChar char="•"/>
            </a:pPr>
            <a:endParaRPr lang="en-US" sz="900" noProof="0" dirty="0">
              <a:solidFill>
                <a:schemeClr val="tx1">
                  <a:lumMod val="65000"/>
                  <a:lumOff val="35000"/>
                </a:schemeClr>
              </a:solidFill>
              <a:latin typeface="Roboto"/>
              <a:ea typeface="Roboto"/>
              <a:cs typeface="Roboto"/>
            </a:endParaRPr>
          </a:p>
        </p:txBody>
      </p:sp>
      <p:sp>
        <p:nvSpPr>
          <p:cNvPr id="25" name="Rectangle 24">
            <a:extLst>
              <a:ext uri="{FF2B5EF4-FFF2-40B4-BE49-F238E27FC236}">
                <a16:creationId xmlns:a16="http://schemas.microsoft.com/office/drawing/2014/main" id="{DD3C8EEC-C4AE-1602-A2FF-FD1852095761}"/>
              </a:ext>
            </a:extLst>
          </p:cNvPr>
          <p:cNvSpPr/>
          <p:nvPr/>
        </p:nvSpPr>
        <p:spPr>
          <a:xfrm>
            <a:off x="1340400" y="4196762"/>
            <a:ext cx="2644860" cy="307777"/>
          </a:xfrm>
          <a:prstGeom prst="rect">
            <a:avLst/>
          </a:prstGeom>
          <a:noFill/>
        </p:spPr>
        <p:txBody>
          <a:bodyPr wrap="square" lIns="91440" tIns="45720" rIns="91440" bIns="45720">
            <a:spAutoFit/>
          </a:bodyPr>
          <a:lstStyle/>
          <a:p>
            <a:r>
              <a:rPr lang="en-US" sz="1400" noProof="0" dirty="0">
                <a:solidFill>
                  <a:srgbClr val="0751DF"/>
                </a:solidFill>
                <a:effectLst/>
                <a:latin typeface="Roboto medium" pitchFamily="2" charset="0"/>
                <a:ea typeface="Roboto medium" pitchFamily="2" charset="0"/>
              </a:rPr>
              <a:t>3. Financial Consequences</a:t>
            </a:r>
            <a:endParaRPr lang="en-US" sz="1400" cap="none" spc="0" noProof="0" dirty="0">
              <a:ln w="0"/>
              <a:solidFill>
                <a:srgbClr val="0751DF"/>
              </a:solidFill>
              <a:effectLst/>
              <a:latin typeface="Roboto medium" pitchFamily="2" charset="0"/>
              <a:ea typeface="Roboto medium" pitchFamily="2" charset="0"/>
            </a:endParaRPr>
          </a:p>
        </p:txBody>
      </p:sp>
      <p:sp>
        <p:nvSpPr>
          <p:cNvPr id="26" name="Rectangle 25">
            <a:extLst>
              <a:ext uri="{FF2B5EF4-FFF2-40B4-BE49-F238E27FC236}">
                <a16:creationId xmlns:a16="http://schemas.microsoft.com/office/drawing/2014/main" id="{F099CC2E-8C04-0CE9-4AE7-EBE79EBA0E16}"/>
              </a:ext>
            </a:extLst>
          </p:cNvPr>
          <p:cNvSpPr/>
          <p:nvPr/>
        </p:nvSpPr>
        <p:spPr>
          <a:xfrm>
            <a:off x="5238715" y="4180238"/>
            <a:ext cx="3035088" cy="307777"/>
          </a:xfrm>
          <a:prstGeom prst="rect">
            <a:avLst/>
          </a:prstGeom>
          <a:noFill/>
        </p:spPr>
        <p:txBody>
          <a:bodyPr wrap="square" lIns="91440" tIns="45720" rIns="91440" bIns="45720">
            <a:spAutoFit/>
          </a:bodyPr>
          <a:lstStyle/>
          <a:p>
            <a:r>
              <a:rPr lang="en-US" sz="1400" noProof="0" dirty="0">
                <a:solidFill>
                  <a:srgbClr val="0751DF"/>
                </a:solidFill>
                <a:effectLst/>
                <a:latin typeface="Roboto medium" pitchFamily="2" charset="0"/>
                <a:ea typeface="Roboto medium" pitchFamily="2" charset="0"/>
              </a:rPr>
              <a:t>4. </a:t>
            </a:r>
            <a:r>
              <a:rPr lang="en-US" sz="1400" noProof="0" dirty="0"/>
              <a:t>Compliance &amp; Visibility Gaps</a:t>
            </a:r>
            <a:endParaRPr lang="en-US" sz="1400" cap="none" spc="0" noProof="0" dirty="0">
              <a:ln w="0"/>
              <a:solidFill>
                <a:srgbClr val="0751DF"/>
              </a:solidFill>
              <a:effectLst/>
              <a:latin typeface="Roboto medium" pitchFamily="2" charset="0"/>
              <a:ea typeface="Roboto medium" pitchFamily="2" charset="0"/>
            </a:endParaRPr>
          </a:p>
        </p:txBody>
      </p:sp>
      <p:sp>
        <p:nvSpPr>
          <p:cNvPr id="27" name="Rectangle 26">
            <a:extLst>
              <a:ext uri="{FF2B5EF4-FFF2-40B4-BE49-F238E27FC236}">
                <a16:creationId xmlns:a16="http://schemas.microsoft.com/office/drawing/2014/main" id="{47F35C4A-92B8-2520-BAA2-38C7D1277BF0}"/>
              </a:ext>
            </a:extLst>
          </p:cNvPr>
          <p:cNvSpPr/>
          <p:nvPr/>
        </p:nvSpPr>
        <p:spPr>
          <a:xfrm>
            <a:off x="5284152" y="5566230"/>
            <a:ext cx="4732818" cy="769441"/>
          </a:xfrm>
          <a:prstGeom prst="rect">
            <a:avLst/>
          </a:prstGeom>
          <a:noFill/>
        </p:spPr>
        <p:txBody>
          <a:bodyPr wrap="square" lIns="91440" tIns="45720" rIns="91440" bIns="45720" anchor="t">
            <a:spAutoFit/>
          </a:bodyPr>
          <a:lstStyle/>
          <a:p>
            <a:r>
              <a:rPr lang="en-US" sz="1100" noProof="0" dirty="0">
                <a:solidFill>
                  <a:schemeClr val="bg1"/>
                </a:solidFill>
                <a:effectLst/>
                <a:ea typeface="+mn-lt"/>
                <a:cs typeface="+mn-lt"/>
              </a:rPr>
              <a:t>What if you could </a:t>
            </a:r>
            <a:r>
              <a:rPr lang="en-US" sz="1100" noProof="0" dirty="0">
                <a:solidFill>
                  <a:schemeClr val="bg1"/>
                </a:solidFill>
                <a:ea typeface="+mn-lt"/>
                <a:cs typeface="+mn-lt"/>
              </a:rPr>
              <a:t>accelerate your cash flow and </a:t>
            </a:r>
            <a:r>
              <a:rPr lang="en-US" sz="1100" noProof="0" dirty="0">
                <a:solidFill>
                  <a:schemeClr val="bg1"/>
                </a:solidFill>
                <a:effectLst/>
                <a:ea typeface="+mn-lt"/>
                <a:cs typeface="+mn-lt"/>
              </a:rPr>
              <a:t>reduce</a:t>
            </a:r>
            <a:r>
              <a:rPr lang="en-US" sz="1100" noProof="0" dirty="0">
                <a:solidFill>
                  <a:schemeClr val="bg1"/>
                </a:solidFill>
                <a:ea typeface="+mn-lt"/>
                <a:cs typeface="+mn-lt"/>
              </a:rPr>
              <a:t> operational costs with automated payment posting? Our Agentic AI-powered RPA solutions simplify payment posting, improve data accuracy, and maximize the efficiency of your revenue cycle.</a:t>
            </a:r>
            <a:endParaRPr lang="en-US" noProof="0" dirty="0">
              <a:solidFill>
                <a:schemeClr val="bg1"/>
              </a:solidFill>
            </a:endParaRPr>
          </a:p>
        </p:txBody>
      </p:sp>
      <p:pic>
        <p:nvPicPr>
          <p:cNvPr id="30" name="Picture 29" descr="A logo in a circle&#10;&#10;AI-generated content may be incorrect.">
            <a:extLst>
              <a:ext uri="{FF2B5EF4-FFF2-40B4-BE49-F238E27FC236}">
                <a16:creationId xmlns:a16="http://schemas.microsoft.com/office/drawing/2014/main" id="{16E9687D-3EE2-2BB4-F78B-6FEB817AE8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5" name="Freeform: Shape 4">
            <a:extLst>
              <a:ext uri="{FF2B5EF4-FFF2-40B4-BE49-F238E27FC236}">
                <a16:creationId xmlns:a16="http://schemas.microsoft.com/office/drawing/2014/main" id="{364B29AA-DEB1-6C2F-1C71-711996446958}"/>
              </a:ext>
            </a:extLst>
          </p:cNvPr>
          <p:cNvSpPr/>
          <p:nvPr/>
        </p:nvSpPr>
        <p:spPr>
          <a:xfrm>
            <a:off x="959559" y="2716937"/>
            <a:ext cx="257132" cy="257137"/>
          </a:xfrm>
          <a:custGeom>
            <a:avLst/>
            <a:gdLst>
              <a:gd name="connsiteX0" fmla="*/ 853317 w 857251"/>
              <a:gd name="connsiteY0" fmla="*/ 327069 h 857269"/>
              <a:gd name="connsiteX1" fmla="*/ 840373 w 857251"/>
              <a:gd name="connsiteY1" fmla="*/ 323602 h 857269"/>
              <a:gd name="connsiteX2" fmla="*/ 630947 w 857251"/>
              <a:gd name="connsiteY2" fmla="*/ 379705 h 857269"/>
              <a:gd name="connsiteX3" fmla="*/ 621479 w 857251"/>
              <a:gd name="connsiteY3" fmla="*/ 389172 h 857269"/>
              <a:gd name="connsiteX4" fmla="*/ 624946 w 857251"/>
              <a:gd name="connsiteY4" fmla="*/ 402117 h 857269"/>
              <a:gd name="connsiteX5" fmla="*/ 658474 w 857251"/>
              <a:gd name="connsiteY5" fmla="*/ 435645 h 857269"/>
              <a:gd name="connsiteX6" fmla="*/ 582645 w 857251"/>
              <a:gd name="connsiteY6" fmla="*/ 511464 h 857269"/>
              <a:gd name="connsiteX7" fmla="*/ 582645 w 857251"/>
              <a:gd name="connsiteY7" fmla="*/ 13392 h 857269"/>
              <a:gd name="connsiteX8" fmla="*/ 569253 w 857251"/>
              <a:gd name="connsiteY8" fmla="*/ 0 h 857269"/>
              <a:gd name="connsiteX9" fmla="*/ 471889 w 857251"/>
              <a:gd name="connsiteY9" fmla="*/ 0 h 857269"/>
              <a:gd name="connsiteX10" fmla="*/ 458497 w 857251"/>
              <a:gd name="connsiteY10" fmla="*/ 13392 h 857269"/>
              <a:gd name="connsiteX11" fmla="*/ 458497 w 857251"/>
              <a:gd name="connsiteY11" fmla="*/ 635584 h 857269"/>
              <a:gd name="connsiteX12" fmla="*/ 442590 w 857251"/>
              <a:gd name="connsiteY12" fmla="*/ 651491 h 857269"/>
              <a:gd name="connsiteX13" fmla="*/ 440713 w 857251"/>
              <a:gd name="connsiteY13" fmla="*/ 649767 h 857269"/>
              <a:gd name="connsiteX14" fmla="*/ 440713 w 857251"/>
              <a:gd name="connsiteY14" fmla="*/ 140551 h 857269"/>
              <a:gd name="connsiteX15" fmla="*/ 427321 w 857251"/>
              <a:gd name="connsiteY15" fmla="*/ 127159 h 857269"/>
              <a:gd name="connsiteX16" fmla="*/ 329966 w 857251"/>
              <a:gd name="connsiteY16" fmla="*/ 127159 h 857269"/>
              <a:gd name="connsiteX17" fmla="*/ 316574 w 857251"/>
              <a:gd name="connsiteY17" fmla="*/ 140551 h 857269"/>
              <a:gd name="connsiteX18" fmla="*/ 316574 w 857251"/>
              <a:gd name="connsiteY18" fmla="*/ 535934 h 857269"/>
              <a:gd name="connsiteX19" fmla="*/ 298791 w 857251"/>
              <a:gd name="connsiteY19" fmla="*/ 519627 h 857269"/>
              <a:gd name="connsiteX20" fmla="*/ 298791 w 857251"/>
              <a:gd name="connsiteY20" fmla="*/ 264424 h 857269"/>
              <a:gd name="connsiteX21" fmla="*/ 285399 w 857251"/>
              <a:gd name="connsiteY21" fmla="*/ 251031 h 857269"/>
              <a:gd name="connsiteX22" fmla="*/ 188044 w 857251"/>
              <a:gd name="connsiteY22" fmla="*/ 251031 h 857269"/>
              <a:gd name="connsiteX23" fmla="*/ 174652 w 857251"/>
              <a:gd name="connsiteY23" fmla="*/ 264424 h 857269"/>
              <a:gd name="connsiteX24" fmla="*/ 174652 w 857251"/>
              <a:gd name="connsiteY24" fmla="*/ 606276 h 857269"/>
              <a:gd name="connsiteX25" fmla="*/ 156868 w 857251"/>
              <a:gd name="connsiteY25" fmla="*/ 623183 h 857269"/>
              <a:gd name="connsiteX26" fmla="*/ 156868 w 857251"/>
              <a:gd name="connsiteY26" fmla="*/ 369884 h 857269"/>
              <a:gd name="connsiteX27" fmla="*/ 143476 w 857251"/>
              <a:gd name="connsiteY27" fmla="*/ 356492 h 857269"/>
              <a:gd name="connsiteX28" fmla="*/ 46121 w 857251"/>
              <a:gd name="connsiteY28" fmla="*/ 356492 h 857269"/>
              <a:gd name="connsiteX29" fmla="*/ 32729 w 857251"/>
              <a:gd name="connsiteY29" fmla="*/ 369884 h 857269"/>
              <a:gd name="connsiteX30" fmla="*/ 32729 w 857251"/>
              <a:gd name="connsiteY30" fmla="*/ 741150 h 857269"/>
              <a:gd name="connsiteX31" fmla="*/ 4173 w 857251"/>
              <a:gd name="connsiteY31" fmla="*/ 768287 h 857269"/>
              <a:gd name="connsiteX32" fmla="*/ 1 w 857251"/>
              <a:gd name="connsiteY32" fmla="*/ 777821 h 857269"/>
              <a:gd name="connsiteX33" fmla="*/ 3925 w 857251"/>
              <a:gd name="connsiteY33" fmla="*/ 787470 h 857269"/>
              <a:gd name="connsiteX34" fmla="*/ 69810 w 857251"/>
              <a:gd name="connsiteY34" fmla="*/ 853345 h 857269"/>
              <a:gd name="connsiteX35" fmla="*/ 79278 w 857251"/>
              <a:gd name="connsiteY35" fmla="*/ 857269 h 857269"/>
              <a:gd name="connsiteX36" fmla="*/ 88746 w 857251"/>
              <a:gd name="connsiteY36" fmla="*/ 853345 h 857269"/>
              <a:gd name="connsiteX37" fmla="*/ 282637 w 857251"/>
              <a:gd name="connsiteY37" fmla="*/ 659492 h 857269"/>
              <a:gd name="connsiteX38" fmla="*/ 433074 w 857251"/>
              <a:gd name="connsiteY38" fmla="*/ 796138 h 857269"/>
              <a:gd name="connsiteX39" fmla="*/ 451229 w 857251"/>
              <a:gd name="connsiteY39" fmla="*/ 796004 h 857269"/>
              <a:gd name="connsiteX40" fmla="*/ 744428 w 857251"/>
              <a:gd name="connsiteY40" fmla="*/ 521579 h 857269"/>
              <a:gd name="connsiteX41" fmla="*/ 778279 w 857251"/>
              <a:gd name="connsiteY41" fmla="*/ 555422 h 857269"/>
              <a:gd name="connsiteX42" fmla="*/ 791214 w 857251"/>
              <a:gd name="connsiteY42" fmla="*/ 558889 h 857269"/>
              <a:gd name="connsiteX43" fmla="*/ 800682 w 857251"/>
              <a:gd name="connsiteY43" fmla="*/ 549421 h 857269"/>
              <a:gd name="connsiteX44" fmla="*/ 856794 w 857251"/>
              <a:gd name="connsiteY44" fmla="*/ 340033 h 857269"/>
              <a:gd name="connsiteX45" fmla="*/ 853327 w 857251"/>
              <a:gd name="connsiteY45" fmla="*/ 327098 h 857269"/>
              <a:gd name="connsiteX46" fmla="*/ 485290 w 857251"/>
              <a:gd name="connsiteY46" fmla="*/ 26784 h 857269"/>
              <a:gd name="connsiteX47" fmla="*/ 555861 w 857251"/>
              <a:gd name="connsiteY47" fmla="*/ 26784 h 857269"/>
              <a:gd name="connsiteX48" fmla="*/ 555861 w 857251"/>
              <a:gd name="connsiteY48" fmla="*/ 538239 h 857269"/>
              <a:gd name="connsiteX49" fmla="*/ 485290 w 857251"/>
              <a:gd name="connsiteY49" fmla="*/ 608800 h 857269"/>
              <a:gd name="connsiteX50" fmla="*/ 485290 w 857251"/>
              <a:gd name="connsiteY50" fmla="*/ 26784 h 857269"/>
              <a:gd name="connsiteX51" fmla="*/ 343358 w 857251"/>
              <a:gd name="connsiteY51" fmla="*/ 153943 h 857269"/>
              <a:gd name="connsiteX52" fmla="*/ 413929 w 857251"/>
              <a:gd name="connsiteY52" fmla="*/ 153943 h 857269"/>
              <a:gd name="connsiteX53" fmla="*/ 413929 w 857251"/>
              <a:gd name="connsiteY53" fmla="*/ 625202 h 857269"/>
              <a:gd name="connsiteX54" fmla="*/ 343358 w 857251"/>
              <a:gd name="connsiteY54" fmla="*/ 560489 h 857269"/>
              <a:gd name="connsiteX55" fmla="*/ 343358 w 857251"/>
              <a:gd name="connsiteY55" fmla="*/ 153943 h 857269"/>
              <a:gd name="connsiteX56" fmla="*/ 201426 w 857251"/>
              <a:gd name="connsiteY56" fmla="*/ 277806 h 857269"/>
              <a:gd name="connsiteX57" fmla="*/ 271997 w 857251"/>
              <a:gd name="connsiteY57" fmla="*/ 277806 h 857269"/>
              <a:gd name="connsiteX58" fmla="*/ 271997 w 857251"/>
              <a:gd name="connsiteY58" fmla="*/ 513740 h 857269"/>
              <a:gd name="connsiteX59" fmla="*/ 201426 w 857251"/>
              <a:gd name="connsiteY59" fmla="*/ 580796 h 857269"/>
              <a:gd name="connsiteX60" fmla="*/ 201426 w 857251"/>
              <a:gd name="connsiteY60" fmla="*/ 277797 h 857269"/>
              <a:gd name="connsiteX61" fmla="*/ 59494 w 857251"/>
              <a:gd name="connsiteY61" fmla="*/ 383257 h 857269"/>
              <a:gd name="connsiteX62" fmla="*/ 130056 w 857251"/>
              <a:gd name="connsiteY62" fmla="*/ 383257 h 857269"/>
              <a:gd name="connsiteX63" fmla="*/ 130056 w 857251"/>
              <a:gd name="connsiteY63" fmla="*/ 648614 h 857269"/>
              <a:gd name="connsiteX64" fmla="*/ 59494 w 857251"/>
              <a:gd name="connsiteY64" fmla="*/ 715670 h 857269"/>
              <a:gd name="connsiteX65" fmla="*/ 59494 w 857251"/>
              <a:gd name="connsiteY65" fmla="*/ 383257 h 857269"/>
              <a:gd name="connsiteX66" fmla="*/ 780794 w 857251"/>
              <a:gd name="connsiteY66" fmla="*/ 520055 h 857269"/>
              <a:gd name="connsiteX67" fmla="*/ 754191 w 857251"/>
              <a:gd name="connsiteY67" fmla="*/ 493452 h 857269"/>
              <a:gd name="connsiteX68" fmla="*/ 735569 w 857251"/>
              <a:gd name="connsiteY68" fmla="*/ 493147 h 857269"/>
              <a:gd name="connsiteX69" fmla="*/ 441923 w 857251"/>
              <a:gd name="connsiteY69" fmla="*/ 767982 h 857269"/>
              <a:gd name="connsiteX70" fmla="*/ 291180 w 857251"/>
              <a:gd name="connsiteY70" fmla="*/ 631060 h 857269"/>
              <a:gd name="connsiteX71" fmla="*/ 272702 w 857251"/>
              <a:gd name="connsiteY71" fmla="*/ 631498 h 857269"/>
              <a:gd name="connsiteX72" fmla="*/ 79259 w 857251"/>
              <a:gd name="connsiteY72" fmla="*/ 824913 h 857269"/>
              <a:gd name="connsiteX73" fmla="*/ 32567 w 857251"/>
              <a:gd name="connsiteY73" fmla="*/ 778221 h 857269"/>
              <a:gd name="connsiteX74" fmla="*/ 282322 w 857251"/>
              <a:gd name="connsiteY74" fmla="*/ 540877 h 857269"/>
              <a:gd name="connsiteX75" fmla="*/ 433932 w 857251"/>
              <a:gd name="connsiteY75" fmla="*/ 679904 h 857269"/>
              <a:gd name="connsiteX76" fmla="*/ 452458 w 857251"/>
              <a:gd name="connsiteY76" fmla="*/ 679504 h 857269"/>
              <a:gd name="connsiteX77" fmla="*/ 578702 w 857251"/>
              <a:gd name="connsiteY77" fmla="*/ 553279 h 857269"/>
              <a:gd name="connsiteX78" fmla="*/ 578750 w 857251"/>
              <a:gd name="connsiteY78" fmla="*/ 553231 h 857269"/>
              <a:gd name="connsiteX79" fmla="*/ 686897 w 857251"/>
              <a:gd name="connsiteY79" fmla="*/ 445103 h 857269"/>
              <a:gd name="connsiteX80" fmla="*/ 690821 w 857251"/>
              <a:gd name="connsiteY80" fmla="*/ 435626 h 857269"/>
              <a:gd name="connsiteX81" fmla="*/ 686897 w 857251"/>
              <a:gd name="connsiteY81" fmla="*/ 426149 h 857269"/>
              <a:gd name="connsiteX82" fmla="*/ 660303 w 857251"/>
              <a:gd name="connsiteY82" fmla="*/ 399555 h 857269"/>
              <a:gd name="connsiteX83" fmla="*/ 824904 w 857251"/>
              <a:gd name="connsiteY83" fmla="*/ 355463 h 857269"/>
              <a:gd name="connsiteX84" fmla="*/ 780804 w 857251"/>
              <a:gd name="connsiteY84" fmla="*/ 520036 h 85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857251" h="857269">
                <a:moveTo>
                  <a:pt x="853317" y="327069"/>
                </a:moveTo>
                <a:cubicBezTo>
                  <a:pt x="849936" y="323679"/>
                  <a:pt x="845002" y="322355"/>
                  <a:pt x="840373" y="323602"/>
                </a:cubicBezTo>
                <a:lnTo>
                  <a:pt x="630947" y="379705"/>
                </a:lnTo>
                <a:cubicBezTo>
                  <a:pt x="626327" y="380943"/>
                  <a:pt x="622717" y="384553"/>
                  <a:pt x="621479" y="389172"/>
                </a:cubicBezTo>
                <a:cubicBezTo>
                  <a:pt x="620241" y="393792"/>
                  <a:pt x="621565" y="398726"/>
                  <a:pt x="624946" y="402117"/>
                </a:cubicBezTo>
                <a:lnTo>
                  <a:pt x="658474" y="435645"/>
                </a:lnTo>
                <a:lnTo>
                  <a:pt x="582645" y="511464"/>
                </a:lnTo>
                <a:lnTo>
                  <a:pt x="582645" y="13392"/>
                </a:lnTo>
                <a:cubicBezTo>
                  <a:pt x="582645" y="5991"/>
                  <a:pt x="576645" y="0"/>
                  <a:pt x="569253" y="0"/>
                </a:cubicBezTo>
                <a:lnTo>
                  <a:pt x="471889" y="0"/>
                </a:lnTo>
                <a:cubicBezTo>
                  <a:pt x="464488" y="0"/>
                  <a:pt x="458497" y="6001"/>
                  <a:pt x="458497" y="13392"/>
                </a:cubicBezTo>
                <a:lnTo>
                  <a:pt x="458497" y="635584"/>
                </a:lnTo>
                <a:lnTo>
                  <a:pt x="442590" y="651491"/>
                </a:lnTo>
                <a:lnTo>
                  <a:pt x="440713" y="649767"/>
                </a:lnTo>
                <a:lnTo>
                  <a:pt x="440713" y="140551"/>
                </a:lnTo>
                <a:cubicBezTo>
                  <a:pt x="440713" y="133150"/>
                  <a:pt x="434713" y="127159"/>
                  <a:pt x="427321" y="127159"/>
                </a:cubicBezTo>
                <a:lnTo>
                  <a:pt x="329966" y="127159"/>
                </a:lnTo>
                <a:cubicBezTo>
                  <a:pt x="322565" y="127159"/>
                  <a:pt x="316574" y="133160"/>
                  <a:pt x="316574" y="140551"/>
                </a:cubicBezTo>
                <a:lnTo>
                  <a:pt x="316574" y="535934"/>
                </a:lnTo>
                <a:lnTo>
                  <a:pt x="298791" y="519627"/>
                </a:lnTo>
                <a:lnTo>
                  <a:pt x="298791" y="264424"/>
                </a:lnTo>
                <a:cubicBezTo>
                  <a:pt x="298791" y="257023"/>
                  <a:pt x="292790" y="251031"/>
                  <a:pt x="285399" y="251031"/>
                </a:cubicBezTo>
                <a:lnTo>
                  <a:pt x="188044" y="251031"/>
                </a:lnTo>
                <a:cubicBezTo>
                  <a:pt x="180643" y="251031"/>
                  <a:pt x="174652" y="257032"/>
                  <a:pt x="174652" y="264424"/>
                </a:cubicBezTo>
                <a:lnTo>
                  <a:pt x="174652" y="606276"/>
                </a:lnTo>
                <a:lnTo>
                  <a:pt x="156868" y="623183"/>
                </a:lnTo>
                <a:lnTo>
                  <a:pt x="156868" y="369884"/>
                </a:lnTo>
                <a:cubicBezTo>
                  <a:pt x="156868" y="362483"/>
                  <a:pt x="150868" y="356492"/>
                  <a:pt x="143476" y="356492"/>
                </a:cubicBezTo>
                <a:lnTo>
                  <a:pt x="46121" y="356492"/>
                </a:lnTo>
                <a:cubicBezTo>
                  <a:pt x="38720" y="356492"/>
                  <a:pt x="32729" y="362493"/>
                  <a:pt x="32729" y="369884"/>
                </a:cubicBezTo>
                <a:lnTo>
                  <a:pt x="32729" y="741150"/>
                </a:lnTo>
                <a:lnTo>
                  <a:pt x="4173" y="768287"/>
                </a:lnTo>
                <a:cubicBezTo>
                  <a:pt x="1554" y="770773"/>
                  <a:pt x="49" y="774221"/>
                  <a:pt x="1" y="777821"/>
                </a:cubicBezTo>
                <a:cubicBezTo>
                  <a:pt x="-46" y="781431"/>
                  <a:pt x="1373" y="784908"/>
                  <a:pt x="3925" y="787470"/>
                </a:cubicBezTo>
                <a:lnTo>
                  <a:pt x="69810" y="853345"/>
                </a:lnTo>
                <a:cubicBezTo>
                  <a:pt x="72420" y="855955"/>
                  <a:pt x="75849" y="857269"/>
                  <a:pt x="79278" y="857269"/>
                </a:cubicBezTo>
                <a:cubicBezTo>
                  <a:pt x="82707" y="857269"/>
                  <a:pt x="86136" y="855964"/>
                  <a:pt x="88746" y="853345"/>
                </a:cubicBezTo>
                <a:lnTo>
                  <a:pt x="282637" y="659492"/>
                </a:lnTo>
                <a:lnTo>
                  <a:pt x="433074" y="796138"/>
                </a:lnTo>
                <a:cubicBezTo>
                  <a:pt x="438237" y="800833"/>
                  <a:pt x="446143" y="800776"/>
                  <a:pt x="451229" y="796004"/>
                </a:cubicBezTo>
                <a:lnTo>
                  <a:pt x="744428" y="521579"/>
                </a:lnTo>
                <a:lnTo>
                  <a:pt x="778279" y="555422"/>
                </a:lnTo>
                <a:cubicBezTo>
                  <a:pt x="781661" y="558803"/>
                  <a:pt x="786585" y="560118"/>
                  <a:pt x="791214" y="558889"/>
                </a:cubicBezTo>
                <a:cubicBezTo>
                  <a:pt x="795834" y="557651"/>
                  <a:pt x="799444" y="554041"/>
                  <a:pt x="800682" y="549421"/>
                </a:cubicBezTo>
                <a:lnTo>
                  <a:pt x="856794" y="340033"/>
                </a:lnTo>
                <a:cubicBezTo>
                  <a:pt x="858032" y="335413"/>
                  <a:pt x="856718" y="330479"/>
                  <a:pt x="853327" y="327098"/>
                </a:cubicBezTo>
                <a:close/>
                <a:moveTo>
                  <a:pt x="485290" y="26784"/>
                </a:moveTo>
                <a:lnTo>
                  <a:pt x="555861" y="26784"/>
                </a:lnTo>
                <a:lnTo>
                  <a:pt x="555861" y="538239"/>
                </a:lnTo>
                <a:lnTo>
                  <a:pt x="485290" y="608800"/>
                </a:lnTo>
                <a:lnTo>
                  <a:pt x="485290" y="26784"/>
                </a:lnTo>
                <a:close/>
                <a:moveTo>
                  <a:pt x="343358" y="153943"/>
                </a:moveTo>
                <a:lnTo>
                  <a:pt x="413929" y="153943"/>
                </a:lnTo>
                <a:lnTo>
                  <a:pt x="413929" y="625202"/>
                </a:lnTo>
                <a:lnTo>
                  <a:pt x="343358" y="560489"/>
                </a:lnTo>
                <a:lnTo>
                  <a:pt x="343358" y="153943"/>
                </a:lnTo>
                <a:close/>
                <a:moveTo>
                  <a:pt x="201426" y="277806"/>
                </a:moveTo>
                <a:lnTo>
                  <a:pt x="271997" y="277806"/>
                </a:lnTo>
                <a:lnTo>
                  <a:pt x="271997" y="513740"/>
                </a:lnTo>
                <a:lnTo>
                  <a:pt x="201426" y="580796"/>
                </a:lnTo>
                <a:lnTo>
                  <a:pt x="201426" y="277797"/>
                </a:lnTo>
                <a:close/>
                <a:moveTo>
                  <a:pt x="59494" y="383257"/>
                </a:moveTo>
                <a:lnTo>
                  <a:pt x="130056" y="383257"/>
                </a:lnTo>
                <a:lnTo>
                  <a:pt x="130056" y="648614"/>
                </a:lnTo>
                <a:lnTo>
                  <a:pt x="59494" y="715670"/>
                </a:lnTo>
                <a:lnTo>
                  <a:pt x="59494" y="383257"/>
                </a:lnTo>
                <a:close/>
                <a:moveTo>
                  <a:pt x="780794" y="520055"/>
                </a:moveTo>
                <a:lnTo>
                  <a:pt x="754191" y="493452"/>
                </a:lnTo>
                <a:cubicBezTo>
                  <a:pt x="749085" y="488347"/>
                  <a:pt x="740837" y="488213"/>
                  <a:pt x="735569" y="493147"/>
                </a:cubicBezTo>
                <a:lnTo>
                  <a:pt x="441923" y="767982"/>
                </a:lnTo>
                <a:lnTo>
                  <a:pt x="291180" y="631060"/>
                </a:lnTo>
                <a:cubicBezTo>
                  <a:pt x="285885" y="626250"/>
                  <a:pt x="277760" y="626440"/>
                  <a:pt x="272702" y="631498"/>
                </a:cubicBezTo>
                <a:lnTo>
                  <a:pt x="79259" y="824913"/>
                </a:lnTo>
                <a:lnTo>
                  <a:pt x="32567" y="778221"/>
                </a:lnTo>
                <a:lnTo>
                  <a:pt x="282322" y="540877"/>
                </a:lnTo>
                <a:lnTo>
                  <a:pt x="433932" y="679904"/>
                </a:lnTo>
                <a:cubicBezTo>
                  <a:pt x="439218" y="684743"/>
                  <a:pt x="447381" y="684571"/>
                  <a:pt x="452458" y="679504"/>
                </a:cubicBezTo>
                <a:lnTo>
                  <a:pt x="578702" y="553279"/>
                </a:lnTo>
                <a:lnTo>
                  <a:pt x="578750" y="553231"/>
                </a:lnTo>
                <a:lnTo>
                  <a:pt x="686897" y="445103"/>
                </a:lnTo>
                <a:cubicBezTo>
                  <a:pt x="689411" y="442589"/>
                  <a:pt x="690821" y="439179"/>
                  <a:pt x="690821" y="435626"/>
                </a:cubicBezTo>
                <a:cubicBezTo>
                  <a:pt x="690821" y="432073"/>
                  <a:pt x="689411" y="428663"/>
                  <a:pt x="686897" y="426149"/>
                </a:cubicBezTo>
                <a:lnTo>
                  <a:pt x="660303" y="399555"/>
                </a:lnTo>
                <a:lnTo>
                  <a:pt x="824904" y="355463"/>
                </a:lnTo>
                <a:lnTo>
                  <a:pt x="780804" y="520036"/>
                </a:lnTo>
                <a:close/>
              </a:path>
            </a:pathLst>
          </a:custGeom>
          <a:solidFill>
            <a:schemeClr val="bg1"/>
          </a:solidFill>
          <a:ln w="9525" cap="flat">
            <a:noFill/>
            <a:prstDash val="solid"/>
            <a:miter/>
          </a:ln>
        </p:spPr>
        <p:txBody>
          <a:bodyPr rtlCol="0" anchor="ctr"/>
          <a:lstStyle/>
          <a:p>
            <a:endParaRPr lang="en-US" noProof="0" dirty="0"/>
          </a:p>
        </p:txBody>
      </p:sp>
      <p:grpSp>
        <p:nvGrpSpPr>
          <p:cNvPr id="34" name="Group 33">
            <a:extLst>
              <a:ext uri="{FF2B5EF4-FFF2-40B4-BE49-F238E27FC236}">
                <a16:creationId xmlns:a16="http://schemas.microsoft.com/office/drawing/2014/main" id="{66F9B93B-E105-19AC-912B-A0ADB62DCCA5}"/>
              </a:ext>
            </a:extLst>
          </p:cNvPr>
          <p:cNvGrpSpPr/>
          <p:nvPr/>
        </p:nvGrpSpPr>
        <p:grpSpPr>
          <a:xfrm>
            <a:off x="950449" y="4195100"/>
            <a:ext cx="229030" cy="194224"/>
            <a:chOff x="5598362" y="2880686"/>
            <a:chExt cx="899945" cy="763182"/>
          </a:xfrm>
          <a:solidFill>
            <a:schemeClr val="bg1"/>
          </a:solidFill>
        </p:grpSpPr>
        <p:sp>
          <p:nvSpPr>
            <p:cNvPr id="29" name="Freeform: Shape 28">
              <a:extLst>
                <a:ext uri="{FF2B5EF4-FFF2-40B4-BE49-F238E27FC236}">
                  <a16:creationId xmlns:a16="http://schemas.microsoft.com/office/drawing/2014/main" id="{03C80D25-7F28-13AB-DD37-6A411494BC79}"/>
                </a:ext>
              </a:extLst>
            </p:cNvPr>
            <p:cNvSpPr/>
            <p:nvPr/>
          </p:nvSpPr>
          <p:spPr>
            <a:xfrm>
              <a:off x="6036864" y="2974472"/>
              <a:ext cx="181710" cy="359427"/>
            </a:xfrm>
            <a:custGeom>
              <a:avLst/>
              <a:gdLst>
                <a:gd name="connsiteX0" fmla="*/ 26656 w 181710"/>
                <a:gd name="connsiteY0" fmla="*/ 291897 h 359427"/>
                <a:gd name="connsiteX1" fmla="*/ 57389 w 181710"/>
                <a:gd name="connsiteY1" fmla="*/ 303431 h 359427"/>
                <a:gd name="connsiteX2" fmla="*/ 54078 w 181710"/>
                <a:gd name="connsiteY2" fmla="*/ 344693 h 359427"/>
                <a:gd name="connsiteX3" fmla="*/ 66616 w 181710"/>
                <a:gd name="connsiteY3" fmla="*/ 359427 h 359427"/>
                <a:gd name="connsiteX4" fmla="*/ 67770 w 181710"/>
                <a:gd name="connsiteY4" fmla="*/ 359427 h 359427"/>
                <a:gd name="connsiteX5" fmla="*/ 81350 w 181710"/>
                <a:gd name="connsiteY5" fmla="*/ 346889 h 359427"/>
                <a:gd name="connsiteX6" fmla="*/ 84960 w 181710"/>
                <a:gd name="connsiteY6" fmla="*/ 302724 h 359427"/>
                <a:gd name="connsiteX7" fmla="*/ 88569 w 181710"/>
                <a:gd name="connsiteY7" fmla="*/ 302017 h 359427"/>
                <a:gd name="connsiteX8" fmla="*/ 138798 w 181710"/>
                <a:gd name="connsiteY8" fmla="*/ 263322 h 359427"/>
                <a:gd name="connsiteX9" fmla="*/ 145160 w 181710"/>
                <a:gd name="connsiteY9" fmla="*/ 216404 h 359427"/>
                <a:gd name="connsiteX10" fmla="*/ 87862 w 181710"/>
                <a:gd name="connsiteY10" fmla="*/ 160556 h 359427"/>
                <a:gd name="connsiteX11" fmla="*/ 77630 w 181710"/>
                <a:gd name="connsiteY11" fmla="*/ 154491 h 359427"/>
                <a:gd name="connsiteX12" fmla="*/ 45148 w 181710"/>
                <a:gd name="connsiteY12" fmla="*/ 105117 h 359427"/>
                <a:gd name="connsiteX13" fmla="*/ 98242 w 181710"/>
                <a:gd name="connsiteY13" fmla="*/ 78998 h 359427"/>
                <a:gd name="connsiteX14" fmla="*/ 160006 w 181710"/>
                <a:gd name="connsiteY14" fmla="*/ 105712 h 359427"/>
                <a:gd name="connsiteX15" fmla="*/ 179056 w 181710"/>
                <a:gd name="connsiteY15" fmla="*/ 102810 h 359427"/>
                <a:gd name="connsiteX16" fmla="*/ 176154 w 181710"/>
                <a:gd name="connsiteY16" fmla="*/ 83760 h 359427"/>
                <a:gd name="connsiteX17" fmla="*/ 99954 w 181710"/>
                <a:gd name="connsiteY17" fmla="*/ 51725 h 359427"/>
                <a:gd name="connsiteX18" fmla="*/ 98205 w 181710"/>
                <a:gd name="connsiteY18" fmla="*/ 51725 h 359427"/>
                <a:gd name="connsiteX19" fmla="*/ 101517 w 181710"/>
                <a:gd name="connsiteY19" fmla="*/ 14778 h 359427"/>
                <a:gd name="connsiteX20" fmla="*/ 89089 w 181710"/>
                <a:gd name="connsiteY20" fmla="*/ 44 h 359427"/>
                <a:gd name="connsiteX21" fmla="*/ 74355 w 181710"/>
                <a:gd name="connsiteY21" fmla="*/ 12471 h 359427"/>
                <a:gd name="connsiteX22" fmla="*/ 70597 w 181710"/>
                <a:gd name="connsiteY22" fmla="*/ 55037 h 359427"/>
                <a:gd name="connsiteX23" fmla="*/ 19660 w 181710"/>
                <a:gd name="connsiteY23" fmla="*/ 95741 h 359427"/>
                <a:gd name="connsiteX24" fmla="*/ 63378 w 181710"/>
                <a:gd name="connsiteY24" fmla="*/ 177708 h 359427"/>
                <a:gd name="connsiteX25" fmla="*/ 73908 w 181710"/>
                <a:gd name="connsiteY25" fmla="*/ 183922 h 359427"/>
                <a:gd name="connsiteX26" fmla="*/ 118929 w 181710"/>
                <a:gd name="connsiteY26" fmla="*/ 224180 h 359427"/>
                <a:gd name="connsiteX27" fmla="*/ 114873 w 181710"/>
                <a:gd name="connsiteY27" fmla="*/ 249741 h 359427"/>
                <a:gd name="connsiteX28" fmla="*/ 81684 w 181710"/>
                <a:gd name="connsiteY28" fmla="*/ 275414 h 359427"/>
                <a:gd name="connsiteX29" fmla="*/ 41724 w 181710"/>
                <a:gd name="connsiteY29" fmla="*/ 268903 h 359427"/>
                <a:gd name="connsiteX30" fmla="*/ 27139 w 181710"/>
                <a:gd name="connsiteY30" fmla="*/ 248402 h 359427"/>
                <a:gd name="connsiteX31" fmla="*/ 11550 w 181710"/>
                <a:gd name="connsiteY31" fmla="*/ 237017 h 359427"/>
                <a:gd name="connsiteX32" fmla="*/ 165 w 181710"/>
                <a:gd name="connsiteY32" fmla="*/ 252607 h 359427"/>
                <a:gd name="connsiteX33" fmla="*/ 26656 w 181710"/>
                <a:gd name="connsiteY33" fmla="*/ 291897 h 359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1710" h="359427">
                  <a:moveTo>
                    <a:pt x="26656" y="291897"/>
                  </a:moveTo>
                  <a:cubicBezTo>
                    <a:pt x="35734" y="297962"/>
                    <a:pt x="46412" y="301869"/>
                    <a:pt x="57389" y="303431"/>
                  </a:cubicBezTo>
                  <a:lnTo>
                    <a:pt x="54078" y="344693"/>
                  </a:lnTo>
                  <a:cubicBezTo>
                    <a:pt x="53482" y="352209"/>
                    <a:pt x="59138" y="358832"/>
                    <a:pt x="66616" y="359427"/>
                  </a:cubicBezTo>
                  <a:lnTo>
                    <a:pt x="67770" y="359427"/>
                  </a:lnTo>
                  <a:cubicBezTo>
                    <a:pt x="74839" y="359427"/>
                    <a:pt x="80755" y="354070"/>
                    <a:pt x="81350" y="346889"/>
                  </a:cubicBezTo>
                  <a:lnTo>
                    <a:pt x="84960" y="302724"/>
                  </a:lnTo>
                  <a:cubicBezTo>
                    <a:pt x="86113" y="302426"/>
                    <a:pt x="87415" y="302278"/>
                    <a:pt x="88569" y="302017"/>
                  </a:cubicBezTo>
                  <a:cubicBezTo>
                    <a:pt x="109479" y="296659"/>
                    <a:pt x="128269" y="282260"/>
                    <a:pt x="138798" y="263322"/>
                  </a:cubicBezTo>
                  <a:cubicBezTo>
                    <a:pt x="147467" y="247881"/>
                    <a:pt x="149773" y="231138"/>
                    <a:pt x="145160" y="216404"/>
                  </a:cubicBezTo>
                  <a:cubicBezTo>
                    <a:pt x="136789" y="189279"/>
                    <a:pt x="110818" y="173988"/>
                    <a:pt x="87862" y="160556"/>
                  </a:cubicBezTo>
                  <a:cubicBezTo>
                    <a:pt x="84401" y="158546"/>
                    <a:pt x="80941" y="156500"/>
                    <a:pt x="77630" y="154491"/>
                  </a:cubicBezTo>
                  <a:cubicBezTo>
                    <a:pt x="67956" y="148575"/>
                    <a:pt x="36926" y="127665"/>
                    <a:pt x="45148" y="105117"/>
                  </a:cubicBezTo>
                  <a:cubicBezTo>
                    <a:pt x="50915" y="89528"/>
                    <a:pt x="75323" y="77547"/>
                    <a:pt x="98242" y="78998"/>
                  </a:cubicBezTo>
                  <a:cubicBezTo>
                    <a:pt x="122650" y="80598"/>
                    <a:pt x="143113" y="93434"/>
                    <a:pt x="160006" y="105712"/>
                  </a:cubicBezTo>
                  <a:cubicBezTo>
                    <a:pt x="166071" y="110177"/>
                    <a:pt x="174591" y="108875"/>
                    <a:pt x="179056" y="102810"/>
                  </a:cubicBezTo>
                  <a:cubicBezTo>
                    <a:pt x="183521" y="96745"/>
                    <a:pt x="182219" y="88226"/>
                    <a:pt x="176154" y="83760"/>
                  </a:cubicBezTo>
                  <a:cubicBezTo>
                    <a:pt x="157252" y="69919"/>
                    <a:pt x="131542" y="53735"/>
                    <a:pt x="99954" y="51725"/>
                  </a:cubicBezTo>
                  <a:lnTo>
                    <a:pt x="98205" y="51725"/>
                  </a:lnTo>
                  <a:lnTo>
                    <a:pt x="101517" y="14778"/>
                  </a:lnTo>
                  <a:cubicBezTo>
                    <a:pt x="102223" y="7262"/>
                    <a:pt x="96605" y="639"/>
                    <a:pt x="89089" y="44"/>
                  </a:cubicBezTo>
                  <a:cubicBezTo>
                    <a:pt x="81425" y="-551"/>
                    <a:pt x="74950" y="4955"/>
                    <a:pt x="74355" y="12471"/>
                  </a:cubicBezTo>
                  <a:lnTo>
                    <a:pt x="70597" y="55037"/>
                  </a:lnTo>
                  <a:cubicBezTo>
                    <a:pt x="48533" y="60804"/>
                    <a:pt x="27586" y="74235"/>
                    <a:pt x="19660" y="95741"/>
                  </a:cubicBezTo>
                  <a:cubicBezTo>
                    <a:pt x="9280" y="124019"/>
                    <a:pt x="25576" y="154751"/>
                    <a:pt x="63378" y="177708"/>
                  </a:cubicBezTo>
                  <a:cubicBezTo>
                    <a:pt x="66838" y="179866"/>
                    <a:pt x="70448" y="181875"/>
                    <a:pt x="73908" y="183922"/>
                  </a:cubicBezTo>
                  <a:cubicBezTo>
                    <a:pt x="93553" y="195307"/>
                    <a:pt x="113757" y="207287"/>
                    <a:pt x="118929" y="224180"/>
                  </a:cubicBezTo>
                  <a:cubicBezTo>
                    <a:pt x="121236" y="231845"/>
                    <a:pt x="119785" y="240775"/>
                    <a:pt x="114873" y="249741"/>
                  </a:cubicBezTo>
                  <a:cubicBezTo>
                    <a:pt x="107804" y="262280"/>
                    <a:pt x="95377" y="271805"/>
                    <a:pt x="81684" y="275414"/>
                  </a:cubicBezTo>
                  <a:cubicBezTo>
                    <a:pt x="67992" y="278874"/>
                    <a:pt x="53109" y="276419"/>
                    <a:pt x="41724" y="268903"/>
                  </a:cubicBezTo>
                  <a:cubicBezTo>
                    <a:pt x="33650" y="263545"/>
                    <a:pt x="28442" y="256216"/>
                    <a:pt x="27139" y="248402"/>
                  </a:cubicBezTo>
                  <a:cubicBezTo>
                    <a:pt x="25986" y="241035"/>
                    <a:pt x="19214" y="235864"/>
                    <a:pt x="11550" y="237017"/>
                  </a:cubicBezTo>
                  <a:cubicBezTo>
                    <a:pt x="4034" y="238170"/>
                    <a:pt x="-989" y="245091"/>
                    <a:pt x="165" y="252607"/>
                  </a:cubicBezTo>
                  <a:cubicBezTo>
                    <a:pt x="2695" y="268345"/>
                    <a:pt x="12108" y="282224"/>
                    <a:pt x="26656" y="291897"/>
                  </a:cubicBezTo>
                  <a:close/>
                </a:path>
              </a:pathLst>
            </a:custGeom>
            <a:grpFill/>
            <a:ln w="9525" cap="flat">
              <a:noFill/>
              <a:prstDash val="solid"/>
              <a:miter/>
            </a:ln>
          </p:spPr>
          <p:txBody>
            <a:bodyPr rtlCol="0" anchor="ctr"/>
            <a:lstStyle/>
            <a:p>
              <a:endParaRPr lang="en-US" noProof="0" dirty="0"/>
            </a:p>
          </p:txBody>
        </p:sp>
        <p:sp>
          <p:nvSpPr>
            <p:cNvPr id="31" name="Freeform: Shape 30">
              <a:extLst>
                <a:ext uri="{FF2B5EF4-FFF2-40B4-BE49-F238E27FC236}">
                  <a16:creationId xmlns:a16="http://schemas.microsoft.com/office/drawing/2014/main" id="{B441F5AF-AD6B-CF95-E3A5-0488789463FF}"/>
                </a:ext>
              </a:extLst>
            </p:cNvPr>
            <p:cNvSpPr/>
            <p:nvPr/>
          </p:nvSpPr>
          <p:spPr>
            <a:xfrm>
              <a:off x="5598362" y="2880686"/>
              <a:ext cx="899945" cy="763182"/>
            </a:xfrm>
            <a:custGeom>
              <a:avLst/>
              <a:gdLst>
                <a:gd name="connsiteX0" fmla="*/ 898688 w 899945"/>
                <a:gd name="connsiteY0" fmla="*/ 528406 h 763182"/>
                <a:gd name="connsiteX1" fmla="*/ 872866 w 899945"/>
                <a:gd name="connsiteY1" fmla="*/ 497970 h 763182"/>
                <a:gd name="connsiteX2" fmla="*/ 777765 w 899945"/>
                <a:gd name="connsiteY2" fmla="*/ 489041 h 763182"/>
                <a:gd name="connsiteX3" fmla="*/ 769096 w 899945"/>
                <a:gd name="connsiteY3" fmla="*/ 489636 h 763182"/>
                <a:gd name="connsiteX4" fmla="*/ 743683 w 899945"/>
                <a:gd name="connsiteY4" fmla="*/ 470139 h 763182"/>
                <a:gd name="connsiteX5" fmla="*/ 716113 w 899945"/>
                <a:gd name="connsiteY5" fmla="*/ 468279 h 763182"/>
                <a:gd name="connsiteX6" fmla="*/ 793168 w 899945"/>
                <a:gd name="connsiteY6" fmla="*/ 329461 h 763182"/>
                <a:gd name="connsiteX7" fmla="*/ 577141 w 899945"/>
                <a:gd name="connsiteY7" fmla="*/ 7545 h 763182"/>
                <a:gd name="connsiteX8" fmla="*/ 499639 w 899945"/>
                <a:gd name="connsiteY8" fmla="*/ 476 h 763182"/>
                <a:gd name="connsiteX9" fmla="*/ 270591 w 899945"/>
                <a:gd name="connsiteY9" fmla="*/ 162696 h 763182"/>
                <a:gd name="connsiteX10" fmla="*/ 324281 w 899945"/>
                <a:gd name="connsiteY10" fmla="*/ 451608 h 763182"/>
                <a:gd name="connsiteX11" fmla="*/ 225269 w 899945"/>
                <a:gd name="connsiteY11" fmla="*/ 440633 h 763182"/>
                <a:gd name="connsiteX12" fmla="*/ 128266 w 899945"/>
                <a:gd name="connsiteY12" fmla="*/ 473115 h 763182"/>
                <a:gd name="connsiteX13" fmla="*/ 124359 w 899945"/>
                <a:gd name="connsiteY13" fmla="*/ 462734 h 763182"/>
                <a:gd name="connsiteX14" fmla="*/ 94334 w 899945"/>
                <a:gd name="connsiteY14" fmla="*/ 448894 h 763182"/>
                <a:gd name="connsiteX15" fmla="*/ 15231 w 899945"/>
                <a:gd name="connsiteY15" fmla="*/ 478771 h 763182"/>
                <a:gd name="connsiteX16" fmla="*/ 1391 w 899945"/>
                <a:gd name="connsiteY16" fmla="*/ 508796 h 763182"/>
                <a:gd name="connsiteX17" fmla="*/ 91655 w 899945"/>
                <a:gd name="connsiteY17" fmla="*/ 748188 h 763182"/>
                <a:gd name="connsiteX18" fmla="*/ 113607 w 899945"/>
                <a:gd name="connsiteY18" fmla="*/ 763182 h 763182"/>
                <a:gd name="connsiteX19" fmla="*/ 121681 w 899945"/>
                <a:gd name="connsiteY19" fmla="*/ 761731 h 763182"/>
                <a:gd name="connsiteX20" fmla="*/ 201044 w 899945"/>
                <a:gd name="connsiteY20" fmla="*/ 731854 h 763182"/>
                <a:gd name="connsiteX21" fmla="*/ 214029 w 899945"/>
                <a:gd name="connsiteY21" fmla="*/ 719874 h 763182"/>
                <a:gd name="connsiteX22" fmla="*/ 214624 w 899945"/>
                <a:gd name="connsiteY22" fmla="*/ 701977 h 763182"/>
                <a:gd name="connsiteX23" fmla="*/ 214178 w 899945"/>
                <a:gd name="connsiteY23" fmla="*/ 700973 h 763182"/>
                <a:gd name="connsiteX24" fmla="*/ 285318 w 899945"/>
                <a:gd name="connsiteY24" fmla="*/ 725381 h 763182"/>
                <a:gd name="connsiteX25" fmla="*/ 459673 w 899945"/>
                <a:gd name="connsiteY25" fmla="*/ 749788 h 763182"/>
                <a:gd name="connsiteX26" fmla="*/ 558533 w 899945"/>
                <a:gd name="connsiteY26" fmla="*/ 738663 h 763182"/>
                <a:gd name="connsiteX27" fmla="*/ 748176 w 899945"/>
                <a:gd name="connsiteY27" fmla="*/ 651933 h 763182"/>
                <a:gd name="connsiteX28" fmla="*/ 864934 w 899945"/>
                <a:gd name="connsiteY28" fmla="*/ 584105 h 763182"/>
                <a:gd name="connsiteX29" fmla="*/ 898681 w 899945"/>
                <a:gd name="connsiteY29" fmla="*/ 528405 h 763182"/>
                <a:gd name="connsiteX30" fmla="*/ 735905 w 899945"/>
                <a:gd name="connsiteY30" fmla="*/ 496221 h 763182"/>
                <a:gd name="connsiteX31" fmla="*/ 745430 w 899945"/>
                <a:gd name="connsiteY31" fmla="*/ 502993 h 763182"/>
                <a:gd name="connsiteX32" fmla="*/ 676448 w 899945"/>
                <a:gd name="connsiteY32" fmla="*/ 537931 h 763182"/>
                <a:gd name="connsiteX33" fmla="*/ 638051 w 899945"/>
                <a:gd name="connsiteY33" fmla="*/ 556684 h 763182"/>
                <a:gd name="connsiteX34" fmla="*/ 624359 w 899945"/>
                <a:gd name="connsiteY34" fmla="*/ 534471 h 763182"/>
                <a:gd name="connsiteX35" fmla="*/ 638498 w 899945"/>
                <a:gd name="connsiteY35" fmla="*/ 524946 h 763182"/>
                <a:gd name="connsiteX36" fmla="*/ 735910 w 899945"/>
                <a:gd name="connsiteY36" fmla="*/ 496223 h 763182"/>
                <a:gd name="connsiteX37" fmla="*/ 295860 w 899945"/>
                <a:gd name="connsiteY37" fmla="*/ 172667 h 763182"/>
                <a:gd name="connsiteX38" fmla="*/ 501095 w 899945"/>
                <a:gd name="connsiteY38" fmla="*/ 27630 h 763182"/>
                <a:gd name="connsiteX39" fmla="*/ 514787 w 899945"/>
                <a:gd name="connsiteY39" fmla="*/ 27183 h 763182"/>
                <a:gd name="connsiteX40" fmla="*/ 570635 w 899945"/>
                <a:gd name="connsiteY40" fmla="*/ 33955 h 763182"/>
                <a:gd name="connsiteX41" fmla="*/ 766488 w 899945"/>
                <a:gd name="connsiteY41" fmla="*/ 324763 h 763182"/>
                <a:gd name="connsiteX42" fmla="*/ 693042 w 899945"/>
                <a:gd name="connsiteY42" fmla="*/ 452645 h 763182"/>
                <a:gd name="connsiteX43" fmla="*/ 593734 w 899945"/>
                <a:gd name="connsiteY43" fmla="*/ 504586 h 763182"/>
                <a:gd name="connsiteX44" fmla="*/ 481739 w 899945"/>
                <a:gd name="connsiteY44" fmla="*/ 478765 h 763182"/>
                <a:gd name="connsiteX45" fmla="*/ 391847 w 899945"/>
                <a:gd name="connsiteY45" fmla="*/ 473704 h 763182"/>
                <a:gd name="connsiteX46" fmla="*/ 384182 w 899945"/>
                <a:gd name="connsiteY46" fmla="*/ 468793 h 763182"/>
                <a:gd name="connsiteX47" fmla="*/ 295853 w 899945"/>
                <a:gd name="connsiteY47" fmla="*/ 172661 h 763182"/>
                <a:gd name="connsiteX48" fmla="*/ 115780 w 899945"/>
                <a:gd name="connsiteY48" fmla="*/ 734899 h 763182"/>
                <a:gd name="connsiteX49" fmla="*/ 28306 w 899945"/>
                <a:gd name="connsiteY49" fmla="*/ 503137 h 763182"/>
                <a:gd name="connsiteX50" fmla="*/ 100191 w 899945"/>
                <a:gd name="connsiteY50" fmla="*/ 476012 h 763182"/>
                <a:gd name="connsiteX51" fmla="*/ 187516 w 899945"/>
                <a:gd name="connsiteY51" fmla="*/ 707775 h 763182"/>
                <a:gd name="connsiteX52" fmla="*/ 850920 w 899945"/>
                <a:gd name="connsiteY52" fmla="*/ 560439 h 763182"/>
                <a:gd name="connsiteX53" fmla="*/ 734162 w 899945"/>
                <a:gd name="connsiteY53" fmla="*/ 628268 h 763182"/>
                <a:gd name="connsiteX54" fmla="*/ 551882 w 899945"/>
                <a:gd name="connsiteY54" fmla="*/ 712132 h 763182"/>
                <a:gd name="connsiteX55" fmla="*/ 291393 w 899945"/>
                <a:gd name="connsiteY55" fmla="*/ 698850 h 763182"/>
                <a:gd name="connsiteX56" fmla="*/ 221704 w 899945"/>
                <a:gd name="connsiteY56" fmla="*/ 674590 h 763182"/>
                <a:gd name="connsiteX57" fmla="*/ 212179 w 899945"/>
                <a:gd name="connsiteY57" fmla="*/ 672730 h 763182"/>
                <a:gd name="connsiteX58" fmla="*/ 204254 w 899945"/>
                <a:gd name="connsiteY58" fmla="*/ 674032 h 763182"/>
                <a:gd name="connsiteX59" fmla="*/ 203956 w 899945"/>
                <a:gd name="connsiteY59" fmla="*/ 674181 h 763182"/>
                <a:gd name="connsiteX60" fmla="*/ 137877 w 899945"/>
                <a:gd name="connsiteY60" fmla="*/ 498969 h 763182"/>
                <a:gd name="connsiteX61" fmla="*/ 231526 w 899945"/>
                <a:gd name="connsiteY61" fmla="*/ 467082 h 763182"/>
                <a:gd name="connsiteX62" fmla="*/ 332539 w 899945"/>
                <a:gd name="connsiteY62" fmla="*/ 487881 h 763182"/>
                <a:gd name="connsiteX63" fmla="*/ 345078 w 899945"/>
                <a:gd name="connsiteY63" fmla="*/ 493350 h 763182"/>
                <a:gd name="connsiteX64" fmla="*/ 482333 w 899945"/>
                <a:gd name="connsiteY64" fmla="*/ 505889 h 763182"/>
                <a:gd name="connsiteX65" fmla="*/ 577286 w 899945"/>
                <a:gd name="connsiteY65" fmla="*/ 526092 h 763182"/>
                <a:gd name="connsiteX66" fmla="*/ 581602 w 899945"/>
                <a:gd name="connsiteY66" fmla="*/ 531004 h 763182"/>
                <a:gd name="connsiteX67" fmla="*/ 612484 w 899945"/>
                <a:gd name="connsiteY67" fmla="*/ 566201 h 763182"/>
                <a:gd name="connsiteX68" fmla="*/ 414211 w 899945"/>
                <a:gd name="connsiteY68" fmla="*/ 565346 h 763182"/>
                <a:gd name="connsiteX69" fmla="*/ 399328 w 899945"/>
                <a:gd name="connsiteY69" fmla="*/ 577624 h 763182"/>
                <a:gd name="connsiteX70" fmla="*/ 411607 w 899945"/>
                <a:gd name="connsiteY70" fmla="*/ 592507 h 763182"/>
                <a:gd name="connsiteX71" fmla="*/ 531375 w 899945"/>
                <a:gd name="connsiteY71" fmla="*/ 595260 h 763182"/>
                <a:gd name="connsiteX72" fmla="*/ 639055 w 899945"/>
                <a:gd name="connsiteY72" fmla="*/ 589047 h 763182"/>
                <a:gd name="connsiteX73" fmla="*/ 642366 w 899945"/>
                <a:gd name="connsiteY73" fmla="*/ 584880 h 763182"/>
                <a:gd name="connsiteX74" fmla="*/ 688131 w 899945"/>
                <a:gd name="connsiteY74" fmla="*/ 562369 h 763182"/>
                <a:gd name="connsiteX75" fmla="*/ 767643 w 899945"/>
                <a:gd name="connsiteY75" fmla="*/ 521516 h 763182"/>
                <a:gd name="connsiteX76" fmla="*/ 860586 w 899945"/>
                <a:gd name="connsiteY76" fmla="*/ 522371 h 763182"/>
                <a:gd name="connsiteX77" fmla="*/ 872120 w 899945"/>
                <a:gd name="connsiteY77" fmla="*/ 534799 h 763182"/>
                <a:gd name="connsiteX78" fmla="*/ 850911 w 899945"/>
                <a:gd name="connsiteY78" fmla="*/ 560434 h 76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99945" h="763182">
                  <a:moveTo>
                    <a:pt x="898688" y="528406"/>
                  </a:moveTo>
                  <a:cubicBezTo>
                    <a:pt x="895674" y="515867"/>
                    <a:pt x="886260" y="504742"/>
                    <a:pt x="872866" y="497970"/>
                  </a:cubicBezTo>
                  <a:cubicBezTo>
                    <a:pt x="843585" y="483386"/>
                    <a:pt x="809354" y="480520"/>
                    <a:pt x="777765" y="489041"/>
                  </a:cubicBezTo>
                  <a:cubicBezTo>
                    <a:pt x="774863" y="488185"/>
                    <a:pt x="771998" y="488445"/>
                    <a:pt x="769096" y="489636"/>
                  </a:cubicBezTo>
                  <a:cubicBezTo>
                    <a:pt x="763626" y="480706"/>
                    <a:pt x="754660" y="473340"/>
                    <a:pt x="743683" y="470139"/>
                  </a:cubicBezTo>
                  <a:cubicBezTo>
                    <a:pt x="740520" y="469283"/>
                    <a:pt x="731256" y="467125"/>
                    <a:pt x="716113" y="468279"/>
                  </a:cubicBezTo>
                  <a:cubicBezTo>
                    <a:pt x="757115" y="430476"/>
                    <a:pt x="784537" y="381549"/>
                    <a:pt x="793168" y="329461"/>
                  </a:cubicBezTo>
                  <a:cubicBezTo>
                    <a:pt x="819027" y="176690"/>
                    <a:pt x="699964" y="37273"/>
                    <a:pt x="577141" y="7545"/>
                  </a:cubicBezTo>
                  <a:cubicBezTo>
                    <a:pt x="552175" y="1331"/>
                    <a:pt x="526056" y="-1124"/>
                    <a:pt x="499639" y="476"/>
                  </a:cubicBezTo>
                  <a:cubicBezTo>
                    <a:pt x="397169" y="6094"/>
                    <a:pt x="307282" y="69904"/>
                    <a:pt x="270591" y="162696"/>
                  </a:cubicBezTo>
                  <a:cubicBezTo>
                    <a:pt x="231636" y="261556"/>
                    <a:pt x="254704" y="374703"/>
                    <a:pt x="324281" y="451608"/>
                  </a:cubicBezTo>
                  <a:cubicBezTo>
                    <a:pt x="293399" y="436874"/>
                    <a:pt x="258611" y="432707"/>
                    <a:pt x="225269" y="440633"/>
                  </a:cubicBezTo>
                  <a:cubicBezTo>
                    <a:pt x="191634" y="448855"/>
                    <a:pt x="159300" y="459831"/>
                    <a:pt x="128266" y="473115"/>
                  </a:cubicBezTo>
                  <a:lnTo>
                    <a:pt x="124359" y="462734"/>
                  </a:lnTo>
                  <a:cubicBezTo>
                    <a:pt x="120043" y="450754"/>
                    <a:pt x="106611" y="444391"/>
                    <a:pt x="94334" y="448894"/>
                  </a:cubicBezTo>
                  <a:lnTo>
                    <a:pt x="15231" y="478771"/>
                  </a:lnTo>
                  <a:cubicBezTo>
                    <a:pt x="3251" y="483087"/>
                    <a:pt x="-2963" y="496519"/>
                    <a:pt x="1391" y="508796"/>
                  </a:cubicBezTo>
                  <a:lnTo>
                    <a:pt x="91655" y="748188"/>
                  </a:lnTo>
                  <a:cubicBezTo>
                    <a:pt x="95115" y="757416"/>
                    <a:pt x="104082" y="763182"/>
                    <a:pt x="113607" y="763182"/>
                  </a:cubicBezTo>
                  <a:cubicBezTo>
                    <a:pt x="116361" y="763182"/>
                    <a:pt x="119077" y="762736"/>
                    <a:pt x="121681" y="761731"/>
                  </a:cubicBezTo>
                  <a:lnTo>
                    <a:pt x="201044" y="731854"/>
                  </a:lnTo>
                  <a:cubicBezTo>
                    <a:pt x="206811" y="729696"/>
                    <a:pt x="211424" y="725492"/>
                    <a:pt x="214029" y="719874"/>
                  </a:cubicBezTo>
                  <a:cubicBezTo>
                    <a:pt x="216634" y="714107"/>
                    <a:pt x="216931" y="707745"/>
                    <a:pt x="214624" y="701977"/>
                  </a:cubicBezTo>
                  <a:lnTo>
                    <a:pt x="214178" y="700973"/>
                  </a:lnTo>
                  <a:cubicBezTo>
                    <a:pt x="228168" y="706591"/>
                    <a:pt x="262956" y="720171"/>
                    <a:pt x="285318" y="725381"/>
                  </a:cubicBezTo>
                  <a:cubicBezTo>
                    <a:pt x="335547" y="737659"/>
                    <a:pt x="396161" y="749788"/>
                    <a:pt x="459673" y="749788"/>
                  </a:cubicBezTo>
                  <a:cubicBezTo>
                    <a:pt x="492156" y="749788"/>
                    <a:pt x="525493" y="746626"/>
                    <a:pt x="558533" y="738663"/>
                  </a:cubicBezTo>
                  <a:cubicBezTo>
                    <a:pt x="626957" y="722217"/>
                    <a:pt x="688569" y="686573"/>
                    <a:pt x="748176" y="651933"/>
                  </a:cubicBezTo>
                  <a:lnTo>
                    <a:pt x="864934" y="584105"/>
                  </a:lnTo>
                  <a:cubicBezTo>
                    <a:pt x="877175" y="576589"/>
                    <a:pt x="906345" y="559585"/>
                    <a:pt x="898681" y="528405"/>
                  </a:cubicBezTo>
                  <a:close/>
                  <a:moveTo>
                    <a:pt x="735905" y="496221"/>
                  </a:moveTo>
                  <a:cubicBezTo>
                    <a:pt x="739961" y="497375"/>
                    <a:pt x="743272" y="500128"/>
                    <a:pt x="745430" y="502993"/>
                  </a:cubicBezTo>
                  <a:cubicBezTo>
                    <a:pt x="724372" y="514677"/>
                    <a:pt x="700112" y="526359"/>
                    <a:pt x="676448" y="537931"/>
                  </a:cubicBezTo>
                  <a:cubicBezTo>
                    <a:pt x="663016" y="544442"/>
                    <a:pt x="650180" y="550618"/>
                    <a:pt x="638051" y="556684"/>
                  </a:cubicBezTo>
                  <a:cubicBezTo>
                    <a:pt x="634740" y="549763"/>
                    <a:pt x="630126" y="541949"/>
                    <a:pt x="624359" y="534471"/>
                  </a:cubicBezTo>
                  <a:cubicBezTo>
                    <a:pt x="629717" y="530714"/>
                    <a:pt x="635484" y="526807"/>
                    <a:pt x="638498" y="524946"/>
                  </a:cubicBezTo>
                  <a:cubicBezTo>
                    <a:pt x="689732" y="494474"/>
                    <a:pt x="724633" y="492762"/>
                    <a:pt x="735910" y="496223"/>
                  </a:cubicBezTo>
                  <a:close/>
                  <a:moveTo>
                    <a:pt x="295860" y="172667"/>
                  </a:moveTo>
                  <a:cubicBezTo>
                    <a:pt x="328602" y="89695"/>
                    <a:pt x="409160" y="32802"/>
                    <a:pt x="501095" y="27630"/>
                  </a:cubicBezTo>
                  <a:cubicBezTo>
                    <a:pt x="505709" y="27332"/>
                    <a:pt x="510174" y="27183"/>
                    <a:pt x="514787" y="27183"/>
                  </a:cubicBezTo>
                  <a:cubicBezTo>
                    <a:pt x="533837" y="27183"/>
                    <a:pt x="552590" y="29490"/>
                    <a:pt x="570635" y="33955"/>
                  </a:cubicBezTo>
                  <a:cubicBezTo>
                    <a:pt x="681925" y="60781"/>
                    <a:pt x="789710" y="186802"/>
                    <a:pt x="766488" y="324763"/>
                  </a:cubicBezTo>
                  <a:cubicBezTo>
                    <a:pt x="758414" y="372983"/>
                    <a:pt x="732295" y="418412"/>
                    <a:pt x="693042" y="452645"/>
                  </a:cubicBezTo>
                  <a:cubicBezTo>
                    <a:pt x="664914" y="477313"/>
                    <a:pt x="630683" y="494912"/>
                    <a:pt x="593734" y="504586"/>
                  </a:cubicBezTo>
                  <a:cubicBezTo>
                    <a:pt x="573829" y="491452"/>
                    <a:pt x="538185" y="477313"/>
                    <a:pt x="481739" y="478765"/>
                  </a:cubicBezTo>
                  <a:cubicBezTo>
                    <a:pt x="447547" y="479769"/>
                    <a:pt x="415771" y="476904"/>
                    <a:pt x="391847" y="473704"/>
                  </a:cubicBezTo>
                  <a:cubicBezTo>
                    <a:pt x="389243" y="472105"/>
                    <a:pt x="386787" y="470542"/>
                    <a:pt x="384182" y="468793"/>
                  </a:cubicBezTo>
                  <a:cubicBezTo>
                    <a:pt x="291239" y="403272"/>
                    <a:pt x="254033" y="278588"/>
                    <a:pt x="295853" y="172661"/>
                  </a:cubicBezTo>
                  <a:close/>
                  <a:moveTo>
                    <a:pt x="115780" y="734899"/>
                  </a:moveTo>
                  <a:lnTo>
                    <a:pt x="28306" y="503137"/>
                  </a:lnTo>
                  <a:lnTo>
                    <a:pt x="100191" y="476012"/>
                  </a:lnTo>
                  <a:lnTo>
                    <a:pt x="187516" y="707775"/>
                  </a:lnTo>
                  <a:close/>
                  <a:moveTo>
                    <a:pt x="850920" y="560439"/>
                  </a:moveTo>
                  <a:lnTo>
                    <a:pt x="734162" y="628268"/>
                  </a:lnTo>
                  <a:cubicBezTo>
                    <a:pt x="676306" y="661902"/>
                    <a:pt x="616548" y="696543"/>
                    <a:pt x="551882" y="712132"/>
                  </a:cubicBezTo>
                  <a:cubicBezTo>
                    <a:pt x="459944" y="734196"/>
                    <a:pt x="364392" y="716746"/>
                    <a:pt x="291393" y="698850"/>
                  </a:cubicBezTo>
                  <a:cubicBezTo>
                    <a:pt x="276957" y="695389"/>
                    <a:pt x="253590" y="687316"/>
                    <a:pt x="221704" y="674590"/>
                  </a:cubicBezTo>
                  <a:cubicBezTo>
                    <a:pt x="218690" y="673437"/>
                    <a:pt x="215342" y="672730"/>
                    <a:pt x="212179" y="672730"/>
                  </a:cubicBezTo>
                  <a:cubicBezTo>
                    <a:pt x="209426" y="672730"/>
                    <a:pt x="206710" y="673177"/>
                    <a:pt x="204254" y="674032"/>
                  </a:cubicBezTo>
                  <a:cubicBezTo>
                    <a:pt x="204105" y="674032"/>
                    <a:pt x="204105" y="674032"/>
                    <a:pt x="203956" y="674181"/>
                  </a:cubicBezTo>
                  <a:lnTo>
                    <a:pt x="137877" y="498969"/>
                  </a:lnTo>
                  <a:cubicBezTo>
                    <a:pt x="167902" y="485983"/>
                    <a:pt x="199082" y="475156"/>
                    <a:pt x="231526" y="467082"/>
                  </a:cubicBezTo>
                  <a:cubicBezTo>
                    <a:pt x="266017" y="458859"/>
                    <a:pt x="302667" y="466375"/>
                    <a:pt x="332539" y="487881"/>
                  </a:cubicBezTo>
                  <a:cubicBezTo>
                    <a:pt x="336446" y="490485"/>
                    <a:pt x="340464" y="492346"/>
                    <a:pt x="345078" y="493350"/>
                  </a:cubicBezTo>
                  <a:cubicBezTo>
                    <a:pt x="356203" y="495806"/>
                    <a:pt x="415213" y="507638"/>
                    <a:pt x="482333" y="505889"/>
                  </a:cubicBezTo>
                  <a:cubicBezTo>
                    <a:pt x="531558" y="504438"/>
                    <a:pt x="562142" y="516567"/>
                    <a:pt x="577286" y="526092"/>
                  </a:cubicBezTo>
                  <a:cubicBezTo>
                    <a:pt x="578290" y="527953"/>
                    <a:pt x="579741" y="529702"/>
                    <a:pt x="581602" y="531004"/>
                  </a:cubicBezTo>
                  <a:cubicBezTo>
                    <a:pt x="596336" y="540529"/>
                    <a:pt x="606865" y="555523"/>
                    <a:pt x="612484" y="566201"/>
                  </a:cubicBezTo>
                  <a:cubicBezTo>
                    <a:pt x="571928" y="567950"/>
                    <a:pt x="461389" y="570108"/>
                    <a:pt x="414211" y="565346"/>
                  </a:cubicBezTo>
                  <a:cubicBezTo>
                    <a:pt x="406547" y="564750"/>
                    <a:pt x="400072" y="570108"/>
                    <a:pt x="399328" y="577624"/>
                  </a:cubicBezTo>
                  <a:cubicBezTo>
                    <a:pt x="398622" y="585140"/>
                    <a:pt x="404091" y="591763"/>
                    <a:pt x="411607" y="592507"/>
                  </a:cubicBezTo>
                  <a:cubicBezTo>
                    <a:pt x="423291" y="593660"/>
                    <a:pt x="478282" y="595260"/>
                    <a:pt x="531375" y="595260"/>
                  </a:cubicBezTo>
                  <a:cubicBezTo>
                    <a:pt x="583315" y="595260"/>
                    <a:pt x="633397" y="593809"/>
                    <a:pt x="639055" y="589047"/>
                  </a:cubicBezTo>
                  <a:cubicBezTo>
                    <a:pt x="640059" y="588191"/>
                    <a:pt x="641361" y="586740"/>
                    <a:pt x="642366" y="584880"/>
                  </a:cubicBezTo>
                  <a:cubicBezTo>
                    <a:pt x="656505" y="577662"/>
                    <a:pt x="671946" y="570146"/>
                    <a:pt x="688131" y="562369"/>
                  </a:cubicBezTo>
                  <a:cubicBezTo>
                    <a:pt x="715701" y="549087"/>
                    <a:pt x="743830" y="535245"/>
                    <a:pt x="767643" y="521516"/>
                  </a:cubicBezTo>
                  <a:cubicBezTo>
                    <a:pt x="796813" y="508083"/>
                    <a:pt x="832309" y="508382"/>
                    <a:pt x="860586" y="522371"/>
                  </a:cubicBezTo>
                  <a:cubicBezTo>
                    <a:pt x="866799" y="525385"/>
                    <a:pt x="870966" y="530036"/>
                    <a:pt x="872120" y="534799"/>
                  </a:cubicBezTo>
                  <a:cubicBezTo>
                    <a:pt x="874017" y="541682"/>
                    <a:pt x="870966" y="548751"/>
                    <a:pt x="850911" y="560434"/>
                  </a:cubicBezTo>
                  <a:close/>
                </a:path>
              </a:pathLst>
            </a:custGeom>
            <a:grpFill/>
            <a:ln w="9525" cap="flat">
              <a:noFill/>
              <a:prstDash val="solid"/>
              <a:miter/>
            </a:ln>
          </p:spPr>
          <p:txBody>
            <a:bodyPr rtlCol="0" anchor="ctr"/>
            <a:lstStyle/>
            <a:p>
              <a:endParaRPr lang="en-US" noProof="0" dirty="0"/>
            </a:p>
          </p:txBody>
        </p:sp>
      </p:grpSp>
      <p:grpSp>
        <p:nvGrpSpPr>
          <p:cNvPr id="59" name="Group 58">
            <a:extLst>
              <a:ext uri="{FF2B5EF4-FFF2-40B4-BE49-F238E27FC236}">
                <a16:creationId xmlns:a16="http://schemas.microsoft.com/office/drawing/2014/main" id="{B86FDE5D-85D5-BB6D-15DA-CCF72B2174C9}"/>
              </a:ext>
            </a:extLst>
          </p:cNvPr>
          <p:cNvGrpSpPr/>
          <p:nvPr/>
        </p:nvGrpSpPr>
        <p:grpSpPr>
          <a:xfrm>
            <a:off x="4850132" y="4191259"/>
            <a:ext cx="234431" cy="234421"/>
            <a:chOff x="5629124" y="2843216"/>
            <a:chExt cx="838423" cy="838386"/>
          </a:xfrm>
          <a:solidFill>
            <a:schemeClr val="bg1"/>
          </a:solidFill>
        </p:grpSpPr>
        <p:sp>
          <p:nvSpPr>
            <p:cNvPr id="49" name="Freeform: Shape 48">
              <a:extLst>
                <a:ext uri="{FF2B5EF4-FFF2-40B4-BE49-F238E27FC236}">
                  <a16:creationId xmlns:a16="http://schemas.microsoft.com/office/drawing/2014/main" id="{DAB7C038-3AF8-A322-7AC0-1BBC671FD9E7}"/>
                </a:ext>
              </a:extLst>
            </p:cNvPr>
            <p:cNvSpPr/>
            <p:nvPr/>
          </p:nvSpPr>
          <p:spPr>
            <a:xfrm>
              <a:off x="5629124" y="2843216"/>
              <a:ext cx="838423" cy="838386"/>
            </a:xfrm>
            <a:custGeom>
              <a:avLst/>
              <a:gdLst>
                <a:gd name="connsiteX0" fmla="*/ 798612 w 838423"/>
                <a:gd name="connsiteY0" fmla="*/ 343086 h 838386"/>
                <a:gd name="connsiteX1" fmla="*/ 750019 w 838423"/>
                <a:gd name="connsiteY1" fmla="*/ 343086 h 838386"/>
                <a:gd name="connsiteX2" fmla="*/ 730114 w 838423"/>
                <a:gd name="connsiteY2" fmla="*/ 328501 h 838386"/>
                <a:gd name="connsiteX3" fmla="*/ 703176 w 838423"/>
                <a:gd name="connsiteY3" fmla="*/ 263463 h 838386"/>
                <a:gd name="connsiteX4" fmla="*/ 706897 w 838423"/>
                <a:gd name="connsiteY4" fmla="*/ 238981 h 838386"/>
                <a:gd name="connsiteX5" fmla="*/ 741388 w 838423"/>
                <a:gd name="connsiteY5" fmla="*/ 204490 h 838386"/>
                <a:gd name="connsiteX6" fmla="*/ 741388 w 838423"/>
                <a:gd name="connsiteY6" fmla="*/ 148494 h 838386"/>
                <a:gd name="connsiteX7" fmla="*/ 689856 w 838423"/>
                <a:gd name="connsiteY7" fmla="*/ 96961 h 838386"/>
                <a:gd name="connsiteX8" fmla="*/ 633859 w 838423"/>
                <a:gd name="connsiteY8" fmla="*/ 96961 h 838386"/>
                <a:gd name="connsiteX9" fmla="*/ 599368 w 838423"/>
                <a:gd name="connsiteY9" fmla="*/ 131452 h 838386"/>
                <a:gd name="connsiteX10" fmla="*/ 574886 w 838423"/>
                <a:gd name="connsiteY10" fmla="*/ 135173 h 838386"/>
                <a:gd name="connsiteX11" fmla="*/ 509848 w 838423"/>
                <a:gd name="connsiteY11" fmla="*/ 108235 h 838386"/>
                <a:gd name="connsiteX12" fmla="*/ 495188 w 838423"/>
                <a:gd name="connsiteY12" fmla="*/ 88330 h 838386"/>
                <a:gd name="connsiteX13" fmla="*/ 495188 w 838423"/>
                <a:gd name="connsiteY13" fmla="*/ 39737 h 838386"/>
                <a:gd name="connsiteX14" fmla="*/ 455562 w 838423"/>
                <a:gd name="connsiteY14" fmla="*/ 0 h 838386"/>
                <a:gd name="connsiteX15" fmla="*/ 382711 w 838423"/>
                <a:gd name="connsiteY15" fmla="*/ 0 h 838386"/>
                <a:gd name="connsiteX16" fmla="*/ 343086 w 838423"/>
                <a:gd name="connsiteY16" fmla="*/ 39737 h 838386"/>
                <a:gd name="connsiteX17" fmla="*/ 343086 w 838423"/>
                <a:gd name="connsiteY17" fmla="*/ 88330 h 838386"/>
                <a:gd name="connsiteX18" fmla="*/ 328501 w 838423"/>
                <a:gd name="connsiteY18" fmla="*/ 108235 h 838386"/>
                <a:gd name="connsiteX19" fmla="*/ 263463 w 838423"/>
                <a:gd name="connsiteY19" fmla="*/ 135173 h 838386"/>
                <a:gd name="connsiteX20" fmla="*/ 238981 w 838423"/>
                <a:gd name="connsiteY20" fmla="*/ 131452 h 838386"/>
                <a:gd name="connsiteX21" fmla="*/ 204490 w 838423"/>
                <a:gd name="connsiteY21" fmla="*/ 96961 h 838386"/>
                <a:gd name="connsiteX22" fmla="*/ 148494 w 838423"/>
                <a:gd name="connsiteY22" fmla="*/ 96961 h 838386"/>
                <a:gd name="connsiteX23" fmla="*/ 96961 w 838423"/>
                <a:gd name="connsiteY23" fmla="*/ 148494 h 838386"/>
                <a:gd name="connsiteX24" fmla="*/ 96961 w 838423"/>
                <a:gd name="connsiteY24" fmla="*/ 204490 h 838386"/>
                <a:gd name="connsiteX25" fmla="*/ 131452 w 838423"/>
                <a:gd name="connsiteY25" fmla="*/ 238981 h 838386"/>
                <a:gd name="connsiteX26" fmla="*/ 135173 w 838423"/>
                <a:gd name="connsiteY26" fmla="*/ 263463 h 838386"/>
                <a:gd name="connsiteX27" fmla="*/ 108235 w 838423"/>
                <a:gd name="connsiteY27" fmla="*/ 328501 h 838386"/>
                <a:gd name="connsiteX28" fmla="*/ 88330 w 838423"/>
                <a:gd name="connsiteY28" fmla="*/ 343161 h 838386"/>
                <a:gd name="connsiteX29" fmla="*/ 39737 w 838423"/>
                <a:gd name="connsiteY29" fmla="*/ 343161 h 838386"/>
                <a:gd name="connsiteX30" fmla="*/ 0 w 838423"/>
                <a:gd name="connsiteY30" fmla="*/ 382787 h 838386"/>
                <a:gd name="connsiteX31" fmla="*/ 0 w 838423"/>
                <a:gd name="connsiteY31" fmla="*/ 455638 h 838386"/>
                <a:gd name="connsiteX32" fmla="*/ 39737 w 838423"/>
                <a:gd name="connsiteY32" fmla="*/ 495264 h 838386"/>
                <a:gd name="connsiteX33" fmla="*/ 88330 w 838423"/>
                <a:gd name="connsiteY33" fmla="*/ 495264 h 838386"/>
                <a:gd name="connsiteX34" fmla="*/ 108235 w 838423"/>
                <a:gd name="connsiteY34" fmla="*/ 509848 h 838386"/>
                <a:gd name="connsiteX35" fmla="*/ 135173 w 838423"/>
                <a:gd name="connsiteY35" fmla="*/ 574886 h 838386"/>
                <a:gd name="connsiteX36" fmla="*/ 131452 w 838423"/>
                <a:gd name="connsiteY36" fmla="*/ 599368 h 838386"/>
                <a:gd name="connsiteX37" fmla="*/ 96961 w 838423"/>
                <a:gd name="connsiteY37" fmla="*/ 633859 h 838386"/>
                <a:gd name="connsiteX38" fmla="*/ 85352 w 838423"/>
                <a:gd name="connsiteY38" fmla="*/ 661876 h 838386"/>
                <a:gd name="connsiteX39" fmla="*/ 96961 w 838423"/>
                <a:gd name="connsiteY39" fmla="*/ 689893 h 838386"/>
                <a:gd name="connsiteX40" fmla="*/ 148494 w 838423"/>
                <a:gd name="connsiteY40" fmla="*/ 741425 h 838386"/>
                <a:gd name="connsiteX41" fmla="*/ 176510 w 838423"/>
                <a:gd name="connsiteY41" fmla="*/ 753034 h 838386"/>
                <a:gd name="connsiteX42" fmla="*/ 204527 w 838423"/>
                <a:gd name="connsiteY42" fmla="*/ 741425 h 838386"/>
                <a:gd name="connsiteX43" fmla="*/ 239018 w 838423"/>
                <a:gd name="connsiteY43" fmla="*/ 706934 h 838386"/>
                <a:gd name="connsiteX44" fmla="*/ 263500 w 838423"/>
                <a:gd name="connsiteY44" fmla="*/ 703213 h 838386"/>
                <a:gd name="connsiteX45" fmla="*/ 328538 w 838423"/>
                <a:gd name="connsiteY45" fmla="*/ 730151 h 838386"/>
                <a:gd name="connsiteX46" fmla="*/ 343198 w 838423"/>
                <a:gd name="connsiteY46" fmla="*/ 750056 h 838386"/>
                <a:gd name="connsiteX47" fmla="*/ 343198 w 838423"/>
                <a:gd name="connsiteY47" fmla="*/ 798649 h 838386"/>
                <a:gd name="connsiteX48" fmla="*/ 382824 w 838423"/>
                <a:gd name="connsiteY48" fmla="*/ 838386 h 838386"/>
                <a:gd name="connsiteX49" fmla="*/ 455675 w 838423"/>
                <a:gd name="connsiteY49" fmla="*/ 838386 h 838386"/>
                <a:gd name="connsiteX50" fmla="*/ 495301 w 838423"/>
                <a:gd name="connsiteY50" fmla="*/ 798649 h 838386"/>
                <a:gd name="connsiteX51" fmla="*/ 495301 w 838423"/>
                <a:gd name="connsiteY51" fmla="*/ 750056 h 838386"/>
                <a:gd name="connsiteX52" fmla="*/ 509885 w 838423"/>
                <a:gd name="connsiteY52" fmla="*/ 730151 h 838386"/>
                <a:gd name="connsiteX53" fmla="*/ 574923 w 838423"/>
                <a:gd name="connsiteY53" fmla="*/ 703213 h 838386"/>
                <a:gd name="connsiteX54" fmla="*/ 599405 w 838423"/>
                <a:gd name="connsiteY54" fmla="*/ 706934 h 838386"/>
                <a:gd name="connsiteX55" fmla="*/ 633896 w 838423"/>
                <a:gd name="connsiteY55" fmla="*/ 741425 h 838386"/>
                <a:gd name="connsiteX56" fmla="*/ 661913 w 838423"/>
                <a:gd name="connsiteY56" fmla="*/ 753034 h 838386"/>
                <a:gd name="connsiteX57" fmla="*/ 689930 w 838423"/>
                <a:gd name="connsiteY57" fmla="*/ 741425 h 838386"/>
                <a:gd name="connsiteX58" fmla="*/ 741462 w 838423"/>
                <a:gd name="connsiteY58" fmla="*/ 689893 h 838386"/>
                <a:gd name="connsiteX59" fmla="*/ 753071 w 838423"/>
                <a:gd name="connsiteY59" fmla="*/ 661876 h 838386"/>
                <a:gd name="connsiteX60" fmla="*/ 741462 w 838423"/>
                <a:gd name="connsiteY60" fmla="*/ 633859 h 838386"/>
                <a:gd name="connsiteX61" fmla="*/ 706971 w 838423"/>
                <a:gd name="connsiteY61" fmla="*/ 599368 h 838386"/>
                <a:gd name="connsiteX62" fmla="*/ 703250 w 838423"/>
                <a:gd name="connsiteY62" fmla="*/ 574886 h 838386"/>
                <a:gd name="connsiteX63" fmla="*/ 730188 w 838423"/>
                <a:gd name="connsiteY63" fmla="*/ 509848 h 838386"/>
                <a:gd name="connsiteX64" fmla="*/ 750093 w 838423"/>
                <a:gd name="connsiteY64" fmla="*/ 495188 h 838386"/>
                <a:gd name="connsiteX65" fmla="*/ 798686 w 838423"/>
                <a:gd name="connsiteY65" fmla="*/ 495188 h 838386"/>
                <a:gd name="connsiteX66" fmla="*/ 838423 w 838423"/>
                <a:gd name="connsiteY66" fmla="*/ 455562 h 838386"/>
                <a:gd name="connsiteX67" fmla="*/ 838423 w 838423"/>
                <a:gd name="connsiteY67" fmla="*/ 382711 h 838386"/>
                <a:gd name="connsiteX68" fmla="*/ 798686 w 838423"/>
                <a:gd name="connsiteY68" fmla="*/ 343086 h 838386"/>
                <a:gd name="connsiteX69" fmla="*/ 819671 w 838423"/>
                <a:gd name="connsiteY69" fmla="*/ 455490 h 838386"/>
                <a:gd name="connsiteX70" fmla="*/ 798612 w 838423"/>
                <a:gd name="connsiteY70" fmla="*/ 476437 h 838386"/>
                <a:gd name="connsiteX71" fmla="*/ 750019 w 838423"/>
                <a:gd name="connsiteY71" fmla="*/ 476437 h 838386"/>
                <a:gd name="connsiteX72" fmla="*/ 712216 w 838423"/>
                <a:gd name="connsiteY72" fmla="*/ 504454 h 838386"/>
                <a:gd name="connsiteX73" fmla="*/ 686878 w 838423"/>
                <a:gd name="connsiteY73" fmla="*/ 565697 h 838386"/>
                <a:gd name="connsiteX74" fmla="*/ 693724 w 838423"/>
                <a:gd name="connsiteY74" fmla="*/ 612355 h 838386"/>
                <a:gd name="connsiteX75" fmla="*/ 728215 w 838423"/>
                <a:gd name="connsiteY75" fmla="*/ 646845 h 838386"/>
                <a:gd name="connsiteX76" fmla="*/ 734391 w 838423"/>
                <a:gd name="connsiteY76" fmla="*/ 661691 h 838386"/>
                <a:gd name="connsiteX77" fmla="*/ 728215 w 838423"/>
                <a:gd name="connsiteY77" fmla="*/ 676537 h 838386"/>
                <a:gd name="connsiteX78" fmla="*/ 676683 w 838423"/>
                <a:gd name="connsiteY78" fmla="*/ 728069 h 838386"/>
                <a:gd name="connsiteX79" fmla="*/ 646954 w 838423"/>
                <a:gd name="connsiteY79" fmla="*/ 728069 h 838386"/>
                <a:gd name="connsiteX80" fmla="*/ 612463 w 838423"/>
                <a:gd name="connsiteY80" fmla="*/ 693578 h 838386"/>
                <a:gd name="connsiteX81" fmla="*/ 565806 w 838423"/>
                <a:gd name="connsiteY81" fmla="*/ 686732 h 838386"/>
                <a:gd name="connsiteX82" fmla="*/ 504563 w 838423"/>
                <a:gd name="connsiteY82" fmla="*/ 712182 h 838386"/>
                <a:gd name="connsiteX83" fmla="*/ 476546 w 838423"/>
                <a:gd name="connsiteY83" fmla="*/ 749985 h 838386"/>
                <a:gd name="connsiteX84" fmla="*/ 476546 w 838423"/>
                <a:gd name="connsiteY84" fmla="*/ 798577 h 838386"/>
                <a:gd name="connsiteX85" fmla="*/ 455599 w 838423"/>
                <a:gd name="connsiteY85" fmla="*/ 819636 h 838386"/>
                <a:gd name="connsiteX86" fmla="*/ 382748 w 838423"/>
                <a:gd name="connsiteY86" fmla="*/ 819636 h 838386"/>
                <a:gd name="connsiteX87" fmla="*/ 361801 w 838423"/>
                <a:gd name="connsiteY87" fmla="*/ 798577 h 838386"/>
                <a:gd name="connsiteX88" fmla="*/ 361801 w 838423"/>
                <a:gd name="connsiteY88" fmla="*/ 749985 h 838386"/>
                <a:gd name="connsiteX89" fmla="*/ 333784 w 838423"/>
                <a:gd name="connsiteY89" fmla="*/ 712182 h 838386"/>
                <a:gd name="connsiteX90" fmla="*/ 272541 w 838423"/>
                <a:gd name="connsiteY90" fmla="*/ 686843 h 838386"/>
                <a:gd name="connsiteX91" fmla="*/ 253975 w 838423"/>
                <a:gd name="connsiteY91" fmla="*/ 682081 h 838386"/>
                <a:gd name="connsiteX92" fmla="*/ 225884 w 838423"/>
                <a:gd name="connsiteY92" fmla="*/ 693690 h 838386"/>
                <a:gd name="connsiteX93" fmla="*/ 191393 w 838423"/>
                <a:gd name="connsiteY93" fmla="*/ 728181 h 838386"/>
                <a:gd name="connsiteX94" fmla="*/ 161664 w 838423"/>
                <a:gd name="connsiteY94" fmla="*/ 728181 h 838386"/>
                <a:gd name="connsiteX95" fmla="*/ 110132 w 838423"/>
                <a:gd name="connsiteY95" fmla="*/ 676649 h 838386"/>
                <a:gd name="connsiteX96" fmla="*/ 103956 w 838423"/>
                <a:gd name="connsiteY96" fmla="*/ 661803 h 838386"/>
                <a:gd name="connsiteX97" fmla="*/ 110132 w 838423"/>
                <a:gd name="connsiteY97" fmla="*/ 646957 h 838386"/>
                <a:gd name="connsiteX98" fmla="*/ 144623 w 838423"/>
                <a:gd name="connsiteY98" fmla="*/ 612466 h 838386"/>
                <a:gd name="connsiteX99" fmla="*/ 151469 w 838423"/>
                <a:gd name="connsiteY99" fmla="*/ 565809 h 838386"/>
                <a:gd name="connsiteX100" fmla="*/ 126019 w 838423"/>
                <a:gd name="connsiteY100" fmla="*/ 504566 h 838386"/>
                <a:gd name="connsiteX101" fmla="*/ 88216 w 838423"/>
                <a:gd name="connsiteY101" fmla="*/ 476549 h 838386"/>
                <a:gd name="connsiteX102" fmla="*/ 39624 w 838423"/>
                <a:gd name="connsiteY102" fmla="*/ 476549 h 838386"/>
                <a:gd name="connsiteX103" fmla="*/ 18565 w 838423"/>
                <a:gd name="connsiteY103" fmla="*/ 455602 h 838386"/>
                <a:gd name="connsiteX104" fmla="*/ 18565 w 838423"/>
                <a:gd name="connsiteY104" fmla="*/ 382751 h 838386"/>
                <a:gd name="connsiteX105" fmla="*/ 39624 w 838423"/>
                <a:gd name="connsiteY105" fmla="*/ 361804 h 838386"/>
                <a:gd name="connsiteX106" fmla="*/ 88216 w 838423"/>
                <a:gd name="connsiteY106" fmla="*/ 361804 h 838386"/>
                <a:gd name="connsiteX107" fmla="*/ 126019 w 838423"/>
                <a:gd name="connsiteY107" fmla="*/ 333787 h 838386"/>
                <a:gd name="connsiteX108" fmla="*/ 151358 w 838423"/>
                <a:gd name="connsiteY108" fmla="*/ 272544 h 838386"/>
                <a:gd name="connsiteX109" fmla="*/ 144511 w 838423"/>
                <a:gd name="connsiteY109" fmla="*/ 225887 h 838386"/>
                <a:gd name="connsiteX110" fmla="*/ 110021 w 838423"/>
                <a:gd name="connsiteY110" fmla="*/ 191396 h 838386"/>
                <a:gd name="connsiteX111" fmla="*/ 110021 w 838423"/>
                <a:gd name="connsiteY111" fmla="*/ 161667 h 838386"/>
                <a:gd name="connsiteX112" fmla="*/ 161553 w 838423"/>
                <a:gd name="connsiteY112" fmla="*/ 110135 h 838386"/>
                <a:gd name="connsiteX113" fmla="*/ 191281 w 838423"/>
                <a:gd name="connsiteY113" fmla="*/ 110135 h 838386"/>
                <a:gd name="connsiteX114" fmla="*/ 225772 w 838423"/>
                <a:gd name="connsiteY114" fmla="*/ 144626 h 838386"/>
                <a:gd name="connsiteX115" fmla="*/ 272429 w 838423"/>
                <a:gd name="connsiteY115" fmla="*/ 151472 h 838386"/>
                <a:gd name="connsiteX116" fmla="*/ 333672 w 838423"/>
                <a:gd name="connsiteY116" fmla="*/ 126022 h 838386"/>
                <a:gd name="connsiteX117" fmla="*/ 361689 w 838423"/>
                <a:gd name="connsiteY117" fmla="*/ 88219 h 838386"/>
                <a:gd name="connsiteX118" fmla="*/ 361689 w 838423"/>
                <a:gd name="connsiteY118" fmla="*/ 39627 h 838386"/>
                <a:gd name="connsiteX119" fmla="*/ 382637 w 838423"/>
                <a:gd name="connsiteY119" fmla="*/ 18568 h 838386"/>
                <a:gd name="connsiteX120" fmla="*/ 455488 w 838423"/>
                <a:gd name="connsiteY120" fmla="*/ 18568 h 838386"/>
                <a:gd name="connsiteX121" fmla="*/ 476435 w 838423"/>
                <a:gd name="connsiteY121" fmla="*/ 39627 h 838386"/>
                <a:gd name="connsiteX122" fmla="*/ 476435 w 838423"/>
                <a:gd name="connsiteY122" fmla="*/ 88219 h 838386"/>
                <a:gd name="connsiteX123" fmla="*/ 504452 w 838423"/>
                <a:gd name="connsiteY123" fmla="*/ 126022 h 838386"/>
                <a:gd name="connsiteX124" fmla="*/ 565695 w 838423"/>
                <a:gd name="connsiteY124" fmla="*/ 151361 h 838386"/>
                <a:gd name="connsiteX125" fmla="*/ 612352 w 838423"/>
                <a:gd name="connsiteY125" fmla="*/ 144515 h 838386"/>
                <a:gd name="connsiteX126" fmla="*/ 646843 w 838423"/>
                <a:gd name="connsiteY126" fmla="*/ 110024 h 838386"/>
                <a:gd name="connsiteX127" fmla="*/ 676571 w 838423"/>
                <a:gd name="connsiteY127" fmla="*/ 110024 h 838386"/>
                <a:gd name="connsiteX128" fmla="*/ 728104 w 838423"/>
                <a:gd name="connsiteY128" fmla="*/ 161556 h 838386"/>
                <a:gd name="connsiteX129" fmla="*/ 728104 w 838423"/>
                <a:gd name="connsiteY129" fmla="*/ 191284 h 838386"/>
                <a:gd name="connsiteX130" fmla="*/ 693613 w 838423"/>
                <a:gd name="connsiteY130" fmla="*/ 225775 h 838386"/>
                <a:gd name="connsiteX131" fmla="*/ 686766 w 838423"/>
                <a:gd name="connsiteY131" fmla="*/ 272432 h 838386"/>
                <a:gd name="connsiteX132" fmla="*/ 712216 w 838423"/>
                <a:gd name="connsiteY132" fmla="*/ 333675 h 838386"/>
                <a:gd name="connsiteX133" fmla="*/ 750019 w 838423"/>
                <a:gd name="connsiteY133" fmla="*/ 361692 h 838386"/>
                <a:gd name="connsiteX134" fmla="*/ 798612 w 838423"/>
                <a:gd name="connsiteY134" fmla="*/ 361692 h 838386"/>
                <a:gd name="connsiteX135" fmla="*/ 819671 w 838423"/>
                <a:gd name="connsiteY135" fmla="*/ 382640 h 83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838423" h="838386">
                  <a:moveTo>
                    <a:pt x="798612" y="343086"/>
                  </a:moveTo>
                  <a:lnTo>
                    <a:pt x="750019" y="343086"/>
                  </a:lnTo>
                  <a:cubicBezTo>
                    <a:pt x="740792" y="343086"/>
                    <a:pt x="732606" y="337095"/>
                    <a:pt x="730114" y="328501"/>
                  </a:cubicBezTo>
                  <a:cubicBezTo>
                    <a:pt x="723640" y="306028"/>
                    <a:pt x="714487" y="284225"/>
                    <a:pt x="703176" y="263463"/>
                  </a:cubicBezTo>
                  <a:cubicBezTo>
                    <a:pt x="698786" y="255575"/>
                    <a:pt x="700423" y="245567"/>
                    <a:pt x="706897" y="238981"/>
                  </a:cubicBezTo>
                  <a:lnTo>
                    <a:pt x="741388" y="204490"/>
                  </a:lnTo>
                  <a:cubicBezTo>
                    <a:pt x="756829" y="189049"/>
                    <a:pt x="756829" y="163897"/>
                    <a:pt x="741388" y="148494"/>
                  </a:cubicBezTo>
                  <a:lnTo>
                    <a:pt x="689856" y="96961"/>
                  </a:lnTo>
                  <a:cubicBezTo>
                    <a:pt x="674415" y="81520"/>
                    <a:pt x="649263" y="81520"/>
                    <a:pt x="633859" y="96961"/>
                  </a:cubicBezTo>
                  <a:lnTo>
                    <a:pt x="599368" y="131452"/>
                  </a:lnTo>
                  <a:cubicBezTo>
                    <a:pt x="592782" y="138038"/>
                    <a:pt x="582811" y="139564"/>
                    <a:pt x="574886" y="135173"/>
                  </a:cubicBezTo>
                  <a:cubicBezTo>
                    <a:pt x="554199" y="123825"/>
                    <a:pt x="532321" y="114710"/>
                    <a:pt x="509848" y="108235"/>
                  </a:cubicBezTo>
                  <a:cubicBezTo>
                    <a:pt x="501291" y="105743"/>
                    <a:pt x="495188" y="97557"/>
                    <a:pt x="495188" y="88330"/>
                  </a:cubicBezTo>
                  <a:lnTo>
                    <a:pt x="495188" y="39737"/>
                  </a:lnTo>
                  <a:cubicBezTo>
                    <a:pt x="495188" y="17822"/>
                    <a:pt x="477478" y="0"/>
                    <a:pt x="455562" y="0"/>
                  </a:cubicBezTo>
                  <a:lnTo>
                    <a:pt x="382711" y="0"/>
                  </a:lnTo>
                  <a:cubicBezTo>
                    <a:pt x="360908" y="0"/>
                    <a:pt x="343086" y="17822"/>
                    <a:pt x="343086" y="39737"/>
                  </a:cubicBezTo>
                  <a:lnTo>
                    <a:pt x="343086" y="88330"/>
                  </a:lnTo>
                  <a:cubicBezTo>
                    <a:pt x="343086" y="97557"/>
                    <a:pt x="337095" y="105743"/>
                    <a:pt x="328501" y="108235"/>
                  </a:cubicBezTo>
                  <a:cubicBezTo>
                    <a:pt x="306028" y="114709"/>
                    <a:pt x="284225" y="123862"/>
                    <a:pt x="263463" y="135173"/>
                  </a:cubicBezTo>
                  <a:cubicBezTo>
                    <a:pt x="255575" y="139564"/>
                    <a:pt x="245567" y="137926"/>
                    <a:pt x="238981" y="131452"/>
                  </a:cubicBezTo>
                  <a:lnTo>
                    <a:pt x="204490" y="96961"/>
                  </a:lnTo>
                  <a:cubicBezTo>
                    <a:pt x="189049" y="81520"/>
                    <a:pt x="163897" y="81520"/>
                    <a:pt x="148494" y="96961"/>
                  </a:cubicBezTo>
                  <a:lnTo>
                    <a:pt x="96961" y="148494"/>
                  </a:lnTo>
                  <a:cubicBezTo>
                    <a:pt x="81520" y="163935"/>
                    <a:pt x="81520" y="189086"/>
                    <a:pt x="96961" y="204490"/>
                  </a:cubicBezTo>
                  <a:lnTo>
                    <a:pt x="131452" y="238981"/>
                  </a:lnTo>
                  <a:cubicBezTo>
                    <a:pt x="138038" y="245567"/>
                    <a:pt x="139564" y="255538"/>
                    <a:pt x="135173" y="263463"/>
                  </a:cubicBezTo>
                  <a:cubicBezTo>
                    <a:pt x="123751" y="284225"/>
                    <a:pt x="114710" y="306029"/>
                    <a:pt x="108235" y="328501"/>
                  </a:cubicBezTo>
                  <a:cubicBezTo>
                    <a:pt x="105743" y="337059"/>
                    <a:pt x="97557" y="343161"/>
                    <a:pt x="88330" y="343161"/>
                  </a:cubicBezTo>
                  <a:lnTo>
                    <a:pt x="39737" y="343161"/>
                  </a:lnTo>
                  <a:cubicBezTo>
                    <a:pt x="17822" y="343161"/>
                    <a:pt x="0" y="360872"/>
                    <a:pt x="0" y="382787"/>
                  </a:cubicBezTo>
                  <a:lnTo>
                    <a:pt x="0" y="455638"/>
                  </a:lnTo>
                  <a:cubicBezTo>
                    <a:pt x="0" y="477441"/>
                    <a:pt x="17822" y="495264"/>
                    <a:pt x="39737" y="495264"/>
                  </a:cubicBezTo>
                  <a:lnTo>
                    <a:pt x="88330" y="495264"/>
                  </a:lnTo>
                  <a:cubicBezTo>
                    <a:pt x="97557" y="495264"/>
                    <a:pt x="105743" y="501254"/>
                    <a:pt x="108235" y="509848"/>
                  </a:cubicBezTo>
                  <a:cubicBezTo>
                    <a:pt x="114709" y="532247"/>
                    <a:pt x="123751" y="554124"/>
                    <a:pt x="135173" y="574886"/>
                  </a:cubicBezTo>
                  <a:cubicBezTo>
                    <a:pt x="139564" y="582774"/>
                    <a:pt x="137926" y="592783"/>
                    <a:pt x="131452" y="599368"/>
                  </a:cubicBezTo>
                  <a:lnTo>
                    <a:pt x="96961" y="633859"/>
                  </a:lnTo>
                  <a:cubicBezTo>
                    <a:pt x="89446" y="641300"/>
                    <a:pt x="85352" y="651272"/>
                    <a:pt x="85352" y="661876"/>
                  </a:cubicBezTo>
                  <a:cubicBezTo>
                    <a:pt x="85352" y="672443"/>
                    <a:pt x="89445" y="682452"/>
                    <a:pt x="96961" y="689893"/>
                  </a:cubicBezTo>
                  <a:lnTo>
                    <a:pt x="148494" y="741425"/>
                  </a:lnTo>
                  <a:cubicBezTo>
                    <a:pt x="155935" y="748941"/>
                    <a:pt x="165906" y="753034"/>
                    <a:pt x="176510" y="753034"/>
                  </a:cubicBezTo>
                  <a:cubicBezTo>
                    <a:pt x="187077" y="753034"/>
                    <a:pt x="197086" y="748941"/>
                    <a:pt x="204527" y="741425"/>
                  </a:cubicBezTo>
                  <a:lnTo>
                    <a:pt x="239018" y="706934"/>
                  </a:lnTo>
                  <a:cubicBezTo>
                    <a:pt x="245604" y="700348"/>
                    <a:pt x="255687" y="698823"/>
                    <a:pt x="263500" y="703213"/>
                  </a:cubicBezTo>
                  <a:cubicBezTo>
                    <a:pt x="284262" y="714561"/>
                    <a:pt x="306066" y="723677"/>
                    <a:pt x="328538" y="730151"/>
                  </a:cubicBezTo>
                  <a:cubicBezTo>
                    <a:pt x="337096" y="732644"/>
                    <a:pt x="343198" y="740829"/>
                    <a:pt x="343198" y="750056"/>
                  </a:cubicBezTo>
                  <a:lnTo>
                    <a:pt x="343198" y="798649"/>
                  </a:lnTo>
                  <a:cubicBezTo>
                    <a:pt x="343198" y="820564"/>
                    <a:pt x="360909" y="838386"/>
                    <a:pt x="382824" y="838386"/>
                  </a:cubicBezTo>
                  <a:lnTo>
                    <a:pt x="455675" y="838386"/>
                  </a:lnTo>
                  <a:cubicBezTo>
                    <a:pt x="477479" y="838386"/>
                    <a:pt x="495301" y="820564"/>
                    <a:pt x="495301" y="798649"/>
                  </a:cubicBezTo>
                  <a:lnTo>
                    <a:pt x="495301" y="750056"/>
                  </a:lnTo>
                  <a:cubicBezTo>
                    <a:pt x="495301" y="740829"/>
                    <a:pt x="501291" y="732644"/>
                    <a:pt x="509885" y="730151"/>
                  </a:cubicBezTo>
                  <a:cubicBezTo>
                    <a:pt x="532284" y="723677"/>
                    <a:pt x="554161" y="714636"/>
                    <a:pt x="574923" y="703213"/>
                  </a:cubicBezTo>
                  <a:cubicBezTo>
                    <a:pt x="582811" y="698934"/>
                    <a:pt x="592820" y="700460"/>
                    <a:pt x="599405" y="706934"/>
                  </a:cubicBezTo>
                  <a:lnTo>
                    <a:pt x="633896" y="741425"/>
                  </a:lnTo>
                  <a:cubicBezTo>
                    <a:pt x="641338" y="748941"/>
                    <a:pt x="651309" y="753034"/>
                    <a:pt x="661913" y="753034"/>
                  </a:cubicBezTo>
                  <a:cubicBezTo>
                    <a:pt x="672480" y="753034"/>
                    <a:pt x="682489" y="748941"/>
                    <a:pt x="689930" y="741425"/>
                  </a:cubicBezTo>
                  <a:lnTo>
                    <a:pt x="741462" y="689893"/>
                  </a:lnTo>
                  <a:cubicBezTo>
                    <a:pt x="748978" y="682451"/>
                    <a:pt x="753071" y="672480"/>
                    <a:pt x="753071" y="661876"/>
                  </a:cubicBezTo>
                  <a:cubicBezTo>
                    <a:pt x="753071" y="651309"/>
                    <a:pt x="748978" y="641300"/>
                    <a:pt x="741462" y="633859"/>
                  </a:cubicBezTo>
                  <a:lnTo>
                    <a:pt x="706971" y="599368"/>
                  </a:lnTo>
                  <a:cubicBezTo>
                    <a:pt x="700385" y="592782"/>
                    <a:pt x="698860" y="582811"/>
                    <a:pt x="703250" y="574886"/>
                  </a:cubicBezTo>
                  <a:cubicBezTo>
                    <a:pt x="714673" y="554124"/>
                    <a:pt x="723714" y="532321"/>
                    <a:pt x="730188" y="509848"/>
                  </a:cubicBezTo>
                  <a:cubicBezTo>
                    <a:pt x="732681" y="501291"/>
                    <a:pt x="740867" y="495188"/>
                    <a:pt x="750093" y="495188"/>
                  </a:cubicBezTo>
                  <a:lnTo>
                    <a:pt x="798686" y="495188"/>
                  </a:lnTo>
                  <a:cubicBezTo>
                    <a:pt x="820601" y="495188"/>
                    <a:pt x="838423" y="477478"/>
                    <a:pt x="838423" y="455562"/>
                  </a:cubicBezTo>
                  <a:lnTo>
                    <a:pt x="838423" y="382711"/>
                  </a:lnTo>
                  <a:cubicBezTo>
                    <a:pt x="838423" y="360908"/>
                    <a:pt x="820601" y="343086"/>
                    <a:pt x="798686" y="343086"/>
                  </a:cubicBezTo>
                  <a:close/>
                  <a:moveTo>
                    <a:pt x="819671" y="455490"/>
                  </a:moveTo>
                  <a:cubicBezTo>
                    <a:pt x="819671" y="467024"/>
                    <a:pt x="810257" y="476437"/>
                    <a:pt x="798612" y="476437"/>
                  </a:cubicBezTo>
                  <a:lnTo>
                    <a:pt x="750019" y="476437"/>
                  </a:lnTo>
                  <a:cubicBezTo>
                    <a:pt x="732606" y="476437"/>
                    <a:pt x="717054" y="487971"/>
                    <a:pt x="712216" y="504454"/>
                  </a:cubicBezTo>
                  <a:cubicBezTo>
                    <a:pt x="706114" y="525588"/>
                    <a:pt x="697556" y="546163"/>
                    <a:pt x="686878" y="565697"/>
                  </a:cubicBezTo>
                  <a:cubicBezTo>
                    <a:pt x="678581" y="580840"/>
                    <a:pt x="681371" y="600002"/>
                    <a:pt x="693724" y="612355"/>
                  </a:cubicBezTo>
                  <a:lnTo>
                    <a:pt x="728215" y="646845"/>
                  </a:lnTo>
                  <a:cubicBezTo>
                    <a:pt x="732233" y="650864"/>
                    <a:pt x="734391" y="656073"/>
                    <a:pt x="734391" y="661691"/>
                  </a:cubicBezTo>
                  <a:cubicBezTo>
                    <a:pt x="734391" y="667309"/>
                    <a:pt x="732196" y="672555"/>
                    <a:pt x="728215" y="676537"/>
                  </a:cubicBezTo>
                  <a:lnTo>
                    <a:pt x="676683" y="728069"/>
                  </a:lnTo>
                  <a:cubicBezTo>
                    <a:pt x="668795" y="735957"/>
                    <a:pt x="654954" y="735957"/>
                    <a:pt x="646954" y="728069"/>
                  </a:cubicBezTo>
                  <a:lnTo>
                    <a:pt x="612463" y="693578"/>
                  </a:lnTo>
                  <a:cubicBezTo>
                    <a:pt x="600073" y="681188"/>
                    <a:pt x="580837" y="678323"/>
                    <a:pt x="565806" y="686732"/>
                  </a:cubicBezTo>
                  <a:cubicBezTo>
                    <a:pt x="546272" y="697485"/>
                    <a:pt x="525697" y="705968"/>
                    <a:pt x="504563" y="712182"/>
                  </a:cubicBezTo>
                  <a:cubicBezTo>
                    <a:pt x="488080" y="717056"/>
                    <a:pt x="476546" y="732571"/>
                    <a:pt x="476546" y="749985"/>
                  </a:cubicBezTo>
                  <a:lnTo>
                    <a:pt x="476546" y="798577"/>
                  </a:lnTo>
                  <a:cubicBezTo>
                    <a:pt x="476546" y="810186"/>
                    <a:pt x="467133" y="819636"/>
                    <a:pt x="455599" y="819636"/>
                  </a:cubicBezTo>
                  <a:lnTo>
                    <a:pt x="382748" y="819636"/>
                  </a:lnTo>
                  <a:cubicBezTo>
                    <a:pt x="371214" y="819636"/>
                    <a:pt x="361801" y="810223"/>
                    <a:pt x="361801" y="798577"/>
                  </a:cubicBezTo>
                  <a:lnTo>
                    <a:pt x="361801" y="749985"/>
                  </a:lnTo>
                  <a:cubicBezTo>
                    <a:pt x="361801" y="732572"/>
                    <a:pt x="350267" y="717019"/>
                    <a:pt x="333784" y="712182"/>
                  </a:cubicBezTo>
                  <a:cubicBezTo>
                    <a:pt x="312650" y="706080"/>
                    <a:pt x="292075" y="697522"/>
                    <a:pt x="272541" y="686843"/>
                  </a:cubicBezTo>
                  <a:cubicBezTo>
                    <a:pt x="266737" y="683606"/>
                    <a:pt x="260337" y="682081"/>
                    <a:pt x="253975" y="682081"/>
                  </a:cubicBezTo>
                  <a:cubicBezTo>
                    <a:pt x="243706" y="682081"/>
                    <a:pt x="233511" y="686099"/>
                    <a:pt x="225884" y="693690"/>
                  </a:cubicBezTo>
                  <a:lnTo>
                    <a:pt x="191393" y="728181"/>
                  </a:lnTo>
                  <a:cubicBezTo>
                    <a:pt x="183505" y="736069"/>
                    <a:pt x="169664" y="736069"/>
                    <a:pt x="161664" y="728181"/>
                  </a:cubicBezTo>
                  <a:lnTo>
                    <a:pt x="110132" y="676649"/>
                  </a:lnTo>
                  <a:cubicBezTo>
                    <a:pt x="106114" y="672630"/>
                    <a:pt x="103956" y="667421"/>
                    <a:pt x="103956" y="661803"/>
                  </a:cubicBezTo>
                  <a:cubicBezTo>
                    <a:pt x="103956" y="656185"/>
                    <a:pt x="106151" y="650939"/>
                    <a:pt x="110132" y="646957"/>
                  </a:cubicBezTo>
                  <a:lnTo>
                    <a:pt x="144623" y="612466"/>
                  </a:lnTo>
                  <a:cubicBezTo>
                    <a:pt x="157013" y="600076"/>
                    <a:pt x="159878" y="580952"/>
                    <a:pt x="151469" y="565809"/>
                  </a:cubicBezTo>
                  <a:cubicBezTo>
                    <a:pt x="140716" y="546275"/>
                    <a:pt x="132233" y="525700"/>
                    <a:pt x="126019" y="504566"/>
                  </a:cubicBezTo>
                  <a:cubicBezTo>
                    <a:pt x="121145" y="488083"/>
                    <a:pt x="105630" y="476549"/>
                    <a:pt x="88216" y="476549"/>
                  </a:cubicBezTo>
                  <a:lnTo>
                    <a:pt x="39624" y="476549"/>
                  </a:lnTo>
                  <a:cubicBezTo>
                    <a:pt x="28015" y="476549"/>
                    <a:pt x="18565" y="467136"/>
                    <a:pt x="18565" y="455602"/>
                  </a:cubicBezTo>
                  <a:lnTo>
                    <a:pt x="18565" y="382751"/>
                  </a:lnTo>
                  <a:cubicBezTo>
                    <a:pt x="18565" y="371217"/>
                    <a:pt x="27978" y="361804"/>
                    <a:pt x="39624" y="361804"/>
                  </a:cubicBezTo>
                  <a:lnTo>
                    <a:pt x="88216" y="361804"/>
                  </a:lnTo>
                  <a:cubicBezTo>
                    <a:pt x="105629" y="361804"/>
                    <a:pt x="121181" y="350270"/>
                    <a:pt x="126019" y="333787"/>
                  </a:cubicBezTo>
                  <a:cubicBezTo>
                    <a:pt x="132121" y="312653"/>
                    <a:pt x="140679" y="292078"/>
                    <a:pt x="151358" y="272544"/>
                  </a:cubicBezTo>
                  <a:cubicBezTo>
                    <a:pt x="159655" y="257401"/>
                    <a:pt x="156864" y="238239"/>
                    <a:pt x="144511" y="225887"/>
                  </a:cubicBezTo>
                  <a:lnTo>
                    <a:pt x="110021" y="191396"/>
                  </a:lnTo>
                  <a:cubicBezTo>
                    <a:pt x="101835" y="183210"/>
                    <a:pt x="101835" y="169853"/>
                    <a:pt x="110021" y="161667"/>
                  </a:cubicBezTo>
                  <a:lnTo>
                    <a:pt x="161553" y="110135"/>
                  </a:lnTo>
                  <a:cubicBezTo>
                    <a:pt x="169738" y="101949"/>
                    <a:pt x="183095" y="101949"/>
                    <a:pt x="191281" y="110135"/>
                  </a:cubicBezTo>
                  <a:lnTo>
                    <a:pt x="225772" y="144626"/>
                  </a:lnTo>
                  <a:cubicBezTo>
                    <a:pt x="238162" y="157016"/>
                    <a:pt x="257287" y="159881"/>
                    <a:pt x="272429" y="151472"/>
                  </a:cubicBezTo>
                  <a:cubicBezTo>
                    <a:pt x="291963" y="140719"/>
                    <a:pt x="312538" y="132236"/>
                    <a:pt x="333672" y="126022"/>
                  </a:cubicBezTo>
                  <a:cubicBezTo>
                    <a:pt x="350155" y="121148"/>
                    <a:pt x="361689" y="105633"/>
                    <a:pt x="361689" y="88219"/>
                  </a:cubicBezTo>
                  <a:lnTo>
                    <a:pt x="361689" y="39627"/>
                  </a:lnTo>
                  <a:cubicBezTo>
                    <a:pt x="361689" y="28018"/>
                    <a:pt x="371102" y="18568"/>
                    <a:pt x="382637" y="18568"/>
                  </a:cubicBezTo>
                  <a:lnTo>
                    <a:pt x="455488" y="18568"/>
                  </a:lnTo>
                  <a:cubicBezTo>
                    <a:pt x="467021" y="18568"/>
                    <a:pt x="476435" y="27981"/>
                    <a:pt x="476435" y="39627"/>
                  </a:cubicBezTo>
                  <a:lnTo>
                    <a:pt x="476435" y="88219"/>
                  </a:lnTo>
                  <a:cubicBezTo>
                    <a:pt x="476435" y="105632"/>
                    <a:pt x="487969" y="121184"/>
                    <a:pt x="504452" y="126022"/>
                  </a:cubicBezTo>
                  <a:cubicBezTo>
                    <a:pt x="525586" y="132124"/>
                    <a:pt x="546161" y="140682"/>
                    <a:pt x="565695" y="151361"/>
                  </a:cubicBezTo>
                  <a:cubicBezTo>
                    <a:pt x="580726" y="159658"/>
                    <a:pt x="600000" y="156867"/>
                    <a:pt x="612352" y="144515"/>
                  </a:cubicBezTo>
                  <a:lnTo>
                    <a:pt x="646843" y="110024"/>
                  </a:lnTo>
                  <a:cubicBezTo>
                    <a:pt x="655028" y="101838"/>
                    <a:pt x="668386" y="101838"/>
                    <a:pt x="676571" y="110024"/>
                  </a:cubicBezTo>
                  <a:lnTo>
                    <a:pt x="728104" y="161556"/>
                  </a:lnTo>
                  <a:cubicBezTo>
                    <a:pt x="736289" y="169741"/>
                    <a:pt x="736289" y="183098"/>
                    <a:pt x="728104" y="191284"/>
                  </a:cubicBezTo>
                  <a:lnTo>
                    <a:pt x="693613" y="225775"/>
                  </a:lnTo>
                  <a:cubicBezTo>
                    <a:pt x="681222" y="238165"/>
                    <a:pt x="678357" y="257290"/>
                    <a:pt x="686766" y="272432"/>
                  </a:cubicBezTo>
                  <a:cubicBezTo>
                    <a:pt x="697519" y="291966"/>
                    <a:pt x="706002" y="312541"/>
                    <a:pt x="712216" y="333675"/>
                  </a:cubicBezTo>
                  <a:cubicBezTo>
                    <a:pt x="717090" y="350158"/>
                    <a:pt x="732606" y="361692"/>
                    <a:pt x="750019" y="361692"/>
                  </a:cubicBezTo>
                  <a:lnTo>
                    <a:pt x="798612" y="361692"/>
                  </a:lnTo>
                  <a:cubicBezTo>
                    <a:pt x="810221" y="361692"/>
                    <a:pt x="819671" y="371106"/>
                    <a:pt x="819671" y="382640"/>
                  </a:cubicBezTo>
                  <a:close/>
                </a:path>
              </a:pathLst>
            </a:custGeom>
            <a:grpFill/>
            <a:ln w="9525" cap="flat">
              <a:noFill/>
              <a:prstDash val="solid"/>
              <a:miter/>
            </a:ln>
          </p:spPr>
          <p:txBody>
            <a:bodyPr rtlCol="0" anchor="ctr"/>
            <a:lstStyle/>
            <a:p>
              <a:endParaRPr lang="en-US" noProof="0" dirty="0"/>
            </a:p>
          </p:txBody>
        </p:sp>
        <p:sp>
          <p:nvSpPr>
            <p:cNvPr id="50" name="Freeform: Shape 49">
              <a:extLst>
                <a:ext uri="{FF2B5EF4-FFF2-40B4-BE49-F238E27FC236}">
                  <a16:creationId xmlns:a16="http://schemas.microsoft.com/office/drawing/2014/main" id="{26A0F295-A512-0601-6686-BD44842968C2}"/>
                </a:ext>
              </a:extLst>
            </p:cNvPr>
            <p:cNvSpPr/>
            <p:nvPr/>
          </p:nvSpPr>
          <p:spPr>
            <a:xfrm>
              <a:off x="5871385" y="3048152"/>
              <a:ext cx="353948" cy="428402"/>
            </a:xfrm>
            <a:custGeom>
              <a:avLst/>
              <a:gdLst>
                <a:gd name="connsiteX0" fmla="*/ 352830 w 353948"/>
                <a:gd name="connsiteY0" fmla="*/ 70246 h 428402"/>
                <a:gd name="connsiteX1" fmla="*/ 351119 w 353948"/>
                <a:gd name="connsiteY1" fmla="*/ 67754 h 428402"/>
                <a:gd name="connsiteX2" fmla="*/ 351119 w 353948"/>
                <a:gd name="connsiteY2" fmla="*/ 67642 h 428402"/>
                <a:gd name="connsiteX3" fmla="*/ 282063 w 353948"/>
                <a:gd name="connsiteY3" fmla="*/ 2493 h 428402"/>
                <a:gd name="connsiteX4" fmla="*/ 280537 w 353948"/>
                <a:gd name="connsiteY4" fmla="*/ 1525 h 428402"/>
                <a:gd name="connsiteX5" fmla="*/ 279198 w 353948"/>
                <a:gd name="connsiteY5" fmla="*/ 670 h 428402"/>
                <a:gd name="connsiteX6" fmla="*/ 275663 w 353948"/>
                <a:gd name="connsiteY6" fmla="*/ 0 h 428402"/>
                <a:gd name="connsiteX7" fmla="*/ 14288 w 353948"/>
                <a:gd name="connsiteY7" fmla="*/ 0 h 428402"/>
                <a:gd name="connsiteX8" fmla="*/ 0 w 353948"/>
                <a:gd name="connsiteY8" fmla="*/ 13990 h 428402"/>
                <a:gd name="connsiteX9" fmla="*/ 0 w 353948"/>
                <a:gd name="connsiteY9" fmla="*/ 414412 h 428402"/>
                <a:gd name="connsiteX10" fmla="*/ 14288 w 353948"/>
                <a:gd name="connsiteY10" fmla="*/ 428402 h 428402"/>
                <a:gd name="connsiteX11" fmla="*/ 339661 w 353948"/>
                <a:gd name="connsiteY11" fmla="*/ 428402 h 428402"/>
                <a:gd name="connsiteX12" fmla="*/ 353949 w 353948"/>
                <a:gd name="connsiteY12" fmla="*/ 414412 h 428402"/>
                <a:gd name="connsiteX13" fmla="*/ 353949 w 353948"/>
                <a:gd name="connsiteY13" fmla="*/ 74417 h 428402"/>
                <a:gd name="connsiteX14" fmla="*/ 353205 w 353948"/>
                <a:gd name="connsiteY14" fmla="*/ 70808 h 428402"/>
                <a:gd name="connsiteX15" fmla="*/ 352833 w 353948"/>
                <a:gd name="connsiteY15" fmla="*/ 70324 h 428402"/>
                <a:gd name="connsiteX16" fmla="*/ 284928 w 353948"/>
                <a:gd name="connsiteY16" fmla="*/ 30807 h 428402"/>
                <a:gd name="connsiteX17" fmla="*/ 321205 w 353948"/>
                <a:gd name="connsiteY17" fmla="*/ 65112 h 428402"/>
                <a:gd name="connsiteX18" fmla="*/ 284928 w 353948"/>
                <a:gd name="connsiteY18" fmla="*/ 65112 h 428402"/>
                <a:gd name="connsiteX19" fmla="*/ 335306 w 353948"/>
                <a:gd name="connsiteY19" fmla="*/ 409721 h 428402"/>
                <a:gd name="connsiteX20" fmla="*/ 18676 w 353948"/>
                <a:gd name="connsiteY20" fmla="*/ 409721 h 428402"/>
                <a:gd name="connsiteX21" fmla="*/ 18676 w 353948"/>
                <a:gd name="connsiteY21" fmla="*/ 18606 h 428402"/>
                <a:gd name="connsiteX22" fmla="*/ 266326 w 353948"/>
                <a:gd name="connsiteY22" fmla="*/ 18606 h 428402"/>
                <a:gd name="connsiteX23" fmla="*/ 266326 w 353948"/>
                <a:gd name="connsiteY23" fmla="*/ 69840 h 428402"/>
                <a:gd name="connsiteX24" fmla="*/ 280614 w 353948"/>
                <a:gd name="connsiteY24" fmla="*/ 83830 h 428402"/>
                <a:gd name="connsiteX25" fmla="*/ 335383 w 353948"/>
                <a:gd name="connsiteY25" fmla="*/ 83830 h 428402"/>
                <a:gd name="connsiteX26" fmla="*/ 335383 w 353948"/>
                <a:gd name="connsiteY26" fmla="*/ 409766 h 42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948" h="428402">
                  <a:moveTo>
                    <a:pt x="352830" y="70246"/>
                  </a:moveTo>
                  <a:cubicBezTo>
                    <a:pt x="352347" y="69279"/>
                    <a:pt x="351789" y="68423"/>
                    <a:pt x="351119" y="67754"/>
                  </a:cubicBezTo>
                  <a:lnTo>
                    <a:pt x="351119" y="67642"/>
                  </a:lnTo>
                  <a:lnTo>
                    <a:pt x="282063" y="2493"/>
                  </a:lnTo>
                  <a:cubicBezTo>
                    <a:pt x="282063" y="2493"/>
                    <a:pt x="281021" y="1823"/>
                    <a:pt x="280537" y="1525"/>
                  </a:cubicBezTo>
                  <a:cubicBezTo>
                    <a:pt x="280053" y="1228"/>
                    <a:pt x="279681" y="856"/>
                    <a:pt x="279198" y="670"/>
                  </a:cubicBezTo>
                  <a:cubicBezTo>
                    <a:pt x="278044" y="186"/>
                    <a:pt x="276928" y="0"/>
                    <a:pt x="275663" y="0"/>
                  </a:cubicBezTo>
                  <a:lnTo>
                    <a:pt x="14288" y="0"/>
                  </a:lnTo>
                  <a:cubicBezTo>
                    <a:pt x="6474" y="0"/>
                    <a:pt x="0" y="6288"/>
                    <a:pt x="0" y="13990"/>
                  </a:cubicBezTo>
                  <a:lnTo>
                    <a:pt x="0" y="414412"/>
                  </a:lnTo>
                  <a:cubicBezTo>
                    <a:pt x="0" y="422114"/>
                    <a:pt x="6400" y="428402"/>
                    <a:pt x="14288" y="428402"/>
                  </a:cubicBezTo>
                  <a:lnTo>
                    <a:pt x="339661" y="428402"/>
                  </a:lnTo>
                  <a:cubicBezTo>
                    <a:pt x="347475" y="428402"/>
                    <a:pt x="353949" y="422114"/>
                    <a:pt x="353949" y="414412"/>
                  </a:cubicBezTo>
                  <a:lnTo>
                    <a:pt x="353949" y="74417"/>
                  </a:lnTo>
                  <a:cubicBezTo>
                    <a:pt x="353949" y="73078"/>
                    <a:pt x="353651" y="71850"/>
                    <a:pt x="353205" y="70808"/>
                  </a:cubicBezTo>
                  <a:cubicBezTo>
                    <a:pt x="353205" y="70622"/>
                    <a:pt x="352907" y="70510"/>
                    <a:pt x="352833" y="70324"/>
                  </a:cubicBezTo>
                  <a:close/>
                  <a:moveTo>
                    <a:pt x="284928" y="30807"/>
                  </a:moveTo>
                  <a:lnTo>
                    <a:pt x="321205" y="65112"/>
                  </a:lnTo>
                  <a:lnTo>
                    <a:pt x="284928" y="65112"/>
                  </a:lnTo>
                  <a:close/>
                  <a:moveTo>
                    <a:pt x="335306" y="409721"/>
                  </a:moveTo>
                  <a:lnTo>
                    <a:pt x="18676" y="409721"/>
                  </a:lnTo>
                  <a:lnTo>
                    <a:pt x="18676" y="18606"/>
                  </a:lnTo>
                  <a:lnTo>
                    <a:pt x="266326" y="18606"/>
                  </a:lnTo>
                  <a:lnTo>
                    <a:pt x="266326" y="69840"/>
                  </a:lnTo>
                  <a:cubicBezTo>
                    <a:pt x="266326" y="77542"/>
                    <a:pt x="272726" y="83830"/>
                    <a:pt x="280614" y="83830"/>
                  </a:cubicBezTo>
                  <a:lnTo>
                    <a:pt x="335383" y="83830"/>
                  </a:lnTo>
                  <a:lnTo>
                    <a:pt x="335383" y="409766"/>
                  </a:lnTo>
                  <a:close/>
                </a:path>
              </a:pathLst>
            </a:custGeom>
            <a:grpFill/>
            <a:ln w="9525" cap="flat">
              <a:noFill/>
              <a:prstDash val="solid"/>
              <a:miter/>
            </a:ln>
          </p:spPr>
          <p:txBody>
            <a:bodyPr rtlCol="0" anchor="ctr"/>
            <a:lstStyle/>
            <a:p>
              <a:endParaRPr lang="en-US" noProof="0" dirty="0"/>
            </a:p>
          </p:txBody>
        </p:sp>
        <p:sp>
          <p:nvSpPr>
            <p:cNvPr id="51" name="Freeform: Shape 50">
              <a:extLst>
                <a:ext uri="{FF2B5EF4-FFF2-40B4-BE49-F238E27FC236}">
                  <a16:creationId xmlns:a16="http://schemas.microsoft.com/office/drawing/2014/main" id="{7AF3E577-C0D7-AC65-CA8A-464FBF5B1AE5}"/>
                </a:ext>
              </a:extLst>
            </p:cNvPr>
            <p:cNvSpPr/>
            <p:nvPr/>
          </p:nvSpPr>
          <p:spPr>
            <a:xfrm>
              <a:off x="5927307" y="3141126"/>
              <a:ext cx="108123" cy="18677"/>
            </a:xfrm>
            <a:custGeom>
              <a:avLst/>
              <a:gdLst>
                <a:gd name="connsiteX0" fmla="*/ 9339 w 108123"/>
                <a:gd name="connsiteY0" fmla="*/ 18678 h 18677"/>
                <a:gd name="connsiteX1" fmla="*/ 98784 w 108123"/>
                <a:gd name="connsiteY1" fmla="*/ 18678 h 18677"/>
                <a:gd name="connsiteX2" fmla="*/ 108123 w 108123"/>
                <a:gd name="connsiteY2" fmla="*/ 9339 h 18677"/>
                <a:gd name="connsiteX3" fmla="*/ 98784 w 108123"/>
                <a:gd name="connsiteY3" fmla="*/ 0 h 18677"/>
                <a:gd name="connsiteX4" fmla="*/ 9339 w 108123"/>
                <a:gd name="connsiteY4" fmla="*/ 0 h 18677"/>
                <a:gd name="connsiteX5" fmla="*/ 0 w 108123"/>
                <a:gd name="connsiteY5" fmla="*/ 9339 h 18677"/>
                <a:gd name="connsiteX6" fmla="*/ 9339 w 108123"/>
                <a:gd name="connsiteY6" fmla="*/ 18678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23" h="18677">
                  <a:moveTo>
                    <a:pt x="9339" y="18678"/>
                  </a:moveTo>
                  <a:lnTo>
                    <a:pt x="98784" y="18678"/>
                  </a:lnTo>
                  <a:cubicBezTo>
                    <a:pt x="103919" y="18678"/>
                    <a:pt x="108123" y="14473"/>
                    <a:pt x="108123" y="9339"/>
                  </a:cubicBezTo>
                  <a:cubicBezTo>
                    <a:pt x="108123" y="4204"/>
                    <a:pt x="103919" y="0"/>
                    <a:pt x="98784" y="0"/>
                  </a:cubicBezTo>
                  <a:lnTo>
                    <a:pt x="9339" y="0"/>
                  </a:lnTo>
                  <a:cubicBezTo>
                    <a:pt x="4204" y="0"/>
                    <a:pt x="0" y="4204"/>
                    <a:pt x="0" y="9339"/>
                  </a:cubicBezTo>
                  <a:cubicBezTo>
                    <a:pt x="0" y="14473"/>
                    <a:pt x="4204" y="18678"/>
                    <a:pt x="9339" y="18678"/>
                  </a:cubicBezTo>
                  <a:close/>
                </a:path>
              </a:pathLst>
            </a:custGeom>
            <a:grpFill/>
            <a:ln w="9525" cap="flat">
              <a:noFill/>
              <a:prstDash val="solid"/>
              <a:miter/>
            </a:ln>
          </p:spPr>
          <p:txBody>
            <a:bodyPr rtlCol="0" anchor="ctr"/>
            <a:lstStyle/>
            <a:p>
              <a:endParaRPr lang="en-US" noProof="0" dirty="0"/>
            </a:p>
          </p:txBody>
        </p:sp>
        <p:sp>
          <p:nvSpPr>
            <p:cNvPr id="52" name="Freeform: Shape 51">
              <a:extLst>
                <a:ext uri="{FF2B5EF4-FFF2-40B4-BE49-F238E27FC236}">
                  <a16:creationId xmlns:a16="http://schemas.microsoft.com/office/drawing/2014/main" id="{991AD5C3-35B9-910C-B161-338C0F7E1D79}"/>
                </a:ext>
              </a:extLst>
            </p:cNvPr>
            <p:cNvSpPr/>
            <p:nvPr/>
          </p:nvSpPr>
          <p:spPr>
            <a:xfrm>
              <a:off x="5927302" y="3193327"/>
              <a:ext cx="242220" cy="18677"/>
            </a:xfrm>
            <a:custGeom>
              <a:avLst/>
              <a:gdLst>
                <a:gd name="connsiteX0" fmla="*/ 0 w 242220"/>
                <a:gd name="connsiteY0" fmla="*/ 9339 h 18677"/>
                <a:gd name="connsiteX1" fmla="*/ 9339 w 242220"/>
                <a:gd name="connsiteY1" fmla="*/ 18678 h 18677"/>
                <a:gd name="connsiteX2" fmla="*/ 232881 w 242220"/>
                <a:gd name="connsiteY2" fmla="*/ 18678 h 18677"/>
                <a:gd name="connsiteX3" fmla="*/ 242220 w 242220"/>
                <a:gd name="connsiteY3" fmla="*/ 9339 h 18677"/>
                <a:gd name="connsiteX4" fmla="*/ 232881 w 242220"/>
                <a:gd name="connsiteY4" fmla="*/ 0 h 18677"/>
                <a:gd name="connsiteX5" fmla="*/ 9339 w 242220"/>
                <a:gd name="connsiteY5" fmla="*/ 0 h 18677"/>
                <a:gd name="connsiteX6" fmla="*/ 0 w 242220"/>
                <a:gd name="connsiteY6" fmla="*/ 9339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220" h="18677">
                  <a:moveTo>
                    <a:pt x="0" y="9339"/>
                  </a:moveTo>
                  <a:cubicBezTo>
                    <a:pt x="0" y="14474"/>
                    <a:pt x="4204" y="18678"/>
                    <a:pt x="9339" y="18678"/>
                  </a:cubicBezTo>
                  <a:lnTo>
                    <a:pt x="232881" y="18678"/>
                  </a:lnTo>
                  <a:cubicBezTo>
                    <a:pt x="238016" y="18678"/>
                    <a:pt x="242220" y="14474"/>
                    <a:pt x="242220" y="9339"/>
                  </a:cubicBezTo>
                  <a:cubicBezTo>
                    <a:pt x="242220" y="4204"/>
                    <a:pt x="238016" y="0"/>
                    <a:pt x="232881" y="0"/>
                  </a:cubicBezTo>
                  <a:lnTo>
                    <a:pt x="9339" y="0"/>
                  </a:lnTo>
                  <a:cubicBezTo>
                    <a:pt x="4204" y="0"/>
                    <a:pt x="0" y="4204"/>
                    <a:pt x="0" y="9339"/>
                  </a:cubicBezTo>
                  <a:close/>
                </a:path>
              </a:pathLst>
            </a:custGeom>
            <a:grpFill/>
            <a:ln w="9525" cap="flat">
              <a:noFill/>
              <a:prstDash val="solid"/>
              <a:miter/>
            </a:ln>
          </p:spPr>
          <p:txBody>
            <a:bodyPr rtlCol="0" anchor="ctr"/>
            <a:lstStyle/>
            <a:p>
              <a:endParaRPr lang="en-US" noProof="0" dirty="0"/>
            </a:p>
          </p:txBody>
        </p:sp>
        <p:sp>
          <p:nvSpPr>
            <p:cNvPr id="53" name="Freeform: Shape 52">
              <a:extLst>
                <a:ext uri="{FF2B5EF4-FFF2-40B4-BE49-F238E27FC236}">
                  <a16:creationId xmlns:a16="http://schemas.microsoft.com/office/drawing/2014/main" id="{3A8389DD-51C2-D9C3-1C2D-FC4738045569}"/>
                </a:ext>
              </a:extLst>
            </p:cNvPr>
            <p:cNvSpPr/>
            <p:nvPr/>
          </p:nvSpPr>
          <p:spPr>
            <a:xfrm>
              <a:off x="5927307" y="3245529"/>
              <a:ext cx="197462" cy="18677"/>
            </a:xfrm>
            <a:custGeom>
              <a:avLst/>
              <a:gdLst>
                <a:gd name="connsiteX0" fmla="*/ 9339 w 197462"/>
                <a:gd name="connsiteY0" fmla="*/ 18678 h 18677"/>
                <a:gd name="connsiteX1" fmla="*/ 188123 w 197462"/>
                <a:gd name="connsiteY1" fmla="*/ 18678 h 18677"/>
                <a:gd name="connsiteX2" fmla="*/ 197462 w 197462"/>
                <a:gd name="connsiteY2" fmla="*/ 9339 h 18677"/>
                <a:gd name="connsiteX3" fmla="*/ 188123 w 197462"/>
                <a:gd name="connsiteY3" fmla="*/ 0 h 18677"/>
                <a:gd name="connsiteX4" fmla="*/ 9339 w 197462"/>
                <a:gd name="connsiteY4" fmla="*/ 0 h 18677"/>
                <a:gd name="connsiteX5" fmla="*/ 0 w 197462"/>
                <a:gd name="connsiteY5" fmla="*/ 9339 h 18677"/>
                <a:gd name="connsiteX6" fmla="*/ 9339 w 197462"/>
                <a:gd name="connsiteY6" fmla="*/ 18678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462" h="18677">
                  <a:moveTo>
                    <a:pt x="9339" y="18678"/>
                  </a:moveTo>
                  <a:lnTo>
                    <a:pt x="188123" y="18678"/>
                  </a:lnTo>
                  <a:cubicBezTo>
                    <a:pt x="193258" y="18678"/>
                    <a:pt x="197462" y="14474"/>
                    <a:pt x="197462" y="9339"/>
                  </a:cubicBezTo>
                  <a:cubicBezTo>
                    <a:pt x="197462" y="4204"/>
                    <a:pt x="193258" y="0"/>
                    <a:pt x="188123" y="0"/>
                  </a:cubicBezTo>
                  <a:lnTo>
                    <a:pt x="9339" y="0"/>
                  </a:lnTo>
                  <a:cubicBezTo>
                    <a:pt x="4204" y="0"/>
                    <a:pt x="0" y="4204"/>
                    <a:pt x="0" y="9339"/>
                  </a:cubicBezTo>
                  <a:cubicBezTo>
                    <a:pt x="0" y="14474"/>
                    <a:pt x="4204" y="18678"/>
                    <a:pt x="9339" y="18678"/>
                  </a:cubicBezTo>
                  <a:close/>
                </a:path>
              </a:pathLst>
            </a:custGeom>
            <a:grpFill/>
            <a:ln w="9525" cap="flat">
              <a:noFill/>
              <a:prstDash val="solid"/>
              <a:miter/>
            </a:ln>
          </p:spPr>
          <p:txBody>
            <a:bodyPr rtlCol="0" anchor="ctr"/>
            <a:lstStyle/>
            <a:p>
              <a:endParaRPr lang="en-US" noProof="0" dirty="0"/>
            </a:p>
          </p:txBody>
        </p:sp>
        <p:sp>
          <p:nvSpPr>
            <p:cNvPr id="54" name="Freeform: Shape 53">
              <a:extLst>
                <a:ext uri="{FF2B5EF4-FFF2-40B4-BE49-F238E27FC236}">
                  <a16:creationId xmlns:a16="http://schemas.microsoft.com/office/drawing/2014/main" id="{FD8F12DC-E52C-2698-EBA9-ABA59A2C8FBA}"/>
                </a:ext>
              </a:extLst>
            </p:cNvPr>
            <p:cNvSpPr/>
            <p:nvPr/>
          </p:nvSpPr>
          <p:spPr>
            <a:xfrm>
              <a:off x="5927307" y="3297659"/>
              <a:ext cx="152770" cy="18677"/>
            </a:xfrm>
            <a:custGeom>
              <a:avLst/>
              <a:gdLst>
                <a:gd name="connsiteX0" fmla="*/ 9339 w 152770"/>
                <a:gd name="connsiteY0" fmla="*/ 18678 h 18677"/>
                <a:gd name="connsiteX1" fmla="*/ 143432 w 152770"/>
                <a:gd name="connsiteY1" fmla="*/ 18678 h 18677"/>
                <a:gd name="connsiteX2" fmla="*/ 152771 w 152770"/>
                <a:gd name="connsiteY2" fmla="*/ 9339 h 18677"/>
                <a:gd name="connsiteX3" fmla="*/ 143432 w 152770"/>
                <a:gd name="connsiteY3" fmla="*/ 0 h 18677"/>
                <a:gd name="connsiteX4" fmla="*/ 9339 w 152770"/>
                <a:gd name="connsiteY4" fmla="*/ 0 h 18677"/>
                <a:gd name="connsiteX5" fmla="*/ 0 w 152770"/>
                <a:gd name="connsiteY5" fmla="*/ 9339 h 18677"/>
                <a:gd name="connsiteX6" fmla="*/ 9339 w 152770"/>
                <a:gd name="connsiteY6" fmla="*/ 18678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770" h="18677">
                  <a:moveTo>
                    <a:pt x="9339" y="18678"/>
                  </a:moveTo>
                  <a:lnTo>
                    <a:pt x="143432" y="18678"/>
                  </a:lnTo>
                  <a:cubicBezTo>
                    <a:pt x="148566" y="18678"/>
                    <a:pt x="152771" y="14474"/>
                    <a:pt x="152771" y="9339"/>
                  </a:cubicBezTo>
                  <a:cubicBezTo>
                    <a:pt x="152771" y="4204"/>
                    <a:pt x="148566" y="0"/>
                    <a:pt x="143432" y="0"/>
                  </a:cubicBezTo>
                  <a:lnTo>
                    <a:pt x="9339" y="0"/>
                  </a:lnTo>
                  <a:cubicBezTo>
                    <a:pt x="4204" y="0"/>
                    <a:pt x="0" y="4204"/>
                    <a:pt x="0" y="9339"/>
                  </a:cubicBezTo>
                  <a:cubicBezTo>
                    <a:pt x="0" y="14474"/>
                    <a:pt x="4204" y="18678"/>
                    <a:pt x="9339" y="18678"/>
                  </a:cubicBezTo>
                  <a:close/>
                </a:path>
              </a:pathLst>
            </a:custGeom>
            <a:grpFill/>
            <a:ln w="9525" cap="flat">
              <a:noFill/>
              <a:prstDash val="solid"/>
              <a:miter/>
            </a:ln>
          </p:spPr>
          <p:txBody>
            <a:bodyPr rtlCol="0" anchor="ctr"/>
            <a:lstStyle/>
            <a:p>
              <a:endParaRPr lang="en-US" noProof="0" dirty="0"/>
            </a:p>
          </p:txBody>
        </p:sp>
        <p:sp>
          <p:nvSpPr>
            <p:cNvPr id="55" name="Freeform: Shape 54">
              <a:extLst>
                <a:ext uri="{FF2B5EF4-FFF2-40B4-BE49-F238E27FC236}">
                  <a16:creationId xmlns:a16="http://schemas.microsoft.com/office/drawing/2014/main" id="{6DFCA086-FF8A-9567-481D-DC019C66C508}"/>
                </a:ext>
              </a:extLst>
            </p:cNvPr>
            <p:cNvSpPr/>
            <p:nvPr/>
          </p:nvSpPr>
          <p:spPr>
            <a:xfrm>
              <a:off x="5927187" y="3349856"/>
              <a:ext cx="108123" cy="18677"/>
            </a:xfrm>
            <a:custGeom>
              <a:avLst/>
              <a:gdLst>
                <a:gd name="connsiteX0" fmla="*/ 98784 w 108123"/>
                <a:gd name="connsiteY0" fmla="*/ 0 h 18677"/>
                <a:gd name="connsiteX1" fmla="*/ 9339 w 108123"/>
                <a:gd name="connsiteY1" fmla="*/ 0 h 18677"/>
                <a:gd name="connsiteX2" fmla="*/ 0 w 108123"/>
                <a:gd name="connsiteY2" fmla="*/ 9339 h 18677"/>
                <a:gd name="connsiteX3" fmla="*/ 9339 w 108123"/>
                <a:gd name="connsiteY3" fmla="*/ 18678 h 18677"/>
                <a:gd name="connsiteX4" fmla="*/ 98784 w 108123"/>
                <a:gd name="connsiteY4" fmla="*/ 18678 h 18677"/>
                <a:gd name="connsiteX5" fmla="*/ 108123 w 108123"/>
                <a:gd name="connsiteY5" fmla="*/ 9339 h 18677"/>
                <a:gd name="connsiteX6" fmla="*/ 98784 w 108123"/>
                <a:gd name="connsiteY6" fmla="*/ 0 h 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123" h="18677">
                  <a:moveTo>
                    <a:pt x="98784" y="0"/>
                  </a:moveTo>
                  <a:lnTo>
                    <a:pt x="9339" y="0"/>
                  </a:lnTo>
                  <a:cubicBezTo>
                    <a:pt x="4204" y="0"/>
                    <a:pt x="0" y="4204"/>
                    <a:pt x="0" y="9339"/>
                  </a:cubicBezTo>
                  <a:cubicBezTo>
                    <a:pt x="0" y="14473"/>
                    <a:pt x="4204" y="18678"/>
                    <a:pt x="9339" y="18678"/>
                  </a:cubicBezTo>
                  <a:lnTo>
                    <a:pt x="98784" y="18678"/>
                  </a:lnTo>
                  <a:cubicBezTo>
                    <a:pt x="103919" y="18678"/>
                    <a:pt x="108123" y="14473"/>
                    <a:pt x="108123" y="9339"/>
                  </a:cubicBezTo>
                  <a:cubicBezTo>
                    <a:pt x="108123" y="4204"/>
                    <a:pt x="103919" y="0"/>
                    <a:pt x="98784" y="0"/>
                  </a:cubicBezTo>
                  <a:close/>
                </a:path>
              </a:pathLst>
            </a:custGeom>
            <a:grpFill/>
            <a:ln w="9525" cap="flat">
              <a:noFill/>
              <a:prstDash val="solid"/>
              <a:miter/>
            </a:ln>
          </p:spPr>
          <p:txBody>
            <a:bodyPr rtlCol="0" anchor="ctr"/>
            <a:lstStyle/>
            <a:p>
              <a:endParaRPr lang="en-US" noProof="0" dirty="0"/>
            </a:p>
          </p:txBody>
        </p:sp>
        <p:sp>
          <p:nvSpPr>
            <p:cNvPr id="56" name="Freeform: Shape 55">
              <a:extLst>
                <a:ext uri="{FF2B5EF4-FFF2-40B4-BE49-F238E27FC236}">
                  <a16:creationId xmlns:a16="http://schemas.microsoft.com/office/drawing/2014/main" id="{996742B9-AFAF-9ED9-95DD-7829D3A98C3C}"/>
                </a:ext>
              </a:extLst>
            </p:cNvPr>
            <p:cNvSpPr/>
            <p:nvPr/>
          </p:nvSpPr>
          <p:spPr>
            <a:xfrm>
              <a:off x="6053875" y="3402062"/>
              <a:ext cx="115566" cy="18678"/>
            </a:xfrm>
            <a:custGeom>
              <a:avLst/>
              <a:gdLst>
                <a:gd name="connsiteX0" fmla="*/ 106227 w 115566"/>
                <a:gd name="connsiteY0" fmla="*/ 0 h 18678"/>
                <a:gd name="connsiteX1" fmla="*/ 9339 w 115566"/>
                <a:gd name="connsiteY1" fmla="*/ 0 h 18678"/>
                <a:gd name="connsiteX2" fmla="*/ 0 w 115566"/>
                <a:gd name="connsiteY2" fmla="*/ 9339 h 18678"/>
                <a:gd name="connsiteX3" fmla="*/ 9339 w 115566"/>
                <a:gd name="connsiteY3" fmla="*/ 18678 h 18678"/>
                <a:gd name="connsiteX4" fmla="*/ 106227 w 115566"/>
                <a:gd name="connsiteY4" fmla="*/ 18678 h 18678"/>
                <a:gd name="connsiteX5" fmla="*/ 115566 w 115566"/>
                <a:gd name="connsiteY5" fmla="*/ 9339 h 18678"/>
                <a:gd name="connsiteX6" fmla="*/ 106227 w 115566"/>
                <a:gd name="connsiteY6" fmla="*/ 0 h 1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566" h="18678">
                  <a:moveTo>
                    <a:pt x="106227" y="0"/>
                  </a:moveTo>
                  <a:lnTo>
                    <a:pt x="9339" y="0"/>
                  </a:lnTo>
                  <a:cubicBezTo>
                    <a:pt x="4204" y="0"/>
                    <a:pt x="0" y="4204"/>
                    <a:pt x="0" y="9339"/>
                  </a:cubicBezTo>
                  <a:cubicBezTo>
                    <a:pt x="0" y="14474"/>
                    <a:pt x="4204" y="18678"/>
                    <a:pt x="9339" y="18678"/>
                  </a:cubicBezTo>
                  <a:lnTo>
                    <a:pt x="106227" y="18678"/>
                  </a:lnTo>
                  <a:cubicBezTo>
                    <a:pt x="111362" y="18678"/>
                    <a:pt x="115566" y="14474"/>
                    <a:pt x="115566" y="9339"/>
                  </a:cubicBezTo>
                  <a:cubicBezTo>
                    <a:pt x="115566" y="4204"/>
                    <a:pt x="111362" y="0"/>
                    <a:pt x="106227" y="0"/>
                  </a:cubicBezTo>
                  <a:close/>
                </a:path>
              </a:pathLst>
            </a:custGeom>
            <a:grpFill/>
            <a:ln w="9525" cap="flat">
              <a:noFill/>
              <a:prstDash val="solid"/>
              <a:miter/>
            </a:ln>
          </p:spPr>
          <p:txBody>
            <a:bodyPr rtlCol="0" anchor="ctr"/>
            <a:lstStyle/>
            <a:p>
              <a:endParaRPr lang="en-US" noProof="0" dirty="0"/>
            </a:p>
          </p:txBody>
        </p:sp>
      </p:grpSp>
      <p:sp>
        <p:nvSpPr>
          <p:cNvPr id="63" name="Freeform: Shape 62">
            <a:extLst>
              <a:ext uri="{FF2B5EF4-FFF2-40B4-BE49-F238E27FC236}">
                <a16:creationId xmlns:a16="http://schemas.microsoft.com/office/drawing/2014/main" id="{C5E6043C-B1D1-36A4-F6F1-7B5B18BEE98D}"/>
              </a:ext>
            </a:extLst>
          </p:cNvPr>
          <p:cNvSpPr/>
          <p:nvPr/>
        </p:nvSpPr>
        <p:spPr>
          <a:xfrm>
            <a:off x="4850128" y="2709367"/>
            <a:ext cx="234435" cy="234420"/>
          </a:xfrm>
          <a:custGeom>
            <a:avLst/>
            <a:gdLst>
              <a:gd name="connsiteX0" fmla="*/ 425351 w 885527"/>
              <a:gd name="connsiteY0" fmla="*/ 554985 h 885471"/>
              <a:gd name="connsiteX1" fmla="*/ 440680 w 885527"/>
              <a:gd name="connsiteY1" fmla="*/ 561198 h 885471"/>
              <a:gd name="connsiteX2" fmla="*/ 440680 w 885527"/>
              <a:gd name="connsiteY2" fmla="*/ 561161 h 885471"/>
              <a:gd name="connsiteX3" fmla="*/ 465498 w 885527"/>
              <a:gd name="connsiteY3" fmla="*/ 568156 h 885471"/>
              <a:gd name="connsiteX4" fmla="*/ 477330 w 885527"/>
              <a:gd name="connsiteY4" fmla="*/ 582666 h 885471"/>
              <a:gd name="connsiteX5" fmla="*/ 477367 w 885527"/>
              <a:gd name="connsiteY5" fmla="*/ 582666 h 885471"/>
              <a:gd name="connsiteX6" fmla="*/ 477367 w 885527"/>
              <a:gd name="connsiteY6" fmla="*/ 625417 h 885471"/>
              <a:gd name="connsiteX7" fmla="*/ 532284 w 885527"/>
              <a:gd name="connsiteY7" fmla="*/ 625417 h 885471"/>
              <a:gd name="connsiteX8" fmla="*/ 532247 w 885527"/>
              <a:gd name="connsiteY8" fmla="*/ 582666 h 885471"/>
              <a:gd name="connsiteX9" fmla="*/ 545121 w 885527"/>
              <a:gd name="connsiteY9" fmla="*/ 567932 h 885471"/>
              <a:gd name="connsiteX10" fmla="*/ 609526 w 885527"/>
              <a:gd name="connsiteY10" fmla="*/ 540994 h 885471"/>
              <a:gd name="connsiteX11" fmla="*/ 628167 w 885527"/>
              <a:gd name="connsiteY11" fmla="*/ 542929 h 885471"/>
              <a:gd name="connsiteX12" fmla="*/ 658416 w 885527"/>
              <a:gd name="connsiteY12" fmla="*/ 573179 h 885471"/>
              <a:gd name="connsiteX13" fmla="*/ 697260 w 885527"/>
              <a:gd name="connsiteY13" fmla="*/ 534335 h 885471"/>
              <a:gd name="connsiteX14" fmla="*/ 667011 w 885527"/>
              <a:gd name="connsiteY14" fmla="*/ 504085 h 885471"/>
              <a:gd name="connsiteX15" fmla="*/ 665448 w 885527"/>
              <a:gd name="connsiteY15" fmla="*/ 484887 h 885471"/>
              <a:gd name="connsiteX16" fmla="*/ 692237 w 885527"/>
              <a:gd name="connsiteY16" fmla="*/ 420035 h 885471"/>
              <a:gd name="connsiteX17" fmla="*/ 706785 w 885527"/>
              <a:gd name="connsiteY17" fmla="*/ 408203 h 885471"/>
              <a:gd name="connsiteX18" fmla="*/ 706785 w 885527"/>
              <a:gd name="connsiteY18" fmla="*/ 408166 h 885471"/>
              <a:gd name="connsiteX19" fmla="*/ 749536 w 885527"/>
              <a:gd name="connsiteY19" fmla="*/ 408166 h 885471"/>
              <a:gd name="connsiteX20" fmla="*/ 749536 w 885527"/>
              <a:gd name="connsiteY20" fmla="*/ 353248 h 885471"/>
              <a:gd name="connsiteX21" fmla="*/ 706785 w 885527"/>
              <a:gd name="connsiteY21" fmla="*/ 353248 h 885471"/>
              <a:gd name="connsiteX22" fmla="*/ 692013 w 885527"/>
              <a:gd name="connsiteY22" fmla="*/ 340411 h 885471"/>
              <a:gd name="connsiteX23" fmla="*/ 665113 w 885527"/>
              <a:gd name="connsiteY23" fmla="*/ 276006 h 885471"/>
              <a:gd name="connsiteX24" fmla="*/ 667010 w 885527"/>
              <a:gd name="connsiteY24" fmla="*/ 257366 h 885471"/>
              <a:gd name="connsiteX25" fmla="*/ 697260 w 885527"/>
              <a:gd name="connsiteY25" fmla="*/ 227116 h 885471"/>
              <a:gd name="connsiteX26" fmla="*/ 658416 w 885527"/>
              <a:gd name="connsiteY26" fmla="*/ 188272 h 885471"/>
              <a:gd name="connsiteX27" fmla="*/ 628166 w 885527"/>
              <a:gd name="connsiteY27" fmla="*/ 218522 h 885471"/>
              <a:gd name="connsiteX28" fmla="*/ 628204 w 885527"/>
              <a:gd name="connsiteY28" fmla="*/ 218522 h 885471"/>
              <a:gd name="connsiteX29" fmla="*/ 608968 w 885527"/>
              <a:gd name="connsiteY29" fmla="*/ 220084 h 885471"/>
              <a:gd name="connsiteX30" fmla="*/ 544116 w 885527"/>
              <a:gd name="connsiteY30" fmla="*/ 193295 h 885471"/>
              <a:gd name="connsiteX31" fmla="*/ 532321 w 885527"/>
              <a:gd name="connsiteY31" fmla="*/ 178785 h 885471"/>
              <a:gd name="connsiteX32" fmla="*/ 532284 w 885527"/>
              <a:gd name="connsiteY32" fmla="*/ 178785 h 885471"/>
              <a:gd name="connsiteX33" fmla="*/ 532284 w 885527"/>
              <a:gd name="connsiteY33" fmla="*/ 135997 h 885471"/>
              <a:gd name="connsiteX34" fmla="*/ 477329 w 885527"/>
              <a:gd name="connsiteY34" fmla="*/ 135997 h 885471"/>
              <a:gd name="connsiteX35" fmla="*/ 477329 w 885527"/>
              <a:gd name="connsiteY35" fmla="*/ 178748 h 885471"/>
              <a:gd name="connsiteX36" fmla="*/ 464493 w 885527"/>
              <a:gd name="connsiteY36" fmla="*/ 193482 h 885471"/>
              <a:gd name="connsiteX37" fmla="*/ 400087 w 885527"/>
              <a:gd name="connsiteY37" fmla="*/ 220420 h 885471"/>
              <a:gd name="connsiteX38" fmla="*/ 381447 w 885527"/>
              <a:gd name="connsiteY38" fmla="*/ 218485 h 885471"/>
              <a:gd name="connsiteX39" fmla="*/ 351197 w 885527"/>
              <a:gd name="connsiteY39" fmla="*/ 188236 h 885471"/>
              <a:gd name="connsiteX40" fmla="*/ 312354 w 885527"/>
              <a:gd name="connsiteY40" fmla="*/ 227079 h 885471"/>
              <a:gd name="connsiteX41" fmla="*/ 342603 w 885527"/>
              <a:gd name="connsiteY41" fmla="*/ 257329 h 885471"/>
              <a:gd name="connsiteX42" fmla="*/ 344166 w 885527"/>
              <a:gd name="connsiteY42" fmla="*/ 276565 h 885471"/>
              <a:gd name="connsiteX43" fmla="*/ 317377 w 885527"/>
              <a:gd name="connsiteY43" fmla="*/ 341379 h 885471"/>
              <a:gd name="connsiteX44" fmla="*/ 302829 w 885527"/>
              <a:gd name="connsiteY44" fmla="*/ 353211 h 885471"/>
              <a:gd name="connsiteX45" fmla="*/ 302829 w 885527"/>
              <a:gd name="connsiteY45" fmla="*/ 353249 h 885471"/>
              <a:gd name="connsiteX46" fmla="*/ 260078 w 885527"/>
              <a:gd name="connsiteY46" fmla="*/ 353249 h 885471"/>
              <a:gd name="connsiteX47" fmla="*/ 260078 w 885527"/>
              <a:gd name="connsiteY47" fmla="*/ 408166 h 885471"/>
              <a:gd name="connsiteX48" fmla="*/ 302829 w 885527"/>
              <a:gd name="connsiteY48" fmla="*/ 408166 h 885471"/>
              <a:gd name="connsiteX49" fmla="*/ 317600 w 885527"/>
              <a:gd name="connsiteY49" fmla="*/ 421040 h 885471"/>
              <a:gd name="connsiteX50" fmla="*/ 344501 w 885527"/>
              <a:gd name="connsiteY50" fmla="*/ 485445 h 885471"/>
              <a:gd name="connsiteX51" fmla="*/ 342603 w 885527"/>
              <a:gd name="connsiteY51" fmla="*/ 504086 h 885471"/>
              <a:gd name="connsiteX52" fmla="*/ 328874 w 885527"/>
              <a:gd name="connsiteY52" fmla="*/ 517815 h 885471"/>
              <a:gd name="connsiteX53" fmla="*/ 410543 w 885527"/>
              <a:gd name="connsiteY53" fmla="*/ 532958 h 885471"/>
              <a:gd name="connsiteX54" fmla="*/ 410581 w 885527"/>
              <a:gd name="connsiteY54" fmla="*/ 532958 h 885471"/>
              <a:gd name="connsiteX55" fmla="*/ 421110 w 885527"/>
              <a:gd name="connsiteY55" fmla="*/ 537348 h 885471"/>
              <a:gd name="connsiteX56" fmla="*/ 425464 w 885527"/>
              <a:gd name="connsiteY56" fmla="*/ 547841 h 885471"/>
              <a:gd name="connsiteX57" fmla="*/ 425389 w 885527"/>
              <a:gd name="connsiteY57" fmla="*/ 554947 h 885471"/>
              <a:gd name="connsiteX58" fmla="*/ 138258 w 885527"/>
              <a:gd name="connsiteY58" fmla="*/ 671628 h 885471"/>
              <a:gd name="connsiteX59" fmla="*/ 138295 w 885527"/>
              <a:gd name="connsiteY59" fmla="*/ 650643 h 885471"/>
              <a:gd name="connsiteX60" fmla="*/ 159317 w 885527"/>
              <a:gd name="connsiteY60" fmla="*/ 650718 h 885471"/>
              <a:gd name="connsiteX61" fmla="*/ 191389 w 885527"/>
              <a:gd name="connsiteY61" fmla="*/ 682790 h 885471"/>
              <a:gd name="connsiteX62" fmla="*/ 266176 w 885527"/>
              <a:gd name="connsiteY62" fmla="*/ 608004 h 885471"/>
              <a:gd name="connsiteX63" fmla="*/ 266139 w 885527"/>
              <a:gd name="connsiteY63" fmla="*/ 608004 h 885471"/>
              <a:gd name="connsiteX64" fmla="*/ 276743 w 885527"/>
              <a:gd name="connsiteY64" fmla="*/ 603465 h 885471"/>
              <a:gd name="connsiteX65" fmla="*/ 287384 w 885527"/>
              <a:gd name="connsiteY65" fmla="*/ 607818 h 885471"/>
              <a:gd name="connsiteX66" fmla="*/ 291737 w 885527"/>
              <a:gd name="connsiteY66" fmla="*/ 618459 h 885471"/>
              <a:gd name="connsiteX67" fmla="*/ 287198 w 885527"/>
              <a:gd name="connsiteY67" fmla="*/ 629063 h 885471"/>
              <a:gd name="connsiteX68" fmla="*/ 201920 w 885527"/>
              <a:gd name="connsiteY68" fmla="*/ 714341 h 885471"/>
              <a:gd name="connsiteX69" fmla="*/ 201883 w 885527"/>
              <a:gd name="connsiteY69" fmla="*/ 714304 h 885471"/>
              <a:gd name="connsiteX70" fmla="*/ 201845 w 885527"/>
              <a:gd name="connsiteY70" fmla="*/ 714341 h 885471"/>
              <a:gd name="connsiteX71" fmla="*/ 191353 w 885527"/>
              <a:gd name="connsiteY71" fmla="*/ 718657 h 885471"/>
              <a:gd name="connsiteX72" fmla="*/ 180860 w 885527"/>
              <a:gd name="connsiteY72" fmla="*/ 714267 h 885471"/>
              <a:gd name="connsiteX73" fmla="*/ 212746 w 885527"/>
              <a:gd name="connsiteY73" fmla="*/ 492329 h 885471"/>
              <a:gd name="connsiteX74" fmla="*/ 212709 w 885527"/>
              <a:gd name="connsiteY74" fmla="*/ 492329 h 885471"/>
              <a:gd name="connsiteX75" fmla="*/ 395437 w 885527"/>
              <a:gd name="connsiteY75" fmla="*/ 561534 h 885471"/>
              <a:gd name="connsiteX76" fmla="*/ 212709 w 885527"/>
              <a:gd name="connsiteY76" fmla="*/ 854352 h 885471"/>
              <a:gd name="connsiteX77" fmla="*/ 29981 w 885527"/>
              <a:gd name="connsiteY77" fmla="*/ 561534 h 885471"/>
              <a:gd name="connsiteX78" fmla="*/ 30019 w 885527"/>
              <a:gd name="connsiteY78" fmla="*/ 561534 h 885471"/>
              <a:gd name="connsiteX79" fmla="*/ 212708 w 885527"/>
              <a:gd name="connsiteY79" fmla="*/ 492329 h 885471"/>
              <a:gd name="connsiteX80" fmla="*/ 298099 w 885527"/>
              <a:gd name="connsiteY80" fmla="*/ 506542 h 885471"/>
              <a:gd name="connsiteX81" fmla="*/ 313280 w 885527"/>
              <a:gd name="connsiteY81" fmla="*/ 491361 h 885471"/>
              <a:gd name="connsiteX82" fmla="*/ 313243 w 885527"/>
              <a:gd name="connsiteY82" fmla="*/ 491324 h 885471"/>
              <a:gd name="connsiteX83" fmla="*/ 300406 w 885527"/>
              <a:gd name="connsiteY83" fmla="*/ 465353 h 885471"/>
              <a:gd name="connsiteX84" fmla="*/ 291141 w 885527"/>
              <a:gd name="connsiteY84" fmla="*/ 437932 h 885471"/>
              <a:gd name="connsiteX85" fmla="*/ 245191 w 885527"/>
              <a:gd name="connsiteY85" fmla="*/ 437932 h 885471"/>
              <a:gd name="connsiteX86" fmla="*/ 230308 w 885527"/>
              <a:gd name="connsiteY86" fmla="*/ 423049 h 885471"/>
              <a:gd name="connsiteX87" fmla="*/ 230308 w 885527"/>
              <a:gd name="connsiteY87" fmla="*/ 338366 h 885471"/>
              <a:gd name="connsiteX88" fmla="*/ 245191 w 885527"/>
              <a:gd name="connsiteY88" fmla="*/ 323483 h 885471"/>
              <a:gd name="connsiteX89" fmla="*/ 291104 w 885527"/>
              <a:gd name="connsiteY89" fmla="*/ 323483 h 885471"/>
              <a:gd name="connsiteX90" fmla="*/ 313242 w 885527"/>
              <a:gd name="connsiteY90" fmla="*/ 270091 h 885471"/>
              <a:gd name="connsiteX91" fmla="*/ 280760 w 885527"/>
              <a:gd name="connsiteY91" fmla="*/ 237609 h 885471"/>
              <a:gd name="connsiteX92" fmla="*/ 280760 w 885527"/>
              <a:gd name="connsiteY92" fmla="*/ 216550 h 885471"/>
              <a:gd name="connsiteX93" fmla="*/ 340626 w 885527"/>
              <a:gd name="connsiteY93" fmla="*/ 156683 h 885471"/>
              <a:gd name="connsiteX94" fmla="*/ 340664 w 885527"/>
              <a:gd name="connsiteY94" fmla="*/ 156683 h 885471"/>
              <a:gd name="connsiteX95" fmla="*/ 361685 w 885527"/>
              <a:gd name="connsiteY95" fmla="*/ 156683 h 885471"/>
              <a:gd name="connsiteX96" fmla="*/ 394167 w 885527"/>
              <a:gd name="connsiteY96" fmla="*/ 189165 h 885471"/>
              <a:gd name="connsiteX97" fmla="*/ 447560 w 885527"/>
              <a:gd name="connsiteY97" fmla="*/ 167027 h 885471"/>
              <a:gd name="connsiteX98" fmla="*/ 447560 w 885527"/>
              <a:gd name="connsiteY98" fmla="*/ 121114 h 885471"/>
              <a:gd name="connsiteX99" fmla="*/ 462443 w 885527"/>
              <a:gd name="connsiteY99" fmla="*/ 106231 h 885471"/>
              <a:gd name="connsiteX100" fmla="*/ 547126 w 885527"/>
              <a:gd name="connsiteY100" fmla="*/ 106231 h 885471"/>
              <a:gd name="connsiteX101" fmla="*/ 557655 w 885527"/>
              <a:gd name="connsiteY101" fmla="*/ 110584 h 885471"/>
              <a:gd name="connsiteX102" fmla="*/ 562009 w 885527"/>
              <a:gd name="connsiteY102" fmla="*/ 121114 h 885471"/>
              <a:gd name="connsiteX103" fmla="*/ 562009 w 885527"/>
              <a:gd name="connsiteY103" fmla="*/ 167028 h 885471"/>
              <a:gd name="connsiteX104" fmla="*/ 615438 w 885527"/>
              <a:gd name="connsiteY104" fmla="*/ 189166 h 885471"/>
              <a:gd name="connsiteX105" fmla="*/ 647920 w 885527"/>
              <a:gd name="connsiteY105" fmla="*/ 156684 h 885471"/>
              <a:gd name="connsiteX106" fmla="*/ 668942 w 885527"/>
              <a:gd name="connsiteY106" fmla="*/ 156684 h 885471"/>
              <a:gd name="connsiteX107" fmla="*/ 728809 w 885527"/>
              <a:gd name="connsiteY107" fmla="*/ 216550 h 885471"/>
              <a:gd name="connsiteX108" fmla="*/ 728846 w 885527"/>
              <a:gd name="connsiteY108" fmla="*/ 216550 h 885471"/>
              <a:gd name="connsiteX109" fmla="*/ 728846 w 885527"/>
              <a:gd name="connsiteY109" fmla="*/ 237609 h 885471"/>
              <a:gd name="connsiteX110" fmla="*/ 696364 w 885527"/>
              <a:gd name="connsiteY110" fmla="*/ 270091 h 885471"/>
              <a:gd name="connsiteX111" fmla="*/ 718464 w 885527"/>
              <a:gd name="connsiteY111" fmla="*/ 323483 h 885471"/>
              <a:gd name="connsiteX112" fmla="*/ 764415 w 885527"/>
              <a:gd name="connsiteY112" fmla="*/ 323483 h 885471"/>
              <a:gd name="connsiteX113" fmla="*/ 774945 w 885527"/>
              <a:gd name="connsiteY113" fmla="*/ 327837 h 885471"/>
              <a:gd name="connsiteX114" fmla="*/ 779298 w 885527"/>
              <a:gd name="connsiteY114" fmla="*/ 338367 h 885471"/>
              <a:gd name="connsiteX115" fmla="*/ 779298 w 885527"/>
              <a:gd name="connsiteY115" fmla="*/ 423050 h 885471"/>
              <a:gd name="connsiteX116" fmla="*/ 774945 w 885527"/>
              <a:gd name="connsiteY116" fmla="*/ 433579 h 885471"/>
              <a:gd name="connsiteX117" fmla="*/ 764415 w 885527"/>
              <a:gd name="connsiteY117" fmla="*/ 437933 h 885471"/>
              <a:gd name="connsiteX118" fmla="*/ 718464 w 885527"/>
              <a:gd name="connsiteY118" fmla="*/ 437933 h 885471"/>
              <a:gd name="connsiteX119" fmla="*/ 696364 w 885527"/>
              <a:gd name="connsiteY119" fmla="*/ 491325 h 885471"/>
              <a:gd name="connsiteX120" fmla="*/ 728846 w 885527"/>
              <a:gd name="connsiteY120" fmla="*/ 523807 h 885471"/>
              <a:gd name="connsiteX121" fmla="*/ 728846 w 885527"/>
              <a:gd name="connsiteY121" fmla="*/ 544866 h 885471"/>
              <a:gd name="connsiteX122" fmla="*/ 668979 w 885527"/>
              <a:gd name="connsiteY122" fmla="*/ 604733 h 885471"/>
              <a:gd name="connsiteX123" fmla="*/ 668942 w 885527"/>
              <a:gd name="connsiteY123" fmla="*/ 604733 h 885471"/>
              <a:gd name="connsiteX124" fmla="*/ 647920 w 885527"/>
              <a:gd name="connsiteY124" fmla="*/ 604733 h 885471"/>
              <a:gd name="connsiteX125" fmla="*/ 615438 w 885527"/>
              <a:gd name="connsiteY125" fmla="*/ 572250 h 885471"/>
              <a:gd name="connsiteX126" fmla="*/ 562046 w 885527"/>
              <a:gd name="connsiteY126" fmla="*/ 594388 h 885471"/>
              <a:gd name="connsiteX127" fmla="*/ 562046 w 885527"/>
              <a:gd name="connsiteY127" fmla="*/ 640302 h 885471"/>
              <a:gd name="connsiteX128" fmla="*/ 557655 w 885527"/>
              <a:gd name="connsiteY128" fmla="*/ 650832 h 885471"/>
              <a:gd name="connsiteX129" fmla="*/ 547163 w 885527"/>
              <a:gd name="connsiteY129" fmla="*/ 655185 h 885471"/>
              <a:gd name="connsiteX130" fmla="*/ 462442 w 885527"/>
              <a:gd name="connsiteY130" fmla="*/ 655185 h 885471"/>
              <a:gd name="connsiteX131" fmla="*/ 447560 w 885527"/>
              <a:gd name="connsiteY131" fmla="*/ 640302 h 885471"/>
              <a:gd name="connsiteX132" fmla="*/ 447560 w 885527"/>
              <a:gd name="connsiteY132" fmla="*/ 594389 h 885471"/>
              <a:gd name="connsiteX133" fmla="*/ 430779 w 885527"/>
              <a:gd name="connsiteY133" fmla="*/ 589180 h 885471"/>
              <a:gd name="connsiteX134" fmla="*/ 423710 w 885527"/>
              <a:gd name="connsiteY134" fmla="*/ 586538 h 885471"/>
              <a:gd name="connsiteX135" fmla="*/ 390373 w 885527"/>
              <a:gd name="connsiteY135" fmla="*/ 712630 h 885471"/>
              <a:gd name="connsiteX136" fmla="*/ 504787 w 885527"/>
              <a:gd name="connsiteY136" fmla="*/ 731680 h 885471"/>
              <a:gd name="connsiteX137" fmla="*/ 519670 w 885527"/>
              <a:gd name="connsiteY137" fmla="*/ 746563 h 885471"/>
              <a:gd name="connsiteX138" fmla="*/ 504787 w 885527"/>
              <a:gd name="connsiteY138" fmla="*/ 761446 h 885471"/>
              <a:gd name="connsiteX139" fmla="*/ 376457 w 885527"/>
              <a:gd name="connsiteY139" fmla="*/ 739196 h 885471"/>
              <a:gd name="connsiteX140" fmla="*/ 218475 w 885527"/>
              <a:gd name="connsiteY140" fmla="*/ 884300 h 885471"/>
              <a:gd name="connsiteX141" fmla="*/ 206978 w 885527"/>
              <a:gd name="connsiteY141" fmla="*/ 884300 h 885471"/>
              <a:gd name="connsiteX142" fmla="*/ 0 w 885527"/>
              <a:gd name="connsiteY142" fmla="*/ 547839 h 885471"/>
              <a:gd name="connsiteX143" fmla="*/ 37 w 885527"/>
              <a:gd name="connsiteY143" fmla="*/ 547839 h 885471"/>
              <a:gd name="connsiteX144" fmla="*/ 14028 w 885527"/>
              <a:gd name="connsiteY144" fmla="*/ 533030 h 885471"/>
              <a:gd name="connsiteX145" fmla="*/ 142987 w 885527"/>
              <a:gd name="connsiteY145" fmla="*/ 499470 h 885471"/>
              <a:gd name="connsiteX146" fmla="*/ 204415 w 885527"/>
              <a:gd name="connsiteY146" fmla="*/ 146854 h 885471"/>
              <a:gd name="connsiteX147" fmla="*/ 152213 w 885527"/>
              <a:gd name="connsiteY147" fmla="*/ 157980 h 885471"/>
              <a:gd name="connsiteX148" fmla="*/ 141051 w 885527"/>
              <a:gd name="connsiteY148" fmla="*/ 155896 h 885471"/>
              <a:gd name="connsiteX149" fmla="*/ 134614 w 885527"/>
              <a:gd name="connsiteY149" fmla="*/ 146520 h 885471"/>
              <a:gd name="connsiteX150" fmla="*/ 146074 w 885527"/>
              <a:gd name="connsiteY150" fmla="*/ 128920 h 885471"/>
              <a:gd name="connsiteX151" fmla="*/ 241212 w 885527"/>
              <a:gd name="connsiteY151" fmla="*/ 108643 h 885471"/>
              <a:gd name="connsiteX152" fmla="*/ 241212 w 885527"/>
              <a:gd name="connsiteY152" fmla="*/ 108605 h 885471"/>
              <a:gd name="connsiteX153" fmla="*/ 254198 w 885527"/>
              <a:gd name="connsiteY153" fmla="*/ 111136 h 885471"/>
              <a:gd name="connsiteX154" fmla="*/ 260076 w 885527"/>
              <a:gd name="connsiteY154" fmla="*/ 122967 h 885471"/>
              <a:gd name="connsiteX155" fmla="*/ 260076 w 885527"/>
              <a:gd name="connsiteY155" fmla="*/ 202628 h 885471"/>
              <a:gd name="connsiteX156" fmla="*/ 245194 w 885527"/>
              <a:gd name="connsiteY156" fmla="*/ 217511 h 885471"/>
              <a:gd name="connsiteX157" fmla="*/ 230311 w 885527"/>
              <a:gd name="connsiteY157" fmla="*/ 202628 h 885471"/>
              <a:gd name="connsiteX158" fmla="*/ 230311 w 885527"/>
              <a:gd name="connsiteY158" fmla="*/ 161961 h 885471"/>
              <a:gd name="connsiteX159" fmla="*/ 169626 w 885527"/>
              <a:gd name="connsiteY159" fmla="*/ 485182 h 885471"/>
              <a:gd name="connsiteX160" fmla="*/ 203485 w 885527"/>
              <a:gd name="connsiteY160" fmla="*/ 462188 h 885471"/>
              <a:gd name="connsiteX161" fmla="*/ 221791 w 885527"/>
              <a:gd name="connsiteY161" fmla="*/ 462076 h 885471"/>
              <a:gd name="connsiteX162" fmla="*/ 298065 w 885527"/>
              <a:gd name="connsiteY162" fmla="*/ 506502 h 885471"/>
              <a:gd name="connsiteX163" fmla="*/ 779302 w 885527"/>
              <a:gd name="connsiteY163" fmla="*/ 599485 h 885471"/>
              <a:gd name="connsiteX164" fmla="*/ 855762 w 885527"/>
              <a:gd name="connsiteY164" fmla="*/ 380706 h 885471"/>
              <a:gd name="connsiteX165" fmla="*/ 504823 w 885527"/>
              <a:gd name="connsiteY165" fmla="*/ 29728 h 885471"/>
              <a:gd name="connsiteX166" fmla="*/ 504823 w 885527"/>
              <a:gd name="connsiteY166" fmla="*/ 29766 h 885471"/>
              <a:gd name="connsiteX167" fmla="*/ 489940 w 885527"/>
              <a:gd name="connsiteY167" fmla="*/ 14883 h 885471"/>
              <a:gd name="connsiteX168" fmla="*/ 504823 w 885527"/>
              <a:gd name="connsiteY168" fmla="*/ 0 h 885471"/>
              <a:gd name="connsiteX169" fmla="*/ 885527 w 885527"/>
              <a:gd name="connsiteY169" fmla="*/ 380705 h 885471"/>
              <a:gd name="connsiteX170" fmla="*/ 805160 w 885527"/>
              <a:gd name="connsiteY170" fmla="*/ 614591 h 885471"/>
              <a:gd name="connsiteX171" fmla="*/ 857362 w 885527"/>
              <a:gd name="connsiteY171" fmla="*/ 603466 h 885471"/>
              <a:gd name="connsiteX172" fmla="*/ 857399 w 885527"/>
              <a:gd name="connsiteY172" fmla="*/ 603466 h 885471"/>
              <a:gd name="connsiteX173" fmla="*/ 874999 w 885527"/>
              <a:gd name="connsiteY173" fmla="*/ 614925 h 885471"/>
              <a:gd name="connsiteX174" fmla="*/ 863539 w 885527"/>
              <a:gd name="connsiteY174" fmla="*/ 632525 h 885471"/>
              <a:gd name="connsiteX175" fmla="*/ 768401 w 885527"/>
              <a:gd name="connsiteY175" fmla="*/ 652803 h 885471"/>
              <a:gd name="connsiteX176" fmla="*/ 755415 w 885527"/>
              <a:gd name="connsiteY176" fmla="*/ 650310 h 885471"/>
              <a:gd name="connsiteX177" fmla="*/ 749536 w 885527"/>
              <a:gd name="connsiteY177" fmla="*/ 638478 h 885471"/>
              <a:gd name="connsiteX178" fmla="*/ 749536 w 885527"/>
              <a:gd name="connsiteY178" fmla="*/ 558780 h 885471"/>
              <a:gd name="connsiteX179" fmla="*/ 764419 w 885527"/>
              <a:gd name="connsiteY179" fmla="*/ 543897 h 885471"/>
              <a:gd name="connsiteX180" fmla="*/ 779302 w 885527"/>
              <a:gd name="connsiteY180" fmla="*/ 558780 h 885471"/>
              <a:gd name="connsiteX181" fmla="*/ 504829 w 885527"/>
              <a:gd name="connsiteY181" fmla="*/ 241145 h 885471"/>
              <a:gd name="connsiteX182" fmla="*/ 603499 w 885527"/>
              <a:gd name="connsiteY182" fmla="*/ 282036 h 885471"/>
              <a:gd name="connsiteX183" fmla="*/ 644390 w 885527"/>
              <a:gd name="connsiteY183" fmla="*/ 380706 h 885471"/>
              <a:gd name="connsiteX184" fmla="*/ 603499 w 885527"/>
              <a:gd name="connsiteY184" fmla="*/ 479413 h 885471"/>
              <a:gd name="connsiteX185" fmla="*/ 504829 w 885527"/>
              <a:gd name="connsiteY185" fmla="*/ 520304 h 885471"/>
              <a:gd name="connsiteX186" fmla="*/ 406122 w 885527"/>
              <a:gd name="connsiteY186" fmla="*/ 479413 h 885471"/>
              <a:gd name="connsiteX187" fmla="*/ 365231 w 885527"/>
              <a:gd name="connsiteY187" fmla="*/ 380706 h 885471"/>
              <a:gd name="connsiteX188" fmla="*/ 406122 w 885527"/>
              <a:gd name="connsiteY188" fmla="*/ 282036 h 885471"/>
              <a:gd name="connsiteX189" fmla="*/ 504829 w 885527"/>
              <a:gd name="connsiteY189" fmla="*/ 241145 h 885471"/>
              <a:gd name="connsiteX190" fmla="*/ 504829 w 885527"/>
              <a:gd name="connsiteY190" fmla="*/ 270911 h 885471"/>
              <a:gd name="connsiteX191" fmla="*/ 606252 w 885527"/>
              <a:gd name="connsiteY191" fmla="*/ 338702 h 885471"/>
              <a:gd name="connsiteX192" fmla="*/ 582476 w 885527"/>
              <a:gd name="connsiteY192" fmla="*/ 458355 h 885471"/>
              <a:gd name="connsiteX193" fmla="*/ 462785 w 885527"/>
              <a:gd name="connsiteY193" fmla="*/ 482168 h 885471"/>
              <a:gd name="connsiteX194" fmla="*/ 394994 w 885527"/>
              <a:gd name="connsiteY194" fmla="*/ 380708 h 885471"/>
              <a:gd name="connsiteX195" fmla="*/ 427141 w 885527"/>
              <a:gd name="connsiteY195" fmla="*/ 303057 h 885471"/>
              <a:gd name="connsiteX196" fmla="*/ 504791 w 885527"/>
              <a:gd name="connsiteY196" fmla="*/ 270910 h 88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885527" h="885471">
                <a:moveTo>
                  <a:pt x="425351" y="554985"/>
                </a:moveTo>
                <a:cubicBezTo>
                  <a:pt x="430337" y="557254"/>
                  <a:pt x="435434" y="559338"/>
                  <a:pt x="440680" y="561198"/>
                </a:cubicBezTo>
                <a:lnTo>
                  <a:pt x="440680" y="561161"/>
                </a:lnTo>
                <a:cubicBezTo>
                  <a:pt x="448792" y="564063"/>
                  <a:pt x="457089" y="566370"/>
                  <a:pt x="465498" y="568156"/>
                </a:cubicBezTo>
                <a:cubicBezTo>
                  <a:pt x="472381" y="569570"/>
                  <a:pt x="477293" y="575635"/>
                  <a:pt x="477330" y="582666"/>
                </a:cubicBezTo>
                <a:lnTo>
                  <a:pt x="477367" y="582666"/>
                </a:lnTo>
                <a:lnTo>
                  <a:pt x="477367" y="625417"/>
                </a:lnTo>
                <a:lnTo>
                  <a:pt x="532284" y="625417"/>
                </a:lnTo>
                <a:lnTo>
                  <a:pt x="532247" y="582666"/>
                </a:lnTo>
                <a:cubicBezTo>
                  <a:pt x="532247" y="575225"/>
                  <a:pt x="537754" y="568937"/>
                  <a:pt x="545121" y="567932"/>
                </a:cubicBezTo>
                <a:cubicBezTo>
                  <a:pt x="568078" y="563021"/>
                  <a:pt x="589881" y="553867"/>
                  <a:pt x="609526" y="540994"/>
                </a:cubicBezTo>
                <a:cubicBezTo>
                  <a:pt x="615405" y="537162"/>
                  <a:pt x="623181" y="537943"/>
                  <a:pt x="628167" y="542929"/>
                </a:cubicBezTo>
                <a:lnTo>
                  <a:pt x="658416" y="573179"/>
                </a:lnTo>
                <a:lnTo>
                  <a:pt x="697260" y="534335"/>
                </a:lnTo>
                <a:lnTo>
                  <a:pt x="667011" y="504085"/>
                </a:lnTo>
                <a:cubicBezTo>
                  <a:pt x="661839" y="498951"/>
                  <a:pt x="661206" y="490803"/>
                  <a:pt x="665448" y="484887"/>
                </a:cubicBezTo>
                <a:cubicBezTo>
                  <a:pt x="678322" y="465130"/>
                  <a:pt x="687400" y="443140"/>
                  <a:pt x="692237" y="420035"/>
                </a:cubicBezTo>
                <a:cubicBezTo>
                  <a:pt x="693688" y="413151"/>
                  <a:pt x="699753" y="408203"/>
                  <a:pt x="706785" y="408203"/>
                </a:cubicBezTo>
                <a:lnTo>
                  <a:pt x="706785" y="408166"/>
                </a:lnTo>
                <a:lnTo>
                  <a:pt x="749536" y="408166"/>
                </a:lnTo>
                <a:lnTo>
                  <a:pt x="749536" y="353248"/>
                </a:lnTo>
                <a:lnTo>
                  <a:pt x="706785" y="353248"/>
                </a:lnTo>
                <a:cubicBezTo>
                  <a:pt x="699343" y="353248"/>
                  <a:pt x="693055" y="347779"/>
                  <a:pt x="692013" y="340411"/>
                </a:cubicBezTo>
                <a:cubicBezTo>
                  <a:pt x="687102" y="317454"/>
                  <a:pt x="677949" y="295651"/>
                  <a:pt x="665113" y="276006"/>
                </a:cubicBezTo>
                <a:cubicBezTo>
                  <a:pt x="661243" y="270127"/>
                  <a:pt x="662062" y="262351"/>
                  <a:pt x="667010" y="257366"/>
                </a:cubicBezTo>
                <a:lnTo>
                  <a:pt x="697260" y="227116"/>
                </a:lnTo>
                <a:lnTo>
                  <a:pt x="658416" y="188272"/>
                </a:lnTo>
                <a:lnTo>
                  <a:pt x="628166" y="218522"/>
                </a:lnTo>
                <a:lnTo>
                  <a:pt x="628204" y="218522"/>
                </a:lnTo>
                <a:cubicBezTo>
                  <a:pt x="623032" y="223694"/>
                  <a:pt x="614884" y="224326"/>
                  <a:pt x="608968" y="220084"/>
                </a:cubicBezTo>
                <a:cubicBezTo>
                  <a:pt x="589211" y="207211"/>
                  <a:pt x="567222" y="198132"/>
                  <a:pt x="544116" y="193295"/>
                </a:cubicBezTo>
                <a:cubicBezTo>
                  <a:pt x="537233" y="191882"/>
                  <a:pt x="532321" y="185817"/>
                  <a:pt x="532321" y="178785"/>
                </a:cubicBezTo>
                <a:lnTo>
                  <a:pt x="532284" y="178785"/>
                </a:lnTo>
                <a:lnTo>
                  <a:pt x="532284" y="135997"/>
                </a:lnTo>
                <a:lnTo>
                  <a:pt x="477329" y="135997"/>
                </a:lnTo>
                <a:lnTo>
                  <a:pt x="477329" y="178748"/>
                </a:lnTo>
                <a:cubicBezTo>
                  <a:pt x="477329" y="186189"/>
                  <a:pt x="471860" y="192477"/>
                  <a:pt x="464493" y="193482"/>
                </a:cubicBezTo>
                <a:cubicBezTo>
                  <a:pt x="441535" y="198431"/>
                  <a:pt x="419733" y="207547"/>
                  <a:pt x="400087" y="220420"/>
                </a:cubicBezTo>
                <a:cubicBezTo>
                  <a:pt x="394209" y="224289"/>
                  <a:pt x="386432" y="223471"/>
                  <a:pt x="381447" y="218485"/>
                </a:cubicBezTo>
                <a:lnTo>
                  <a:pt x="351197" y="188236"/>
                </a:lnTo>
                <a:lnTo>
                  <a:pt x="312354" y="227079"/>
                </a:lnTo>
                <a:lnTo>
                  <a:pt x="342603" y="257329"/>
                </a:lnTo>
                <a:cubicBezTo>
                  <a:pt x="347775" y="262501"/>
                  <a:pt x="348445" y="270612"/>
                  <a:pt x="344166" y="276565"/>
                </a:cubicBezTo>
                <a:cubicBezTo>
                  <a:pt x="331292" y="296321"/>
                  <a:pt x="322213" y="318311"/>
                  <a:pt x="317377" y="341379"/>
                </a:cubicBezTo>
                <a:cubicBezTo>
                  <a:pt x="315926" y="348300"/>
                  <a:pt x="309861" y="353211"/>
                  <a:pt x="302829" y="353211"/>
                </a:cubicBezTo>
                <a:lnTo>
                  <a:pt x="302829" y="353249"/>
                </a:lnTo>
                <a:lnTo>
                  <a:pt x="260078" y="353249"/>
                </a:lnTo>
                <a:lnTo>
                  <a:pt x="260078" y="408166"/>
                </a:lnTo>
                <a:lnTo>
                  <a:pt x="302829" y="408166"/>
                </a:lnTo>
                <a:cubicBezTo>
                  <a:pt x="310270" y="408166"/>
                  <a:pt x="316558" y="413673"/>
                  <a:pt x="317600" y="421040"/>
                </a:cubicBezTo>
                <a:cubicBezTo>
                  <a:pt x="322512" y="443959"/>
                  <a:pt x="331628" y="465800"/>
                  <a:pt x="344501" y="485445"/>
                </a:cubicBezTo>
                <a:cubicBezTo>
                  <a:pt x="348370" y="491324"/>
                  <a:pt x="347552" y="499100"/>
                  <a:pt x="342603" y="504086"/>
                </a:cubicBezTo>
                <a:lnTo>
                  <a:pt x="328874" y="517815"/>
                </a:lnTo>
                <a:cubicBezTo>
                  <a:pt x="355365" y="526149"/>
                  <a:pt x="382787" y="531209"/>
                  <a:pt x="410543" y="532958"/>
                </a:cubicBezTo>
                <a:lnTo>
                  <a:pt x="410581" y="532958"/>
                </a:lnTo>
                <a:cubicBezTo>
                  <a:pt x="414524" y="532958"/>
                  <a:pt x="418320" y="534558"/>
                  <a:pt x="421110" y="537348"/>
                </a:cubicBezTo>
                <a:cubicBezTo>
                  <a:pt x="423901" y="540139"/>
                  <a:pt x="425464" y="543897"/>
                  <a:pt x="425464" y="547841"/>
                </a:cubicBezTo>
                <a:cubicBezTo>
                  <a:pt x="425464" y="550222"/>
                  <a:pt x="425426" y="552603"/>
                  <a:pt x="425389" y="554947"/>
                </a:cubicBezTo>
                <a:close/>
                <a:moveTo>
                  <a:pt x="138258" y="671628"/>
                </a:moveTo>
                <a:cubicBezTo>
                  <a:pt x="132491" y="665823"/>
                  <a:pt x="132491" y="656410"/>
                  <a:pt x="138295" y="650643"/>
                </a:cubicBezTo>
                <a:cubicBezTo>
                  <a:pt x="144137" y="644876"/>
                  <a:pt x="153513" y="644876"/>
                  <a:pt x="159317" y="650718"/>
                </a:cubicBezTo>
                <a:lnTo>
                  <a:pt x="191389" y="682790"/>
                </a:lnTo>
                <a:lnTo>
                  <a:pt x="266176" y="608004"/>
                </a:lnTo>
                <a:lnTo>
                  <a:pt x="266139" y="608004"/>
                </a:lnTo>
                <a:cubicBezTo>
                  <a:pt x="268929" y="605139"/>
                  <a:pt x="272724" y="603502"/>
                  <a:pt x="276743" y="603465"/>
                </a:cubicBezTo>
                <a:cubicBezTo>
                  <a:pt x="280724" y="603427"/>
                  <a:pt x="284556" y="604990"/>
                  <a:pt x="287384" y="607818"/>
                </a:cubicBezTo>
                <a:cubicBezTo>
                  <a:pt x="290212" y="610645"/>
                  <a:pt x="291775" y="614478"/>
                  <a:pt x="291737" y="618459"/>
                </a:cubicBezTo>
                <a:cubicBezTo>
                  <a:pt x="291700" y="622477"/>
                  <a:pt x="290063" y="626272"/>
                  <a:pt x="287198" y="629063"/>
                </a:cubicBezTo>
                <a:lnTo>
                  <a:pt x="201920" y="714341"/>
                </a:lnTo>
                <a:lnTo>
                  <a:pt x="201883" y="714304"/>
                </a:lnTo>
                <a:lnTo>
                  <a:pt x="201845" y="714341"/>
                </a:lnTo>
                <a:cubicBezTo>
                  <a:pt x="199055" y="717095"/>
                  <a:pt x="195297" y="718657"/>
                  <a:pt x="191353" y="718657"/>
                </a:cubicBezTo>
                <a:cubicBezTo>
                  <a:pt x="187409" y="718620"/>
                  <a:pt x="183651" y="717057"/>
                  <a:pt x="180860" y="714267"/>
                </a:cubicBezTo>
                <a:close/>
                <a:moveTo>
                  <a:pt x="212746" y="492329"/>
                </a:moveTo>
                <a:lnTo>
                  <a:pt x="212709" y="492329"/>
                </a:lnTo>
                <a:cubicBezTo>
                  <a:pt x="266436" y="531136"/>
                  <a:pt x="329505" y="555023"/>
                  <a:pt x="395437" y="561534"/>
                </a:cubicBezTo>
                <a:cubicBezTo>
                  <a:pt x="391455" y="683759"/>
                  <a:pt x="325599" y="800183"/>
                  <a:pt x="212709" y="854352"/>
                </a:cubicBezTo>
                <a:cubicBezTo>
                  <a:pt x="181827" y="839543"/>
                  <a:pt x="36458" y="759399"/>
                  <a:pt x="29981" y="561534"/>
                </a:cubicBezTo>
                <a:lnTo>
                  <a:pt x="30019" y="561534"/>
                </a:lnTo>
                <a:cubicBezTo>
                  <a:pt x="95950" y="554986"/>
                  <a:pt x="158978" y="531136"/>
                  <a:pt x="212708" y="492329"/>
                </a:cubicBezTo>
                <a:close/>
                <a:moveTo>
                  <a:pt x="298099" y="506542"/>
                </a:moveTo>
                <a:lnTo>
                  <a:pt x="313280" y="491361"/>
                </a:lnTo>
                <a:lnTo>
                  <a:pt x="313243" y="491324"/>
                </a:lnTo>
                <a:cubicBezTo>
                  <a:pt x="308406" y="482953"/>
                  <a:pt x="304127" y="474283"/>
                  <a:pt x="300406" y="465353"/>
                </a:cubicBezTo>
                <a:cubicBezTo>
                  <a:pt x="296722" y="456424"/>
                  <a:pt x="293597" y="447271"/>
                  <a:pt x="291141" y="437932"/>
                </a:cubicBezTo>
                <a:lnTo>
                  <a:pt x="245191" y="437932"/>
                </a:lnTo>
                <a:cubicBezTo>
                  <a:pt x="236968" y="437932"/>
                  <a:pt x="230308" y="431272"/>
                  <a:pt x="230308" y="423049"/>
                </a:cubicBezTo>
                <a:lnTo>
                  <a:pt x="230308" y="338366"/>
                </a:lnTo>
                <a:cubicBezTo>
                  <a:pt x="230308" y="330143"/>
                  <a:pt x="236968" y="323483"/>
                  <a:pt x="245191" y="323483"/>
                </a:cubicBezTo>
                <a:lnTo>
                  <a:pt x="291104" y="323483"/>
                </a:lnTo>
                <a:cubicBezTo>
                  <a:pt x="296127" y="304806"/>
                  <a:pt x="303568" y="286834"/>
                  <a:pt x="313242" y="270091"/>
                </a:cubicBezTo>
                <a:lnTo>
                  <a:pt x="280760" y="237609"/>
                </a:lnTo>
                <a:cubicBezTo>
                  <a:pt x="274955" y="231804"/>
                  <a:pt x="274955" y="222391"/>
                  <a:pt x="280760" y="216550"/>
                </a:cubicBezTo>
                <a:lnTo>
                  <a:pt x="340626" y="156683"/>
                </a:lnTo>
                <a:lnTo>
                  <a:pt x="340664" y="156683"/>
                </a:lnTo>
                <a:cubicBezTo>
                  <a:pt x="346468" y="150879"/>
                  <a:pt x="355882" y="150879"/>
                  <a:pt x="361685" y="156683"/>
                </a:cubicBezTo>
                <a:lnTo>
                  <a:pt x="394167" y="189165"/>
                </a:lnTo>
                <a:cubicBezTo>
                  <a:pt x="410910" y="179455"/>
                  <a:pt x="428881" y="172050"/>
                  <a:pt x="447560" y="167027"/>
                </a:cubicBezTo>
                <a:lnTo>
                  <a:pt x="447560" y="121114"/>
                </a:lnTo>
                <a:cubicBezTo>
                  <a:pt x="447560" y="112891"/>
                  <a:pt x="454257" y="106231"/>
                  <a:pt x="462443" y="106231"/>
                </a:cubicBezTo>
                <a:lnTo>
                  <a:pt x="547126" y="106231"/>
                </a:lnTo>
                <a:cubicBezTo>
                  <a:pt x="551107" y="106231"/>
                  <a:pt x="554865" y="107794"/>
                  <a:pt x="557655" y="110584"/>
                </a:cubicBezTo>
                <a:cubicBezTo>
                  <a:pt x="560446" y="113375"/>
                  <a:pt x="562009" y="117170"/>
                  <a:pt x="562009" y="121114"/>
                </a:cubicBezTo>
                <a:lnTo>
                  <a:pt x="562009" y="167028"/>
                </a:lnTo>
                <a:cubicBezTo>
                  <a:pt x="580723" y="172051"/>
                  <a:pt x="598695" y="179455"/>
                  <a:pt x="615438" y="189166"/>
                </a:cubicBezTo>
                <a:lnTo>
                  <a:pt x="647920" y="156684"/>
                </a:lnTo>
                <a:cubicBezTo>
                  <a:pt x="653725" y="150879"/>
                  <a:pt x="663138" y="150879"/>
                  <a:pt x="668942" y="156684"/>
                </a:cubicBezTo>
                <a:lnTo>
                  <a:pt x="728809" y="216550"/>
                </a:lnTo>
                <a:lnTo>
                  <a:pt x="728846" y="216550"/>
                </a:lnTo>
                <a:cubicBezTo>
                  <a:pt x="734650" y="222392"/>
                  <a:pt x="734650" y="231805"/>
                  <a:pt x="728846" y="237609"/>
                </a:cubicBezTo>
                <a:lnTo>
                  <a:pt x="696364" y="270091"/>
                </a:lnTo>
                <a:cubicBezTo>
                  <a:pt x="706037" y="286834"/>
                  <a:pt x="713479" y="304805"/>
                  <a:pt x="718464" y="323483"/>
                </a:cubicBezTo>
                <a:lnTo>
                  <a:pt x="764415" y="323483"/>
                </a:lnTo>
                <a:cubicBezTo>
                  <a:pt x="768359" y="323483"/>
                  <a:pt x="772154" y="325046"/>
                  <a:pt x="774945" y="327837"/>
                </a:cubicBezTo>
                <a:cubicBezTo>
                  <a:pt x="777736" y="330627"/>
                  <a:pt x="779298" y="334422"/>
                  <a:pt x="779298" y="338367"/>
                </a:cubicBezTo>
                <a:lnTo>
                  <a:pt x="779298" y="423050"/>
                </a:lnTo>
                <a:cubicBezTo>
                  <a:pt x="779298" y="426993"/>
                  <a:pt x="777735" y="430789"/>
                  <a:pt x="774945" y="433579"/>
                </a:cubicBezTo>
                <a:cubicBezTo>
                  <a:pt x="772154" y="436370"/>
                  <a:pt x="768359" y="437933"/>
                  <a:pt x="764415" y="437933"/>
                </a:cubicBezTo>
                <a:lnTo>
                  <a:pt x="718464" y="437933"/>
                </a:lnTo>
                <a:cubicBezTo>
                  <a:pt x="713479" y="456647"/>
                  <a:pt x="706037" y="474582"/>
                  <a:pt x="696364" y="491325"/>
                </a:cubicBezTo>
                <a:lnTo>
                  <a:pt x="728846" y="523807"/>
                </a:lnTo>
                <a:cubicBezTo>
                  <a:pt x="734650" y="529649"/>
                  <a:pt x="734650" y="539062"/>
                  <a:pt x="728846" y="544866"/>
                </a:cubicBezTo>
                <a:lnTo>
                  <a:pt x="668979" y="604733"/>
                </a:lnTo>
                <a:lnTo>
                  <a:pt x="668942" y="604733"/>
                </a:lnTo>
                <a:cubicBezTo>
                  <a:pt x="663138" y="610574"/>
                  <a:pt x="653724" y="610574"/>
                  <a:pt x="647920" y="604733"/>
                </a:cubicBezTo>
                <a:lnTo>
                  <a:pt x="615438" y="572250"/>
                </a:lnTo>
                <a:cubicBezTo>
                  <a:pt x="598695" y="581961"/>
                  <a:pt x="580724" y="589403"/>
                  <a:pt x="562046" y="594388"/>
                </a:cubicBezTo>
                <a:lnTo>
                  <a:pt x="562046" y="640302"/>
                </a:lnTo>
                <a:cubicBezTo>
                  <a:pt x="562046" y="644283"/>
                  <a:pt x="560446" y="648041"/>
                  <a:pt x="557655" y="650832"/>
                </a:cubicBezTo>
                <a:cubicBezTo>
                  <a:pt x="554865" y="653622"/>
                  <a:pt x="551107" y="655185"/>
                  <a:pt x="547163" y="655185"/>
                </a:cubicBezTo>
                <a:lnTo>
                  <a:pt x="462442" y="655185"/>
                </a:lnTo>
                <a:cubicBezTo>
                  <a:pt x="454257" y="655185"/>
                  <a:pt x="447560" y="648525"/>
                  <a:pt x="447560" y="640302"/>
                </a:cubicBezTo>
                <a:lnTo>
                  <a:pt x="447560" y="594389"/>
                </a:lnTo>
                <a:cubicBezTo>
                  <a:pt x="441867" y="592863"/>
                  <a:pt x="436249" y="591114"/>
                  <a:pt x="430779" y="589180"/>
                </a:cubicBezTo>
                <a:cubicBezTo>
                  <a:pt x="428398" y="588324"/>
                  <a:pt x="426054" y="587468"/>
                  <a:pt x="423710" y="586538"/>
                </a:cubicBezTo>
                <a:cubicBezTo>
                  <a:pt x="420138" y="630219"/>
                  <a:pt x="408827" y="672895"/>
                  <a:pt x="390373" y="712630"/>
                </a:cubicBezTo>
                <a:cubicBezTo>
                  <a:pt x="427171" y="725280"/>
                  <a:pt x="465866" y="731717"/>
                  <a:pt x="504787" y="731680"/>
                </a:cubicBezTo>
                <a:cubicBezTo>
                  <a:pt x="513010" y="731680"/>
                  <a:pt x="519670" y="738340"/>
                  <a:pt x="519670" y="746563"/>
                </a:cubicBezTo>
                <a:cubicBezTo>
                  <a:pt x="519670" y="754785"/>
                  <a:pt x="513010" y="761446"/>
                  <a:pt x="504787" y="761446"/>
                </a:cubicBezTo>
                <a:cubicBezTo>
                  <a:pt x="461069" y="761446"/>
                  <a:pt x="417648" y="753930"/>
                  <a:pt x="376457" y="739196"/>
                </a:cubicBezTo>
                <a:cubicBezTo>
                  <a:pt x="315399" y="844533"/>
                  <a:pt x="218885" y="884119"/>
                  <a:pt x="218475" y="884300"/>
                </a:cubicBezTo>
                <a:cubicBezTo>
                  <a:pt x="214791" y="885863"/>
                  <a:pt x="210661" y="885863"/>
                  <a:pt x="206978" y="884300"/>
                </a:cubicBezTo>
                <a:cubicBezTo>
                  <a:pt x="206383" y="884040"/>
                  <a:pt x="0" y="799430"/>
                  <a:pt x="0" y="547839"/>
                </a:cubicBezTo>
                <a:lnTo>
                  <a:pt x="37" y="547839"/>
                </a:lnTo>
                <a:cubicBezTo>
                  <a:pt x="37" y="539988"/>
                  <a:pt x="6176" y="533477"/>
                  <a:pt x="14028" y="533030"/>
                </a:cubicBezTo>
                <a:cubicBezTo>
                  <a:pt x="58787" y="530314"/>
                  <a:pt x="102581" y="518929"/>
                  <a:pt x="142987" y="499470"/>
                </a:cubicBezTo>
                <a:cubicBezTo>
                  <a:pt x="103584" y="379026"/>
                  <a:pt x="126578" y="246867"/>
                  <a:pt x="204415" y="146854"/>
                </a:cubicBezTo>
                <a:lnTo>
                  <a:pt x="152213" y="157980"/>
                </a:lnTo>
                <a:cubicBezTo>
                  <a:pt x="148381" y="158798"/>
                  <a:pt x="144363" y="158054"/>
                  <a:pt x="141051" y="155896"/>
                </a:cubicBezTo>
                <a:cubicBezTo>
                  <a:pt x="137740" y="153738"/>
                  <a:pt x="135433" y="150389"/>
                  <a:pt x="134614" y="146520"/>
                </a:cubicBezTo>
                <a:cubicBezTo>
                  <a:pt x="132903" y="138483"/>
                  <a:pt x="138037" y="130595"/>
                  <a:pt x="146074" y="128920"/>
                </a:cubicBezTo>
                <a:lnTo>
                  <a:pt x="241212" y="108643"/>
                </a:lnTo>
                <a:lnTo>
                  <a:pt x="241212" y="108605"/>
                </a:lnTo>
                <a:cubicBezTo>
                  <a:pt x="245677" y="107378"/>
                  <a:pt x="250477" y="108308"/>
                  <a:pt x="254198" y="111136"/>
                </a:cubicBezTo>
                <a:cubicBezTo>
                  <a:pt x="257881" y="113926"/>
                  <a:pt x="260076" y="118317"/>
                  <a:pt x="260076" y="122967"/>
                </a:cubicBezTo>
                <a:lnTo>
                  <a:pt x="260076" y="202628"/>
                </a:lnTo>
                <a:cubicBezTo>
                  <a:pt x="260076" y="210851"/>
                  <a:pt x="253416" y="217511"/>
                  <a:pt x="245194" y="217511"/>
                </a:cubicBezTo>
                <a:cubicBezTo>
                  <a:pt x="236971" y="217511"/>
                  <a:pt x="230311" y="210851"/>
                  <a:pt x="230311" y="202628"/>
                </a:cubicBezTo>
                <a:lnTo>
                  <a:pt x="230311" y="161961"/>
                </a:lnTo>
                <a:cubicBezTo>
                  <a:pt x="157906" y="253044"/>
                  <a:pt x="135172" y="374006"/>
                  <a:pt x="169626" y="485182"/>
                </a:cubicBezTo>
                <a:cubicBezTo>
                  <a:pt x="181347" y="478187"/>
                  <a:pt x="192658" y="470522"/>
                  <a:pt x="203485" y="462188"/>
                </a:cubicBezTo>
                <a:cubicBezTo>
                  <a:pt x="208842" y="457946"/>
                  <a:pt x="216396" y="457909"/>
                  <a:pt x="221791" y="462076"/>
                </a:cubicBezTo>
                <a:cubicBezTo>
                  <a:pt x="245194" y="480084"/>
                  <a:pt x="270829" y="495041"/>
                  <a:pt x="298065" y="506502"/>
                </a:cubicBezTo>
                <a:close/>
                <a:moveTo>
                  <a:pt x="779302" y="599485"/>
                </a:moveTo>
                <a:cubicBezTo>
                  <a:pt x="828936" y="537387"/>
                  <a:pt x="855911" y="460220"/>
                  <a:pt x="855762" y="380706"/>
                </a:cubicBezTo>
                <a:cubicBezTo>
                  <a:pt x="855762" y="186853"/>
                  <a:pt x="698637" y="29728"/>
                  <a:pt x="504823" y="29728"/>
                </a:cubicBezTo>
                <a:lnTo>
                  <a:pt x="504823" y="29766"/>
                </a:lnTo>
                <a:cubicBezTo>
                  <a:pt x="496600" y="29766"/>
                  <a:pt x="489940" y="23106"/>
                  <a:pt x="489940" y="14883"/>
                </a:cubicBezTo>
                <a:cubicBezTo>
                  <a:pt x="489940" y="6660"/>
                  <a:pt x="496600" y="0"/>
                  <a:pt x="504823" y="0"/>
                </a:cubicBezTo>
                <a:cubicBezTo>
                  <a:pt x="715078" y="0"/>
                  <a:pt x="885527" y="170450"/>
                  <a:pt x="885527" y="380705"/>
                </a:cubicBezTo>
                <a:cubicBezTo>
                  <a:pt x="885602" y="465462"/>
                  <a:pt x="857325" y="547764"/>
                  <a:pt x="805160" y="614591"/>
                </a:cubicBezTo>
                <a:lnTo>
                  <a:pt x="857362" y="603466"/>
                </a:lnTo>
                <a:lnTo>
                  <a:pt x="857399" y="603466"/>
                </a:lnTo>
                <a:cubicBezTo>
                  <a:pt x="865399" y="601754"/>
                  <a:pt x="873287" y="606889"/>
                  <a:pt x="874999" y="614925"/>
                </a:cubicBezTo>
                <a:cubicBezTo>
                  <a:pt x="876710" y="622925"/>
                  <a:pt x="871576" y="630813"/>
                  <a:pt x="863539" y="632525"/>
                </a:cubicBezTo>
                <a:lnTo>
                  <a:pt x="768401" y="652803"/>
                </a:lnTo>
                <a:cubicBezTo>
                  <a:pt x="763936" y="654068"/>
                  <a:pt x="759136" y="653137"/>
                  <a:pt x="755415" y="650310"/>
                </a:cubicBezTo>
                <a:cubicBezTo>
                  <a:pt x="751694" y="647519"/>
                  <a:pt x="749536" y="643129"/>
                  <a:pt x="749536" y="638478"/>
                </a:cubicBezTo>
                <a:lnTo>
                  <a:pt x="749536" y="558780"/>
                </a:lnTo>
                <a:cubicBezTo>
                  <a:pt x="749536" y="550557"/>
                  <a:pt x="756196" y="543897"/>
                  <a:pt x="764419" y="543897"/>
                </a:cubicBezTo>
                <a:cubicBezTo>
                  <a:pt x="772642" y="543897"/>
                  <a:pt x="779302" y="550557"/>
                  <a:pt x="779302" y="558780"/>
                </a:cubicBezTo>
                <a:close/>
                <a:moveTo>
                  <a:pt x="504829" y="241145"/>
                </a:moveTo>
                <a:cubicBezTo>
                  <a:pt x="541813" y="241145"/>
                  <a:pt x="577346" y="255842"/>
                  <a:pt x="603499" y="282036"/>
                </a:cubicBezTo>
                <a:cubicBezTo>
                  <a:pt x="629693" y="308193"/>
                  <a:pt x="644390" y="343689"/>
                  <a:pt x="644390" y="380706"/>
                </a:cubicBezTo>
                <a:cubicBezTo>
                  <a:pt x="644390" y="417723"/>
                  <a:pt x="629693" y="453222"/>
                  <a:pt x="603499" y="479413"/>
                </a:cubicBezTo>
                <a:cubicBezTo>
                  <a:pt x="577342" y="505607"/>
                  <a:pt x="541809" y="520304"/>
                  <a:pt x="504829" y="520304"/>
                </a:cubicBezTo>
                <a:cubicBezTo>
                  <a:pt x="467809" y="520304"/>
                  <a:pt x="432276" y="505607"/>
                  <a:pt x="406122" y="479413"/>
                </a:cubicBezTo>
                <a:cubicBezTo>
                  <a:pt x="379928" y="453219"/>
                  <a:pt x="365231" y="417724"/>
                  <a:pt x="365231" y="380706"/>
                </a:cubicBezTo>
                <a:cubicBezTo>
                  <a:pt x="365231" y="343688"/>
                  <a:pt x="379928" y="308189"/>
                  <a:pt x="406122" y="282036"/>
                </a:cubicBezTo>
                <a:cubicBezTo>
                  <a:pt x="432278" y="255842"/>
                  <a:pt x="467811" y="241145"/>
                  <a:pt x="504829" y="241145"/>
                </a:cubicBezTo>
                <a:close/>
                <a:moveTo>
                  <a:pt x="504829" y="270911"/>
                </a:moveTo>
                <a:cubicBezTo>
                  <a:pt x="549218" y="270911"/>
                  <a:pt x="589289" y="297663"/>
                  <a:pt x="606252" y="338702"/>
                </a:cubicBezTo>
                <a:cubicBezTo>
                  <a:pt x="623256" y="379742"/>
                  <a:pt x="613879" y="426957"/>
                  <a:pt x="582476" y="458355"/>
                </a:cubicBezTo>
                <a:cubicBezTo>
                  <a:pt x="551036" y="489758"/>
                  <a:pt x="503821" y="499172"/>
                  <a:pt x="462785" y="482168"/>
                </a:cubicBezTo>
                <a:cubicBezTo>
                  <a:pt x="421746" y="465164"/>
                  <a:pt x="394994" y="425129"/>
                  <a:pt x="394994" y="380708"/>
                </a:cubicBezTo>
                <a:cubicBezTo>
                  <a:pt x="394994" y="351574"/>
                  <a:pt x="406565" y="323669"/>
                  <a:pt x="427141" y="303057"/>
                </a:cubicBezTo>
                <a:cubicBezTo>
                  <a:pt x="447754" y="282481"/>
                  <a:pt x="475696" y="270910"/>
                  <a:pt x="504791" y="270910"/>
                </a:cubicBezTo>
                <a:close/>
              </a:path>
            </a:pathLst>
          </a:custGeom>
          <a:solidFill>
            <a:schemeClr val="bg1"/>
          </a:solidFill>
          <a:ln w="9525" cap="flat">
            <a:noFill/>
            <a:prstDash val="solid"/>
            <a:miter/>
          </a:ln>
        </p:spPr>
        <p:txBody>
          <a:bodyPr rtlCol="0" anchor="ctr"/>
          <a:lstStyle/>
          <a:p>
            <a:endParaRPr lang="en-US" noProof="0" dirty="0"/>
          </a:p>
        </p:txBody>
      </p:sp>
      <p:sp>
        <p:nvSpPr>
          <p:cNvPr id="12" name="Rectangle 7">
            <a:extLst>
              <a:ext uri="{FF2B5EF4-FFF2-40B4-BE49-F238E27FC236}">
                <a16:creationId xmlns:a16="http://schemas.microsoft.com/office/drawing/2014/main" id="{70BC715B-3C71-BD2C-828D-AB6331265D1F}"/>
              </a:ext>
            </a:extLst>
          </p:cNvPr>
          <p:cNvSpPr>
            <a:spLocks noChangeArrowheads="1"/>
          </p:cNvSpPr>
          <p:nvPr/>
        </p:nvSpPr>
        <p:spPr bwMode="auto">
          <a:xfrm>
            <a:off x="0" y="-323165"/>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noProof="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noProof="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943038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8522C-AC0C-4EC2-4182-F57DEABAE700}"/>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6FBA42AB-69B0-5B61-9B87-A91EC3C86894}"/>
              </a:ext>
            </a:extLst>
          </p:cNvPr>
          <p:cNvSpPr/>
          <p:nvPr/>
        </p:nvSpPr>
        <p:spPr>
          <a:xfrm>
            <a:off x="666266" y="440789"/>
            <a:ext cx="9879814" cy="523220"/>
          </a:xfrm>
          <a:prstGeom prst="rect">
            <a:avLst/>
          </a:prstGeom>
          <a:noFill/>
        </p:spPr>
        <p:txBody>
          <a:bodyPr wrap="square" lIns="91440" tIns="45720" rIns="91440" bIns="45720" anchor="t">
            <a:spAutoFit/>
          </a:bodyPr>
          <a:lstStyle/>
          <a:p>
            <a:r>
              <a:rPr lang="en-US" sz="2800">
                <a:solidFill>
                  <a:srgbClr val="FF0000"/>
                </a:solidFill>
                <a:latin typeface="Roboto medium" pitchFamily="2" charset="0"/>
                <a:ea typeface="Roboto medium" pitchFamily="2" charset="0"/>
              </a:rPr>
              <a:t>Accelerate Payment Posting with </a:t>
            </a:r>
            <a:r>
              <a:rPr lang="en-US" sz="2800" err="1">
                <a:solidFill>
                  <a:srgbClr val="FF0000"/>
                </a:solidFill>
                <a:latin typeface="Roboto medium" pitchFamily="2" charset="0"/>
                <a:ea typeface="Roboto medium" pitchFamily="2" charset="0"/>
              </a:rPr>
              <a:t>AcceliHealth's</a:t>
            </a:r>
            <a:r>
              <a:rPr lang="en-US" sz="2800">
                <a:solidFill>
                  <a:srgbClr val="FF0000"/>
                </a:solidFill>
                <a:latin typeface="Roboto medium" pitchFamily="2" charset="0"/>
                <a:ea typeface="Roboto medium" pitchFamily="2" charset="0"/>
              </a:rPr>
              <a:t> AI Agents</a:t>
            </a:r>
          </a:p>
        </p:txBody>
      </p:sp>
      <p:sp>
        <p:nvSpPr>
          <p:cNvPr id="15" name="Rectangle 14">
            <a:extLst>
              <a:ext uri="{FF2B5EF4-FFF2-40B4-BE49-F238E27FC236}">
                <a16:creationId xmlns:a16="http://schemas.microsoft.com/office/drawing/2014/main" id="{B38903E5-7133-2D5B-CF55-9C86E891969F}"/>
              </a:ext>
            </a:extLst>
          </p:cNvPr>
          <p:cNvSpPr/>
          <p:nvPr/>
        </p:nvSpPr>
        <p:spPr>
          <a:xfrm>
            <a:off x="599273" y="1425376"/>
            <a:ext cx="9676614" cy="646331"/>
          </a:xfrm>
          <a:prstGeom prst="rect">
            <a:avLst/>
          </a:prstGeom>
          <a:noFill/>
        </p:spPr>
        <p:txBody>
          <a:bodyPr wrap="square" lIns="91440" tIns="45720" rIns="91440" bIns="45720">
            <a:spAutoFit/>
          </a:bodyPr>
          <a:lstStyle/>
          <a:p>
            <a:r>
              <a:rPr lang="en-US">
                <a:solidFill>
                  <a:srgbClr val="595959"/>
                </a:solidFill>
                <a:latin typeface="Roboto" pitchFamily="2" charset="0"/>
                <a:ea typeface="Roboto" pitchFamily="2" charset="0"/>
              </a:rPr>
              <a:t>By combining the cognitive intelligence of Agentic AI with the efficiency of RPA, your organization can experience:</a:t>
            </a:r>
          </a:p>
        </p:txBody>
      </p:sp>
      <p:pic>
        <p:nvPicPr>
          <p:cNvPr id="55" name="Picture 54" descr="A logo in a circle&#10;&#10;AI-generated content may be incorrect.">
            <a:extLst>
              <a:ext uri="{FF2B5EF4-FFF2-40B4-BE49-F238E27FC236}">
                <a16:creationId xmlns:a16="http://schemas.microsoft.com/office/drawing/2014/main" id="{E01E2F26-D8CC-D082-9128-6B08E89634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pic>
        <p:nvPicPr>
          <p:cNvPr id="4" name="Picture 3" descr="A blue and white rectangular object with a white circle&#10;&#10;AI-generated content may be incorrect.">
            <a:extLst>
              <a:ext uri="{FF2B5EF4-FFF2-40B4-BE49-F238E27FC236}">
                <a16:creationId xmlns:a16="http://schemas.microsoft.com/office/drawing/2014/main" id="{EBF3B750-FD2A-EE30-C4EC-C83105DCBF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1804" y="2354006"/>
            <a:ext cx="2363182" cy="3859758"/>
          </a:xfrm>
          <a:prstGeom prst="rect">
            <a:avLst/>
          </a:prstGeom>
        </p:spPr>
      </p:pic>
      <p:sp>
        <p:nvSpPr>
          <p:cNvPr id="6" name="Rectangle 5">
            <a:extLst>
              <a:ext uri="{FF2B5EF4-FFF2-40B4-BE49-F238E27FC236}">
                <a16:creationId xmlns:a16="http://schemas.microsoft.com/office/drawing/2014/main" id="{02F1F23C-C93E-6C33-A8FD-4CBD70A9C867}"/>
              </a:ext>
            </a:extLst>
          </p:cNvPr>
          <p:cNvSpPr/>
          <p:nvPr/>
        </p:nvSpPr>
        <p:spPr>
          <a:xfrm>
            <a:off x="6069893" y="3449538"/>
            <a:ext cx="2208590" cy="830997"/>
          </a:xfrm>
          <a:prstGeom prst="rect">
            <a:avLst/>
          </a:prstGeom>
          <a:noFill/>
        </p:spPr>
        <p:txBody>
          <a:bodyPr wrap="square" lIns="91440" tIns="45720" rIns="91440" bIns="45720">
            <a:spAutoFit/>
          </a:bodyPr>
          <a:lstStyle/>
          <a:p>
            <a:pPr marL="171450" indent="-171450">
              <a:spcBef>
                <a:spcPts val="600"/>
              </a:spcBef>
              <a:buFont typeface="Arial" panose="020B0604020202020204" pitchFamily="34" charset="0"/>
              <a:buChar char="•"/>
            </a:pPr>
            <a:r>
              <a:rPr lang="en-US" sz="1200">
                <a:latin typeface="Roboto"/>
                <a:ea typeface="Roboto"/>
                <a:cs typeface="Roboto"/>
              </a:rPr>
              <a:t>AI Agents reconcile deposits and detect and explain breaks in the ERA/EFT pairing</a:t>
            </a:r>
            <a:r>
              <a:rPr lang="es-CO" sz="1200">
                <a:latin typeface="Roboto"/>
                <a:ea typeface="Roboto"/>
                <a:cs typeface="Roboto"/>
              </a:rPr>
              <a:t>.</a:t>
            </a:r>
            <a:r>
              <a:rPr lang="en-US" sz="1200">
                <a:solidFill>
                  <a:schemeClr val="tx1">
                    <a:lumMod val="65000"/>
                    <a:lumOff val="35000"/>
                  </a:schemeClr>
                </a:solidFill>
                <a:effectLst/>
                <a:latin typeface="Roboto"/>
                <a:ea typeface="Roboto"/>
                <a:cs typeface="Roboto"/>
              </a:rPr>
              <a:t>​</a:t>
            </a:r>
            <a:endParaRPr lang="en-US" sz="1200" cap="none" spc="0">
              <a:ln w="0"/>
              <a:solidFill>
                <a:schemeClr val="tx1">
                  <a:lumMod val="65000"/>
                  <a:lumOff val="35000"/>
                </a:schemeClr>
              </a:solidFill>
              <a:effectLst/>
              <a:latin typeface="Roboto"/>
              <a:ea typeface="Roboto"/>
              <a:cs typeface="Roboto"/>
            </a:endParaRPr>
          </a:p>
        </p:txBody>
      </p:sp>
      <p:sp>
        <p:nvSpPr>
          <p:cNvPr id="7" name="Rectangle 6">
            <a:extLst>
              <a:ext uri="{FF2B5EF4-FFF2-40B4-BE49-F238E27FC236}">
                <a16:creationId xmlns:a16="http://schemas.microsoft.com/office/drawing/2014/main" id="{BAA8C1F9-3F43-1E12-E95B-588180ABAAE8}"/>
              </a:ext>
            </a:extLst>
          </p:cNvPr>
          <p:cNvSpPr/>
          <p:nvPr/>
        </p:nvSpPr>
        <p:spPr>
          <a:xfrm>
            <a:off x="6271340" y="2464193"/>
            <a:ext cx="1758069" cy="523220"/>
          </a:xfrm>
          <a:prstGeom prst="rect">
            <a:avLst/>
          </a:prstGeom>
          <a:noFill/>
        </p:spPr>
        <p:txBody>
          <a:bodyPr wrap="square" lIns="91440" tIns="45720" rIns="91440" bIns="45720">
            <a:spAutoFit/>
          </a:bodyPr>
          <a:lstStyle/>
          <a:p>
            <a:pPr algn="ctr"/>
            <a:r>
              <a:rPr lang="es-CO" sz="1400" err="1">
                <a:solidFill>
                  <a:schemeClr val="bg1"/>
                </a:solidFill>
              </a:rPr>
              <a:t>Accelerated</a:t>
            </a:r>
            <a:r>
              <a:rPr lang="es-CO" sz="1400">
                <a:solidFill>
                  <a:schemeClr val="bg1"/>
                </a:solidFill>
              </a:rPr>
              <a:t> </a:t>
            </a:r>
            <a:r>
              <a:rPr lang="es-CO" sz="1400" err="1">
                <a:solidFill>
                  <a:schemeClr val="bg1"/>
                </a:solidFill>
              </a:rPr>
              <a:t>Reconciliation</a:t>
            </a:r>
            <a:endParaRPr lang="en-US" sz="1300" cap="none" spc="0">
              <a:ln w="0"/>
              <a:solidFill>
                <a:schemeClr val="bg1"/>
              </a:solidFill>
              <a:effectLst/>
              <a:latin typeface="Roboto" pitchFamily="2" charset="0"/>
              <a:ea typeface="Roboto" pitchFamily="2" charset="0"/>
            </a:endParaRPr>
          </a:p>
        </p:txBody>
      </p:sp>
      <p:sp>
        <p:nvSpPr>
          <p:cNvPr id="8" name="Rectangle 7">
            <a:extLst>
              <a:ext uri="{FF2B5EF4-FFF2-40B4-BE49-F238E27FC236}">
                <a16:creationId xmlns:a16="http://schemas.microsoft.com/office/drawing/2014/main" id="{F1494202-672D-B6BF-6B50-700D444BE519}"/>
              </a:ext>
            </a:extLst>
          </p:cNvPr>
          <p:cNvSpPr/>
          <p:nvPr/>
        </p:nvSpPr>
        <p:spPr>
          <a:xfrm>
            <a:off x="6295152" y="4717733"/>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9" name="Rectangle 8">
            <a:extLst>
              <a:ext uri="{FF2B5EF4-FFF2-40B4-BE49-F238E27FC236}">
                <a16:creationId xmlns:a16="http://schemas.microsoft.com/office/drawing/2014/main" id="{5FCA153B-02AB-B7E8-7D09-D9FEE42870BC}"/>
              </a:ext>
            </a:extLst>
          </p:cNvPr>
          <p:cNvSpPr/>
          <p:nvPr/>
        </p:nvSpPr>
        <p:spPr>
          <a:xfrm>
            <a:off x="6224485" y="5262653"/>
            <a:ext cx="1944484" cy="830997"/>
          </a:xfrm>
          <a:prstGeom prst="rect">
            <a:avLst/>
          </a:prstGeom>
          <a:noFill/>
        </p:spPr>
        <p:txBody>
          <a:bodyPr wrap="square" lIns="91440" tIns="45720" rIns="91440" bIns="45720">
            <a:spAutoFit/>
          </a:bodyPr>
          <a:lstStyle/>
          <a:p>
            <a:r>
              <a:rPr lang="en-US" sz="1200">
                <a:latin typeface="Roboto"/>
                <a:ea typeface="Roboto"/>
                <a:cs typeface="Roboto"/>
              </a:rPr>
              <a:t>Shortens month-end close cycles and reduces manual reconciliation friction.</a:t>
            </a:r>
            <a:endParaRPr lang="en-US" sz="1200" cap="none" spc="0">
              <a:ln w="0"/>
              <a:solidFill>
                <a:schemeClr val="tx1">
                  <a:lumMod val="65000"/>
                  <a:lumOff val="35000"/>
                </a:schemeClr>
              </a:solidFill>
              <a:effectLst/>
              <a:latin typeface="Roboto"/>
              <a:ea typeface="Roboto"/>
              <a:cs typeface="Roboto"/>
            </a:endParaRPr>
          </a:p>
        </p:txBody>
      </p:sp>
      <p:pic>
        <p:nvPicPr>
          <p:cNvPr id="11" name="Picture 10" descr="A blue and white rectangular object with a white circle&#10;&#10;AI-generated content may be incorrect.">
            <a:extLst>
              <a:ext uri="{FF2B5EF4-FFF2-40B4-BE49-F238E27FC236}">
                <a16:creationId xmlns:a16="http://schemas.microsoft.com/office/drawing/2014/main" id="{EA853355-2416-8732-E009-6E605005B3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2395" y="2354006"/>
            <a:ext cx="2363182" cy="3859758"/>
          </a:xfrm>
          <a:prstGeom prst="rect">
            <a:avLst/>
          </a:prstGeom>
        </p:spPr>
      </p:pic>
      <p:sp>
        <p:nvSpPr>
          <p:cNvPr id="13" name="Rectangle 12">
            <a:extLst>
              <a:ext uri="{FF2B5EF4-FFF2-40B4-BE49-F238E27FC236}">
                <a16:creationId xmlns:a16="http://schemas.microsoft.com/office/drawing/2014/main" id="{B6F24872-224F-9166-57CD-304D8FF8F9BA}"/>
              </a:ext>
            </a:extLst>
          </p:cNvPr>
          <p:cNvSpPr/>
          <p:nvPr/>
        </p:nvSpPr>
        <p:spPr>
          <a:xfrm>
            <a:off x="1242395" y="3449538"/>
            <a:ext cx="2208590" cy="830997"/>
          </a:xfrm>
          <a:prstGeom prst="rect">
            <a:avLst/>
          </a:prstGeom>
          <a:noFill/>
        </p:spPr>
        <p:txBody>
          <a:bodyPr wrap="square" lIns="91440" tIns="45720" rIns="91440" bIns="45720">
            <a:spAutoFit/>
          </a:bodyPr>
          <a:lstStyle/>
          <a:p>
            <a:pPr marL="171450" indent="-171450">
              <a:spcBef>
                <a:spcPts val="600"/>
              </a:spcBef>
              <a:buFont typeface="Arial" panose="020B0604020202020204" pitchFamily="34" charset="0"/>
              <a:buChar char="•"/>
            </a:pPr>
            <a:r>
              <a:rPr lang="en-US" sz="1200">
                <a:latin typeface="Roboto"/>
                <a:ea typeface="Roboto"/>
                <a:cs typeface="Roboto"/>
              </a:rPr>
              <a:t>RPA handles deterministic interactions like file handling and screen navigation</a:t>
            </a:r>
            <a:endParaRPr lang="en-US" sz="1200" cap="none" spc="0">
              <a:ln w="0"/>
              <a:solidFill>
                <a:schemeClr val="tx1">
                  <a:lumMod val="65000"/>
                  <a:lumOff val="35000"/>
                </a:schemeClr>
              </a:solidFill>
              <a:effectLst/>
              <a:latin typeface="Roboto"/>
              <a:ea typeface="Roboto"/>
              <a:cs typeface="Roboto"/>
            </a:endParaRPr>
          </a:p>
        </p:txBody>
      </p:sp>
      <p:sp>
        <p:nvSpPr>
          <p:cNvPr id="16" name="Rectangle 15">
            <a:extLst>
              <a:ext uri="{FF2B5EF4-FFF2-40B4-BE49-F238E27FC236}">
                <a16:creationId xmlns:a16="http://schemas.microsoft.com/office/drawing/2014/main" id="{5D9A3462-01FF-5C25-20D8-E6694331D935}"/>
              </a:ext>
            </a:extLst>
          </p:cNvPr>
          <p:cNvSpPr/>
          <p:nvPr/>
        </p:nvSpPr>
        <p:spPr>
          <a:xfrm>
            <a:off x="1578780" y="2464193"/>
            <a:ext cx="1758069" cy="523220"/>
          </a:xfrm>
          <a:prstGeom prst="rect">
            <a:avLst/>
          </a:prstGeom>
          <a:noFill/>
        </p:spPr>
        <p:txBody>
          <a:bodyPr wrap="square" lIns="91440" tIns="45720" rIns="91440" bIns="45720">
            <a:spAutoFit/>
          </a:bodyPr>
          <a:lstStyle/>
          <a:p>
            <a:pPr algn="ctr"/>
            <a:r>
              <a:rPr lang="es-CO" sz="1400" err="1">
                <a:solidFill>
                  <a:schemeClr val="bg1"/>
                </a:solidFill>
              </a:rPr>
              <a:t>Increased</a:t>
            </a:r>
            <a:r>
              <a:rPr lang="es-CO" sz="1400">
                <a:solidFill>
                  <a:schemeClr val="bg1"/>
                </a:solidFill>
              </a:rPr>
              <a:t> </a:t>
            </a:r>
            <a:r>
              <a:rPr lang="es-CO" sz="1400" err="1">
                <a:solidFill>
                  <a:schemeClr val="bg1"/>
                </a:solidFill>
              </a:rPr>
              <a:t>Speed</a:t>
            </a:r>
            <a:r>
              <a:rPr lang="es-CO" sz="1400">
                <a:solidFill>
                  <a:schemeClr val="bg1"/>
                </a:solidFill>
              </a:rPr>
              <a:t> &amp; </a:t>
            </a:r>
            <a:r>
              <a:rPr lang="es-CO" sz="1400" err="1">
                <a:solidFill>
                  <a:schemeClr val="bg1"/>
                </a:solidFill>
              </a:rPr>
              <a:t>Efficiency</a:t>
            </a:r>
            <a:endParaRPr lang="en-US" sz="1300" cap="none" spc="0">
              <a:ln w="0"/>
              <a:solidFill>
                <a:schemeClr val="bg1"/>
              </a:solidFill>
              <a:effectLst/>
              <a:latin typeface="Roboto" pitchFamily="2" charset="0"/>
              <a:ea typeface="Roboto" pitchFamily="2" charset="0"/>
            </a:endParaRPr>
          </a:p>
        </p:txBody>
      </p:sp>
      <p:sp>
        <p:nvSpPr>
          <p:cNvPr id="18" name="Rectangle 17">
            <a:extLst>
              <a:ext uri="{FF2B5EF4-FFF2-40B4-BE49-F238E27FC236}">
                <a16:creationId xmlns:a16="http://schemas.microsoft.com/office/drawing/2014/main" id="{42A032A7-757F-03EC-F239-22181043E90E}"/>
              </a:ext>
            </a:extLst>
          </p:cNvPr>
          <p:cNvSpPr/>
          <p:nvPr/>
        </p:nvSpPr>
        <p:spPr>
          <a:xfrm>
            <a:off x="1475592" y="4717733"/>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20" name="Rectangle 19">
            <a:extLst>
              <a:ext uri="{FF2B5EF4-FFF2-40B4-BE49-F238E27FC236}">
                <a16:creationId xmlns:a16="http://schemas.microsoft.com/office/drawing/2014/main" id="{8C015030-D32A-6D0D-5049-7BD27980A2CF}"/>
              </a:ext>
            </a:extLst>
          </p:cNvPr>
          <p:cNvSpPr/>
          <p:nvPr/>
        </p:nvSpPr>
        <p:spPr>
          <a:xfrm>
            <a:off x="1258731" y="5241871"/>
            <a:ext cx="2208590" cy="830997"/>
          </a:xfrm>
          <a:prstGeom prst="rect">
            <a:avLst/>
          </a:prstGeom>
          <a:noFill/>
        </p:spPr>
        <p:txBody>
          <a:bodyPr wrap="square" lIns="91440" tIns="45720" rIns="91440" bIns="45720" anchor="t">
            <a:spAutoFit/>
          </a:bodyPr>
          <a:lstStyle/>
          <a:p>
            <a:pPr lvl="0" eaLnBrk="0" fontAlgn="base" hangingPunct="0">
              <a:spcBef>
                <a:spcPct val="0"/>
              </a:spcBef>
              <a:spcAft>
                <a:spcPct val="0"/>
              </a:spcAft>
            </a:pPr>
            <a:r>
              <a:rPr lang="es-CO" altLang="es-CO" sz="1200">
                <a:latin typeface="Roboto"/>
                <a:ea typeface="Roboto"/>
                <a:cs typeface="Roboto"/>
              </a:rPr>
              <a:t>30–60% </a:t>
            </a:r>
            <a:r>
              <a:rPr lang="es-CO" altLang="es-CO" sz="1200" err="1">
                <a:latin typeface="Roboto"/>
                <a:ea typeface="Roboto"/>
                <a:cs typeface="Roboto"/>
              </a:rPr>
              <a:t>reduction</a:t>
            </a:r>
            <a:r>
              <a:rPr lang="es-CO" altLang="es-CO" sz="1200">
                <a:latin typeface="Roboto"/>
                <a:ea typeface="Roboto"/>
                <a:cs typeface="Roboto"/>
              </a:rPr>
              <a:t> in manual </a:t>
            </a:r>
            <a:r>
              <a:rPr lang="es-CO" altLang="es-CO" sz="1200" err="1">
                <a:latin typeface="Roboto"/>
                <a:ea typeface="Roboto"/>
                <a:cs typeface="Roboto"/>
              </a:rPr>
              <a:t>posting</a:t>
            </a:r>
            <a:r>
              <a:rPr lang="es-CO" altLang="es-CO" sz="1200">
                <a:latin typeface="Roboto"/>
                <a:ea typeface="Roboto"/>
                <a:cs typeface="Roboto"/>
              </a:rPr>
              <a:t> </a:t>
            </a:r>
            <a:r>
              <a:rPr lang="es-CO" altLang="es-CO" sz="1200" err="1">
                <a:latin typeface="Roboto"/>
                <a:ea typeface="Roboto"/>
                <a:cs typeface="Roboto"/>
              </a:rPr>
              <a:t>touches</a:t>
            </a:r>
            <a:r>
              <a:rPr lang="es-CO" altLang="es-CO" sz="1200">
                <a:latin typeface="Roboto"/>
                <a:ea typeface="Roboto"/>
                <a:cs typeface="Roboto"/>
              </a:rPr>
              <a:t> and </a:t>
            </a:r>
            <a:r>
              <a:rPr lang="es-CO" altLang="es-CO" sz="1200" err="1">
                <a:latin typeface="Roboto"/>
                <a:ea typeface="Roboto"/>
                <a:cs typeface="Roboto"/>
              </a:rPr>
              <a:t>compresses</a:t>
            </a:r>
            <a:r>
              <a:rPr lang="es-CO" altLang="es-CO" sz="1200">
                <a:latin typeface="Roboto"/>
                <a:ea typeface="Roboto"/>
                <a:cs typeface="Roboto"/>
              </a:rPr>
              <a:t> time-</a:t>
            </a:r>
            <a:r>
              <a:rPr lang="es-CO" altLang="es-CO" sz="1200" err="1">
                <a:latin typeface="Roboto"/>
                <a:ea typeface="Roboto"/>
                <a:cs typeface="Roboto"/>
              </a:rPr>
              <a:t>to</a:t>
            </a:r>
            <a:r>
              <a:rPr lang="es-CO" altLang="es-CO" sz="1200">
                <a:latin typeface="Roboto"/>
                <a:ea typeface="Roboto"/>
                <a:cs typeface="Roboto"/>
              </a:rPr>
              <a:t>-post </a:t>
            </a:r>
            <a:r>
              <a:rPr lang="es-CO" altLang="es-CO" sz="1200" err="1">
                <a:latin typeface="Roboto"/>
                <a:ea typeface="Roboto"/>
                <a:cs typeface="Roboto"/>
              </a:rPr>
              <a:t>from</a:t>
            </a:r>
            <a:r>
              <a:rPr lang="es-CO" altLang="es-CO" sz="1200">
                <a:latin typeface="Roboto"/>
                <a:ea typeface="Roboto"/>
                <a:cs typeface="Roboto"/>
              </a:rPr>
              <a:t> </a:t>
            </a:r>
            <a:r>
              <a:rPr lang="es-CO" altLang="es-CO" sz="1200" err="1">
                <a:latin typeface="Roboto"/>
                <a:ea typeface="Roboto"/>
                <a:cs typeface="Roboto"/>
              </a:rPr>
              <a:t>hours</a:t>
            </a:r>
            <a:r>
              <a:rPr lang="es-CO" altLang="es-CO" sz="1200">
                <a:latin typeface="Roboto"/>
                <a:ea typeface="Roboto"/>
                <a:cs typeface="Roboto"/>
              </a:rPr>
              <a:t> </a:t>
            </a:r>
            <a:r>
              <a:rPr lang="es-CO" altLang="es-CO" sz="1200" err="1">
                <a:latin typeface="Roboto"/>
                <a:ea typeface="Roboto"/>
                <a:cs typeface="Roboto"/>
              </a:rPr>
              <a:t>to</a:t>
            </a:r>
            <a:r>
              <a:rPr lang="es-CO" altLang="es-CO" sz="1200">
                <a:latin typeface="Roboto"/>
                <a:ea typeface="Roboto"/>
                <a:cs typeface="Roboto"/>
              </a:rPr>
              <a:t> </a:t>
            </a:r>
            <a:r>
              <a:rPr lang="es-CO" altLang="es-CO" sz="1200" err="1">
                <a:latin typeface="Roboto"/>
                <a:ea typeface="Roboto"/>
                <a:cs typeface="Roboto"/>
              </a:rPr>
              <a:t>near</a:t>
            </a:r>
            <a:r>
              <a:rPr lang="es-CO" altLang="es-CO" sz="1200">
                <a:latin typeface="Roboto"/>
                <a:ea typeface="Roboto"/>
                <a:cs typeface="Roboto"/>
              </a:rPr>
              <a:t>-real-time.</a:t>
            </a:r>
            <a:endParaRPr lang="es-ES" sz="1200">
              <a:latin typeface="Roboto"/>
              <a:ea typeface="Roboto"/>
              <a:cs typeface="Roboto"/>
            </a:endParaRPr>
          </a:p>
        </p:txBody>
      </p:sp>
      <p:pic>
        <p:nvPicPr>
          <p:cNvPr id="22" name="Picture 21" descr="A blue and white rectangular object with a white circle&#10;&#10;AI-generated content may be incorrect.">
            <a:extLst>
              <a:ext uri="{FF2B5EF4-FFF2-40B4-BE49-F238E27FC236}">
                <a16:creationId xmlns:a16="http://schemas.microsoft.com/office/drawing/2014/main" id="{A5DCF67A-8CA2-BDB9-5C81-DA669A50A0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4294" y="2354006"/>
            <a:ext cx="2363182" cy="3859758"/>
          </a:xfrm>
          <a:prstGeom prst="rect">
            <a:avLst/>
          </a:prstGeom>
        </p:spPr>
      </p:pic>
      <p:sp>
        <p:nvSpPr>
          <p:cNvPr id="23" name="Rectangle 22">
            <a:extLst>
              <a:ext uri="{FF2B5EF4-FFF2-40B4-BE49-F238E27FC236}">
                <a16:creationId xmlns:a16="http://schemas.microsoft.com/office/drawing/2014/main" id="{ACBB27EA-38F0-9B76-0BA5-E8D12959B5EB}"/>
              </a:ext>
            </a:extLst>
          </p:cNvPr>
          <p:cNvSpPr/>
          <p:nvPr/>
        </p:nvSpPr>
        <p:spPr>
          <a:xfrm>
            <a:off x="3614294" y="3449538"/>
            <a:ext cx="2208590" cy="1015663"/>
          </a:xfrm>
          <a:prstGeom prst="rect">
            <a:avLst/>
          </a:prstGeom>
          <a:noFill/>
        </p:spPr>
        <p:txBody>
          <a:bodyPr wrap="square" lIns="91440" tIns="45720" rIns="91440" bIns="45720">
            <a:spAutoFit/>
          </a:bodyPr>
          <a:lstStyle/>
          <a:p>
            <a:pPr marL="171450" indent="-171450">
              <a:spcBef>
                <a:spcPts val="600"/>
              </a:spcBef>
              <a:buFont typeface="Arial" panose="020B0604020202020204" pitchFamily="34" charset="0"/>
              <a:buChar char="•"/>
            </a:pPr>
            <a:r>
              <a:rPr lang="en-US" sz="1200">
                <a:latin typeface="Roboto"/>
                <a:ea typeface="Roboto"/>
                <a:cs typeface="Roboto"/>
              </a:rPr>
              <a:t>AI Agents perform the “thinking steps” like comparing contract terms and flagging underpayments.</a:t>
            </a:r>
            <a:r>
              <a:rPr lang="en-US" sz="1200">
                <a:solidFill>
                  <a:schemeClr val="tx1">
                    <a:lumMod val="65000"/>
                    <a:lumOff val="35000"/>
                  </a:schemeClr>
                </a:solidFill>
                <a:effectLst/>
                <a:latin typeface="Roboto"/>
                <a:ea typeface="Roboto"/>
                <a:cs typeface="Roboto"/>
              </a:rPr>
              <a:t>.​</a:t>
            </a:r>
            <a:endParaRPr lang="en-US" sz="1200" cap="none" spc="0">
              <a:ln w="0"/>
              <a:solidFill>
                <a:schemeClr val="tx1">
                  <a:lumMod val="65000"/>
                  <a:lumOff val="35000"/>
                </a:schemeClr>
              </a:solidFill>
              <a:effectLst/>
              <a:latin typeface="Roboto"/>
              <a:ea typeface="Roboto"/>
              <a:cs typeface="Roboto"/>
            </a:endParaRPr>
          </a:p>
        </p:txBody>
      </p:sp>
      <p:sp>
        <p:nvSpPr>
          <p:cNvPr id="24" name="Rectangle 23">
            <a:extLst>
              <a:ext uri="{FF2B5EF4-FFF2-40B4-BE49-F238E27FC236}">
                <a16:creationId xmlns:a16="http://schemas.microsoft.com/office/drawing/2014/main" id="{6AB1901A-B19C-F586-7AF7-B7045A28E855}"/>
              </a:ext>
            </a:extLst>
          </p:cNvPr>
          <p:cNvSpPr/>
          <p:nvPr/>
        </p:nvSpPr>
        <p:spPr>
          <a:xfrm>
            <a:off x="3839554" y="2464193"/>
            <a:ext cx="1758069" cy="523220"/>
          </a:xfrm>
          <a:prstGeom prst="rect">
            <a:avLst/>
          </a:prstGeom>
          <a:noFill/>
        </p:spPr>
        <p:txBody>
          <a:bodyPr wrap="square" lIns="91440" tIns="45720" rIns="91440" bIns="45720">
            <a:spAutoFit/>
          </a:bodyPr>
          <a:lstStyle/>
          <a:p>
            <a:pPr algn="ctr"/>
            <a:r>
              <a:rPr lang="es-CO" sz="1400" err="1">
                <a:solidFill>
                  <a:schemeClr val="bg1"/>
                </a:solidFill>
              </a:rPr>
              <a:t>Reduced</a:t>
            </a:r>
            <a:r>
              <a:rPr lang="es-CO" sz="1400">
                <a:solidFill>
                  <a:schemeClr val="bg1"/>
                </a:solidFill>
              </a:rPr>
              <a:t> </a:t>
            </a:r>
            <a:r>
              <a:rPr lang="es-CO" sz="1400" err="1">
                <a:solidFill>
                  <a:schemeClr val="bg1"/>
                </a:solidFill>
              </a:rPr>
              <a:t>Revenue</a:t>
            </a:r>
            <a:r>
              <a:rPr lang="es-CO" sz="1400">
                <a:solidFill>
                  <a:schemeClr val="bg1"/>
                </a:solidFill>
              </a:rPr>
              <a:t> </a:t>
            </a:r>
            <a:r>
              <a:rPr lang="es-CO" sz="1400" err="1">
                <a:solidFill>
                  <a:schemeClr val="bg1"/>
                </a:solidFill>
              </a:rPr>
              <a:t>Leakage</a:t>
            </a:r>
            <a:endParaRPr lang="en-US" sz="1300" cap="none" spc="0">
              <a:ln w="0"/>
              <a:solidFill>
                <a:schemeClr val="bg1"/>
              </a:solidFill>
              <a:effectLst/>
              <a:latin typeface="Roboto" pitchFamily="2" charset="0"/>
              <a:ea typeface="Roboto" pitchFamily="2" charset="0"/>
            </a:endParaRPr>
          </a:p>
        </p:txBody>
      </p:sp>
      <p:sp>
        <p:nvSpPr>
          <p:cNvPr id="26" name="Rectangle 25">
            <a:extLst>
              <a:ext uri="{FF2B5EF4-FFF2-40B4-BE49-F238E27FC236}">
                <a16:creationId xmlns:a16="http://schemas.microsoft.com/office/drawing/2014/main" id="{FCFC7F57-6169-F296-6DB8-CEBC5BD4229D}"/>
              </a:ext>
            </a:extLst>
          </p:cNvPr>
          <p:cNvSpPr/>
          <p:nvPr/>
        </p:nvSpPr>
        <p:spPr>
          <a:xfrm>
            <a:off x="3831616" y="4717733"/>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27" name="Rectangle 26">
            <a:extLst>
              <a:ext uri="{FF2B5EF4-FFF2-40B4-BE49-F238E27FC236}">
                <a16:creationId xmlns:a16="http://schemas.microsoft.com/office/drawing/2014/main" id="{9F033CDC-01CA-2E24-A666-44984BC479CF}"/>
              </a:ext>
            </a:extLst>
          </p:cNvPr>
          <p:cNvSpPr/>
          <p:nvPr/>
        </p:nvSpPr>
        <p:spPr>
          <a:xfrm>
            <a:off x="3768887" y="5262653"/>
            <a:ext cx="2208590" cy="830997"/>
          </a:xfrm>
          <a:prstGeom prst="rect">
            <a:avLst/>
          </a:prstGeom>
          <a:noFill/>
        </p:spPr>
        <p:txBody>
          <a:bodyPr wrap="square" lIns="91440" tIns="45720" rIns="91440" bIns="45720">
            <a:spAutoFit/>
          </a:bodyPr>
          <a:lstStyle/>
          <a:p>
            <a:r>
              <a:rPr lang="en-US" sz="1200">
                <a:latin typeface="Roboto"/>
                <a:ea typeface="Roboto"/>
                <a:cs typeface="Roboto"/>
              </a:rPr>
              <a:t>Earlier visibility into denials and underpayments, improving net collections through variance capture.</a:t>
            </a:r>
            <a:endParaRPr lang="es-CO" sz="1200">
              <a:latin typeface="Roboto"/>
              <a:ea typeface="Roboto"/>
              <a:cs typeface="Roboto"/>
            </a:endParaRPr>
          </a:p>
        </p:txBody>
      </p:sp>
      <p:sp>
        <p:nvSpPr>
          <p:cNvPr id="52" name="Freeform: Shape 51">
            <a:extLst>
              <a:ext uri="{FF2B5EF4-FFF2-40B4-BE49-F238E27FC236}">
                <a16:creationId xmlns:a16="http://schemas.microsoft.com/office/drawing/2014/main" id="{9EF47D4F-B28D-0872-34FD-053A6E74A341}"/>
              </a:ext>
            </a:extLst>
          </p:cNvPr>
          <p:cNvSpPr/>
          <p:nvPr/>
        </p:nvSpPr>
        <p:spPr>
          <a:xfrm>
            <a:off x="2246920" y="3080076"/>
            <a:ext cx="194188" cy="186234"/>
          </a:xfrm>
          <a:custGeom>
            <a:avLst/>
            <a:gdLst>
              <a:gd name="connsiteX0" fmla="*/ 867332 w 876336"/>
              <a:gd name="connsiteY0" fmla="*/ 822518 h 840442"/>
              <a:gd name="connsiteX1" fmla="*/ 850849 w 876336"/>
              <a:gd name="connsiteY1" fmla="*/ 822518 h 840442"/>
              <a:gd name="connsiteX2" fmla="*/ 850849 w 876336"/>
              <a:gd name="connsiteY2" fmla="*/ 676776 h 840442"/>
              <a:gd name="connsiteX3" fmla="*/ 815130 w 876336"/>
              <a:gd name="connsiteY3" fmla="*/ 640946 h 840442"/>
              <a:gd name="connsiteX4" fmla="*/ 726056 w 876336"/>
              <a:gd name="connsiteY4" fmla="*/ 640946 h 840442"/>
              <a:gd name="connsiteX5" fmla="*/ 690226 w 876336"/>
              <a:gd name="connsiteY5" fmla="*/ 676776 h 840442"/>
              <a:gd name="connsiteX6" fmla="*/ 690226 w 876336"/>
              <a:gd name="connsiteY6" fmla="*/ 822518 h 840442"/>
              <a:gd name="connsiteX7" fmla="*/ 629281 w 876336"/>
              <a:gd name="connsiteY7" fmla="*/ 822518 h 840442"/>
              <a:gd name="connsiteX8" fmla="*/ 629319 w 876336"/>
              <a:gd name="connsiteY8" fmla="*/ 539368 h 840442"/>
              <a:gd name="connsiteX9" fmla="*/ 593488 w 876336"/>
              <a:gd name="connsiteY9" fmla="*/ 503538 h 840442"/>
              <a:gd name="connsiteX10" fmla="*/ 504414 w 876336"/>
              <a:gd name="connsiteY10" fmla="*/ 503538 h 840442"/>
              <a:gd name="connsiteX11" fmla="*/ 468584 w 876336"/>
              <a:gd name="connsiteY11" fmla="*/ 539368 h 840442"/>
              <a:gd name="connsiteX12" fmla="*/ 468584 w 876336"/>
              <a:gd name="connsiteY12" fmla="*/ 822546 h 840442"/>
              <a:gd name="connsiteX13" fmla="*/ 407640 w 876336"/>
              <a:gd name="connsiteY13" fmla="*/ 822546 h 840442"/>
              <a:gd name="connsiteX14" fmla="*/ 407677 w 876336"/>
              <a:gd name="connsiteY14" fmla="*/ 401999 h 840442"/>
              <a:gd name="connsiteX15" fmla="*/ 371847 w 876336"/>
              <a:gd name="connsiteY15" fmla="*/ 366280 h 840442"/>
              <a:gd name="connsiteX16" fmla="*/ 282773 w 876336"/>
              <a:gd name="connsiteY16" fmla="*/ 366280 h 840442"/>
              <a:gd name="connsiteX17" fmla="*/ 246942 w 876336"/>
              <a:gd name="connsiteY17" fmla="*/ 401999 h 840442"/>
              <a:gd name="connsiteX18" fmla="*/ 246942 w 876336"/>
              <a:gd name="connsiteY18" fmla="*/ 822623 h 840442"/>
              <a:gd name="connsiteX19" fmla="*/ 185998 w 876336"/>
              <a:gd name="connsiteY19" fmla="*/ 822623 h 840442"/>
              <a:gd name="connsiteX20" fmla="*/ 186035 w 876336"/>
              <a:gd name="connsiteY20" fmla="*/ 264553 h 840442"/>
              <a:gd name="connsiteX21" fmla="*/ 150205 w 876336"/>
              <a:gd name="connsiteY21" fmla="*/ 228723 h 840442"/>
              <a:gd name="connsiteX22" fmla="*/ 61131 w 876336"/>
              <a:gd name="connsiteY22" fmla="*/ 228723 h 840442"/>
              <a:gd name="connsiteX23" fmla="*/ 25300 w 876336"/>
              <a:gd name="connsiteY23" fmla="*/ 264553 h 840442"/>
              <a:gd name="connsiteX24" fmla="*/ 25300 w 876336"/>
              <a:gd name="connsiteY24" fmla="*/ 822508 h 840442"/>
              <a:gd name="connsiteX25" fmla="*/ 8967 w 876336"/>
              <a:gd name="connsiteY25" fmla="*/ 822508 h 840442"/>
              <a:gd name="connsiteX26" fmla="*/ 0 w 876336"/>
              <a:gd name="connsiteY26" fmla="*/ 831475 h 840442"/>
              <a:gd name="connsiteX27" fmla="*/ 8967 w 876336"/>
              <a:gd name="connsiteY27" fmla="*/ 840442 h 840442"/>
              <a:gd name="connsiteX28" fmla="*/ 867370 w 876336"/>
              <a:gd name="connsiteY28" fmla="*/ 840442 h 840442"/>
              <a:gd name="connsiteX29" fmla="*/ 876336 w 876336"/>
              <a:gd name="connsiteY29" fmla="*/ 831475 h 840442"/>
              <a:gd name="connsiteX30" fmla="*/ 867332 w 876336"/>
              <a:gd name="connsiteY30" fmla="*/ 822508 h 840442"/>
              <a:gd name="connsiteX31" fmla="*/ 708198 w 876336"/>
              <a:gd name="connsiteY31" fmla="*/ 676814 h 840442"/>
              <a:gd name="connsiteX32" fmla="*/ 726095 w 876336"/>
              <a:gd name="connsiteY32" fmla="*/ 658917 h 840442"/>
              <a:gd name="connsiteX33" fmla="*/ 815168 w 876336"/>
              <a:gd name="connsiteY33" fmla="*/ 658917 h 840442"/>
              <a:gd name="connsiteX34" fmla="*/ 833065 w 876336"/>
              <a:gd name="connsiteY34" fmla="*/ 676814 h 840442"/>
              <a:gd name="connsiteX35" fmla="*/ 833065 w 876336"/>
              <a:gd name="connsiteY35" fmla="*/ 822556 h 840442"/>
              <a:gd name="connsiteX36" fmla="*/ 708202 w 876336"/>
              <a:gd name="connsiteY36" fmla="*/ 822519 h 840442"/>
              <a:gd name="connsiteX37" fmla="*/ 486523 w 876336"/>
              <a:gd name="connsiteY37" fmla="*/ 539368 h 840442"/>
              <a:gd name="connsiteX38" fmla="*/ 504419 w 876336"/>
              <a:gd name="connsiteY38" fmla="*/ 521472 h 840442"/>
              <a:gd name="connsiteX39" fmla="*/ 593493 w 876336"/>
              <a:gd name="connsiteY39" fmla="*/ 521472 h 840442"/>
              <a:gd name="connsiteX40" fmla="*/ 611390 w 876336"/>
              <a:gd name="connsiteY40" fmla="*/ 539368 h 840442"/>
              <a:gd name="connsiteX41" fmla="*/ 611390 w 876336"/>
              <a:gd name="connsiteY41" fmla="*/ 822546 h 840442"/>
              <a:gd name="connsiteX42" fmla="*/ 486526 w 876336"/>
              <a:gd name="connsiteY42" fmla="*/ 822509 h 840442"/>
              <a:gd name="connsiteX43" fmla="*/ 264876 w 876336"/>
              <a:gd name="connsiteY43" fmla="*/ 401999 h 840442"/>
              <a:gd name="connsiteX44" fmla="*/ 282772 w 876336"/>
              <a:gd name="connsiteY44" fmla="*/ 384102 h 840442"/>
              <a:gd name="connsiteX45" fmla="*/ 371846 w 876336"/>
              <a:gd name="connsiteY45" fmla="*/ 384102 h 840442"/>
              <a:gd name="connsiteX46" fmla="*/ 389743 w 876336"/>
              <a:gd name="connsiteY46" fmla="*/ 401999 h 840442"/>
              <a:gd name="connsiteX47" fmla="*/ 389743 w 876336"/>
              <a:gd name="connsiteY47" fmla="*/ 822623 h 840442"/>
              <a:gd name="connsiteX48" fmla="*/ 264880 w 876336"/>
              <a:gd name="connsiteY48" fmla="*/ 822623 h 840442"/>
              <a:gd name="connsiteX49" fmla="*/ 43229 w 876336"/>
              <a:gd name="connsiteY49" fmla="*/ 264553 h 840442"/>
              <a:gd name="connsiteX50" fmla="*/ 61126 w 876336"/>
              <a:gd name="connsiteY50" fmla="*/ 246656 h 840442"/>
              <a:gd name="connsiteX51" fmla="*/ 150200 w 876336"/>
              <a:gd name="connsiteY51" fmla="*/ 246656 h 840442"/>
              <a:gd name="connsiteX52" fmla="*/ 168096 w 876336"/>
              <a:gd name="connsiteY52" fmla="*/ 264553 h 840442"/>
              <a:gd name="connsiteX53" fmla="*/ 168096 w 876336"/>
              <a:gd name="connsiteY53" fmla="*/ 822508 h 840442"/>
              <a:gd name="connsiteX54" fmla="*/ 43233 w 876336"/>
              <a:gd name="connsiteY54" fmla="*/ 822508 h 840442"/>
              <a:gd name="connsiteX55" fmla="*/ 98109 w 876336"/>
              <a:gd name="connsiteY55" fmla="*/ 13664 h 840442"/>
              <a:gd name="connsiteX56" fmla="*/ 100974 w 876336"/>
              <a:gd name="connsiteY56" fmla="*/ 1386 h 840442"/>
              <a:gd name="connsiteX57" fmla="*/ 113253 w 876336"/>
              <a:gd name="connsiteY57" fmla="*/ 4250 h 840442"/>
              <a:gd name="connsiteX58" fmla="*/ 269444 w 876336"/>
              <a:gd name="connsiteY58" fmla="*/ 173024 h 840442"/>
              <a:gd name="connsiteX59" fmla="*/ 752276 w 876336"/>
              <a:gd name="connsiteY59" fmla="*/ 408282 h 840442"/>
              <a:gd name="connsiteX60" fmla="*/ 722287 w 876336"/>
              <a:gd name="connsiteY60" fmla="*/ 358573 h 840442"/>
              <a:gd name="connsiteX61" fmla="*/ 725338 w 876336"/>
              <a:gd name="connsiteY61" fmla="*/ 346294 h 840442"/>
              <a:gd name="connsiteX62" fmla="*/ 737617 w 876336"/>
              <a:gd name="connsiteY62" fmla="*/ 349345 h 840442"/>
              <a:gd name="connsiteX63" fmla="*/ 778284 w 876336"/>
              <a:gd name="connsiteY63" fmla="*/ 416690 h 840442"/>
              <a:gd name="connsiteX64" fmla="*/ 775233 w 876336"/>
              <a:gd name="connsiteY64" fmla="*/ 428968 h 840442"/>
              <a:gd name="connsiteX65" fmla="*/ 707888 w 876336"/>
              <a:gd name="connsiteY65" fmla="*/ 469635 h 840442"/>
              <a:gd name="connsiteX66" fmla="*/ 703312 w 876336"/>
              <a:gd name="connsiteY66" fmla="*/ 470975 h 840442"/>
              <a:gd name="connsiteX67" fmla="*/ 695684 w 876336"/>
              <a:gd name="connsiteY67" fmla="*/ 466696 h 840442"/>
              <a:gd name="connsiteX68" fmla="*/ 698735 w 876336"/>
              <a:gd name="connsiteY68" fmla="*/ 454417 h 840442"/>
              <a:gd name="connsiteX69" fmla="*/ 746733 w 876336"/>
              <a:gd name="connsiteY69" fmla="*/ 425470 h 840442"/>
              <a:gd name="connsiteX70" fmla="*/ 465078 w 876336"/>
              <a:gd name="connsiteY70" fmla="*/ 324600 h 840442"/>
              <a:gd name="connsiteX71" fmla="*/ 257538 w 876336"/>
              <a:gd name="connsiteY71" fmla="*/ 186373 h 840442"/>
              <a:gd name="connsiteX72" fmla="*/ 98109 w 876336"/>
              <a:gd name="connsiteY72" fmla="*/ 13657 h 84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76336" h="840442">
                <a:moveTo>
                  <a:pt x="867332" y="822518"/>
                </a:moveTo>
                <a:lnTo>
                  <a:pt x="850849" y="822518"/>
                </a:lnTo>
                <a:lnTo>
                  <a:pt x="850849" y="676776"/>
                </a:lnTo>
                <a:cubicBezTo>
                  <a:pt x="850849" y="657056"/>
                  <a:pt x="834850" y="640946"/>
                  <a:pt x="815130" y="640946"/>
                </a:cubicBezTo>
                <a:lnTo>
                  <a:pt x="726056" y="640946"/>
                </a:lnTo>
                <a:cubicBezTo>
                  <a:pt x="706337" y="640946"/>
                  <a:pt x="690226" y="656945"/>
                  <a:pt x="690226" y="676776"/>
                </a:cubicBezTo>
                <a:lnTo>
                  <a:pt x="690226" y="822518"/>
                </a:lnTo>
                <a:lnTo>
                  <a:pt x="629281" y="822518"/>
                </a:lnTo>
                <a:lnTo>
                  <a:pt x="629319" y="539368"/>
                </a:lnTo>
                <a:cubicBezTo>
                  <a:pt x="629319" y="519648"/>
                  <a:pt x="613320" y="503538"/>
                  <a:pt x="593488" y="503538"/>
                </a:cubicBezTo>
                <a:lnTo>
                  <a:pt x="504414" y="503538"/>
                </a:lnTo>
                <a:cubicBezTo>
                  <a:pt x="484695" y="503538"/>
                  <a:pt x="468584" y="519537"/>
                  <a:pt x="468584" y="539368"/>
                </a:cubicBezTo>
                <a:lnTo>
                  <a:pt x="468584" y="822546"/>
                </a:lnTo>
                <a:lnTo>
                  <a:pt x="407640" y="822546"/>
                </a:lnTo>
                <a:lnTo>
                  <a:pt x="407677" y="401999"/>
                </a:lnTo>
                <a:cubicBezTo>
                  <a:pt x="407677" y="382279"/>
                  <a:pt x="391678" y="366280"/>
                  <a:pt x="371847" y="366280"/>
                </a:cubicBezTo>
                <a:lnTo>
                  <a:pt x="282773" y="366280"/>
                </a:lnTo>
                <a:cubicBezTo>
                  <a:pt x="263053" y="366280"/>
                  <a:pt x="246942" y="382279"/>
                  <a:pt x="246942" y="401999"/>
                </a:cubicBezTo>
                <a:lnTo>
                  <a:pt x="246942" y="822623"/>
                </a:lnTo>
                <a:lnTo>
                  <a:pt x="185998" y="822623"/>
                </a:lnTo>
                <a:lnTo>
                  <a:pt x="186035" y="264553"/>
                </a:lnTo>
                <a:cubicBezTo>
                  <a:pt x="186035" y="244833"/>
                  <a:pt x="170036" y="228723"/>
                  <a:pt x="150205" y="228723"/>
                </a:cubicBezTo>
                <a:lnTo>
                  <a:pt x="61131" y="228723"/>
                </a:lnTo>
                <a:cubicBezTo>
                  <a:pt x="41411" y="228723"/>
                  <a:pt x="25300" y="244722"/>
                  <a:pt x="25300" y="264553"/>
                </a:cubicBezTo>
                <a:lnTo>
                  <a:pt x="25300" y="822508"/>
                </a:lnTo>
                <a:lnTo>
                  <a:pt x="8967" y="822508"/>
                </a:lnTo>
                <a:cubicBezTo>
                  <a:pt x="4018" y="822508"/>
                  <a:pt x="0" y="826527"/>
                  <a:pt x="0" y="831475"/>
                </a:cubicBezTo>
                <a:cubicBezTo>
                  <a:pt x="0" y="836424"/>
                  <a:pt x="4018" y="840442"/>
                  <a:pt x="8967" y="840442"/>
                </a:cubicBezTo>
                <a:lnTo>
                  <a:pt x="867370" y="840442"/>
                </a:lnTo>
                <a:cubicBezTo>
                  <a:pt x="872318" y="840442"/>
                  <a:pt x="876336" y="836424"/>
                  <a:pt x="876336" y="831475"/>
                </a:cubicBezTo>
                <a:cubicBezTo>
                  <a:pt x="876299" y="826527"/>
                  <a:pt x="872281" y="822508"/>
                  <a:pt x="867332" y="822508"/>
                </a:cubicBezTo>
                <a:close/>
                <a:moveTo>
                  <a:pt x="708198" y="676814"/>
                </a:moveTo>
                <a:cubicBezTo>
                  <a:pt x="708198" y="666916"/>
                  <a:pt x="716197" y="658917"/>
                  <a:pt x="726095" y="658917"/>
                </a:cubicBezTo>
                <a:lnTo>
                  <a:pt x="815168" y="658917"/>
                </a:lnTo>
                <a:cubicBezTo>
                  <a:pt x="825066" y="658917"/>
                  <a:pt x="833065" y="666917"/>
                  <a:pt x="833065" y="676814"/>
                </a:cubicBezTo>
                <a:lnTo>
                  <a:pt x="833065" y="822556"/>
                </a:lnTo>
                <a:lnTo>
                  <a:pt x="708202" y="822519"/>
                </a:lnTo>
                <a:close/>
                <a:moveTo>
                  <a:pt x="486523" y="539368"/>
                </a:moveTo>
                <a:cubicBezTo>
                  <a:pt x="486523" y="529471"/>
                  <a:pt x="494522" y="521472"/>
                  <a:pt x="504419" y="521472"/>
                </a:cubicBezTo>
                <a:lnTo>
                  <a:pt x="593493" y="521472"/>
                </a:lnTo>
                <a:cubicBezTo>
                  <a:pt x="603391" y="521472"/>
                  <a:pt x="611390" y="529471"/>
                  <a:pt x="611390" y="539368"/>
                </a:cubicBezTo>
                <a:lnTo>
                  <a:pt x="611390" y="822546"/>
                </a:lnTo>
                <a:lnTo>
                  <a:pt x="486526" y="822509"/>
                </a:lnTo>
                <a:close/>
                <a:moveTo>
                  <a:pt x="264876" y="401999"/>
                </a:moveTo>
                <a:cubicBezTo>
                  <a:pt x="264876" y="392101"/>
                  <a:pt x="272875" y="384102"/>
                  <a:pt x="282772" y="384102"/>
                </a:cubicBezTo>
                <a:lnTo>
                  <a:pt x="371846" y="384102"/>
                </a:lnTo>
                <a:cubicBezTo>
                  <a:pt x="381744" y="384102"/>
                  <a:pt x="389743" y="392101"/>
                  <a:pt x="389743" y="401999"/>
                </a:cubicBezTo>
                <a:lnTo>
                  <a:pt x="389743" y="822623"/>
                </a:lnTo>
                <a:lnTo>
                  <a:pt x="264880" y="822623"/>
                </a:lnTo>
                <a:close/>
                <a:moveTo>
                  <a:pt x="43229" y="264553"/>
                </a:moveTo>
                <a:cubicBezTo>
                  <a:pt x="43229" y="254655"/>
                  <a:pt x="51229" y="246656"/>
                  <a:pt x="61126" y="246656"/>
                </a:cubicBezTo>
                <a:lnTo>
                  <a:pt x="150200" y="246656"/>
                </a:lnTo>
                <a:cubicBezTo>
                  <a:pt x="160097" y="246656"/>
                  <a:pt x="168096" y="254656"/>
                  <a:pt x="168096" y="264553"/>
                </a:cubicBezTo>
                <a:lnTo>
                  <a:pt x="168096" y="822508"/>
                </a:lnTo>
                <a:lnTo>
                  <a:pt x="43233" y="822508"/>
                </a:lnTo>
                <a:close/>
                <a:moveTo>
                  <a:pt x="98109" y="13664"/>
                </a:moveTo>
                <a:cubicBezTo>
                  <a:pt x="95430" y="9460"/>
                  <a:pt x="96770" y="3953"/>
                  <a:pt x="100974" y="1386"/>
                </a:cubicBezTo>
                <a:cubicBezTo>
                  <a:pt x="105179" y="-1293"/>
                  <a:pt x="110685" y="46"/>
                  <a:pt x="113253" y="4250"/>
                </a:cubicBezTo>
                <a:cubicBezTo>
                  <a:pt x="113811" y="5218"/>
                  <a:pt x="164003" y="83874"/>
                  <a:pt x="269444" y="173024"/>
                </a:cubicBezTo>
                <a:cubicBezTo>
                  <a:pt x="364397" y="253243"/>
                  <a:pt x="524533" y="358200"/>
                  <a:pt x="752276" y="408282"/>
                </a:cubicBezTo>
                <a:lnTo>
                  <a:pt x="722287" y="358573"/>
                </a:lnTo>
                <a:cubicBezTo>
                  <a:pt x="719720" y="354368"/>
                  <a:pt x="721059" y="348862"/>
                  <a:pt x="725338" y="346294"/>
                </a:cubicBezTo>
                <a:cubicBezTo>
                  <a:pt x="729543" y="343727"/>
                  <a:pt x="735049" y="345066"/>
                  <a:pt x="737617" y="349345"/>
                </a:cubicBezTo>
                <a:lnTo>
                  <a:pt x="778284" y="416690"/>
                </a:lnTo>
                <a:cubicBezTo>
                  <a:pt x="780851" y="420894"/>
                  <a:pt x="779437" y="426401"/>
                  <a:pt x="775233" y="428968"/>
                </a:cubicBezTo>
                <a:lnTo>
                  <a:pt x="707888" y="469635"/>
                </a:lnTo>
                <a:cubicBezTo>
                  <a:pt x="706474" y="470491"/>
                  <a:pt x="704837" y="470975"/>
                  <a:pt x="703312" y="470975"/>
                </a:cubicBezTo>
                <a:cubicBezTo>
                  <a:pt x="700261" y="470975"/>
                  <a:pt x="697321" y="469449"/>
                  <a:pt x="695684" y="466696"/>
                </a:cubicBezTo>
                <a:cubicBezTo>
                  <a:pt x="693117" y="462492"/>
                  <a:pt x="694456" y="456985"/>
                  <a:pt x="698735" y="454417"/>
                </a:cubicBezTo>
                <a:lnTo>
                  <a:pt x="746733" y="425470"/>
                </a:lnTo>
                <a:cubicBezTo>
                  <a:pt x="647387" y="403481"/>
                  <a:pt x="552813" y="369548"/>
                  <a:pt x="465078" y="324600"/>
                </a:cubicBezTo>
                <a:cubicBezTo>
                  <a:pt x="390404" y="286203"/>
                  <a:pt x="320489" y="239730"/>
                  <a:pt x="257538" y="186373"/>
                </a:cubicBezTo>
                <a:cubicBezTo>
                  <a:pt x="149896" y="95105"/>
                  <a:pt x="100185" y="16895"/>
                  <a:pt x="98109" y="13657"/>
                </a:cubicBezTo>
                <a:close/>
              </a:path>
            </a:pathLst>
          </a:custGeom>
          <a:solidFill>
            <a:srgbClr val="FF0000"/>
          </a:solidFill>
          <a:ln w="3175" cap="flat">
            <a:solidFill>
              <a:srgbClr val="FF0000"/>
            </a:solidFill>
            <a:prstDash val="solid"/>
            <a:miter/>
          </a:ln>
        </p:spPr>
        <p:txBody>
          <a:bodyPr rtlCol="0" anchor="ctr"/>
          <a:lstStyle/>
          <a:p>
            <a:endParaRPr lang="en-IN"/>
          </a:p>
        </p:txBody>
      </p:sp>
      <p:grpSp>
        <p:nvGrpSpPr>
          <p:cNvPr id="68" name="Group 67">
            <a:extLst>
              <a:ext uri="{FF2B5EF4-FFF2-40B4-BE49-F238E27FC236}">
                <a16:creationId xmlns:a16="http://schemas.microsoft.com/office/drawing/2014/main" id="{D955922E-7F59-FBF5-999A-6842F65110DC}"/>
              </a:ext>
            </a:extLst>
          </p:cNvPr>
          <p:cNvGrpSpPr/>
          <p:nvPr/>
        </p:nvGrpSpPr>
        <p:grpSpPr>
          <a:xfrm>
            <a:off x="4606955" y="3120062"/>
            <a:ext cx="209741" cy="209741"/>
            <a:chOff x="5691187" y="2905124"/>
            <a:chExt cx="714375" cy="714375"/>
          </a:xfrm>
          <a:solidFill>
            <a:srgbClr val="FF0000"/>
          </a:solidFill>
        </p:grpSpPr>
        <p:sp>
          <p:nvSpPr>
            <p:cNvPr id="62" name="Freeform: Shape 61">
              <a:extLst>
                <a:ext uri="{FF2B5EF4-FFF2-40B4-BE49-F238E27FC236}">
                  <a16:creationId xmlns:a16="http://schemas.microsoft.com/office/drawing/2014/main" id="{6865FF12-41F8-C8CB-5649-403C8E1EE82C}"/>
                </a:ext>
              </a:extLst>
            </p:cNvPr>
            <p:cNvSpPr/>
            <p:nvPr/>
          </p:nvSpPr>
          <p:spPr>
            <a:xfrm>
              <a:off x="5691187" y="2905124"/>
              <a:ext cx="714375" cy="714375"/>
            </a:xfrm>
            <a:custGeom>
              <a:avLst/>
              <a:gdLst>
                <a:gd name="connsiteX0" fmla="*/ 99231 w 714375"/>
                <a:gd name="connsiteY0" fmla="*/ 0 h 714375"/>
                <a:gd name="connsiteX1" fmla="*/ 0 w 714375"/>
                <a:gd name="connsiteY1" fmla="*/ 99231 h 714375"/>
                <a:gd name="connsiteX2" fmla="*/ 0 w 714375"/>
                <a:gd name="connsiteY2" fmla="*/ 615182 h 714375"/>
                <a:gd name="connsiteX3" fmla="*/ 99231 w 714375"/>
                <a:gd name="connsiteY3" fmla="*/ 714375 h 714375"/>
                <a:gd name="connsiteX4" fmla="*/ 615182 w 714375"/>
                <a:gd name="connsiteY4" fmla="*/ 714375 h 714375"/>
                <a:gd name="connsiteX5" fmla="*/ 714375 w 714375"/>
                <a:gd name="connsiteY5" fmla="*/ 615144 h 714375"/>
                <a:gd name="connsiteX6" fmla="*/ 714375 w 714375"/>
                <a:gd name="connsiteY6" fmla="*/ 99231 h 714375"/>
                <a:gd name="connsiteX7" fmla="*/ 615144 w 714375"/>
                <a:gd name="connsiteY7" fmla="*/ 0 h 714375"/>
                <a:gd name="connsiteX8" fmla="*/ 99231 w 714375"/>
                <a:gd name="connsiteY8" fmla="*/ 39700 h 714375"/>
                <a:gd name="connsiteX9" fmla="*/ 615182 w 714375"/>
                <a:gd name="connsiteY9" fmla="*/ 39700 h 714375"/>
                <a:gd name="connsiteX10" fmla="*/ 674676 w 714375"/>
                <a:gd name="connsiteY10" fmla="*/ 99231 h 714375"/>
                <a:gd name="connsiteX11" fmla="*/ 674676 w 714375"/>
                <a:gd name="connsiteY11" fmla="*/ 615182 h 714375"/>
                <a:gd name="connsiteX12" fmla="*/ 615145 w 714375"/>
                <a:gd name="connsiteY12" fmla="*/ 674676 h 714375"/>
                <a:gd name="connsiteX13" fmla="*/ 99232 w 714375"/>
                <a:gd name="connsiteY13" fmla="*/ 674676 h 714375"/>
                <a:gd name="connsiteX14" fmla="*/ 39701 w 714375"/>
                <a:gd name="connsiteY14" fmla="*/ 615145 h 714375"/>
                <a:gd name="connsiteX15" fmla="*/ 39701 w 714375"/>
                <a:gd name="connsiteY15" fmla="*/ 99232 h 714375"/>
                <a:gd name="connsiteX16" fmla="*/ 99232 w 714375"/>
                <a:gd name="connsiteY16" fmla="*/ 39701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4375" h="714375">
                  <a:moveTo>
                    <a:pt x="99231" y="0"/>
                  </a:moveTo>
                  <a:cubicBezTo>
                    <a:pt x="44611" y="0"/>
                    <a:pt x="0" y="44611"/>
                    <a:pt x="0" y="99231"/>
                  </a:cubicBezTo>
                  <a:lnTo>
                    <a:pt x="0" y="615182"/>
                  </a:lnTo>
                  <a:cubicBezTo>
                    <a:pt x="0" y="669765"/>
                    <a:pt x="44611" y="714375"/>
                    <a:pt x="99231" y="714375"/>
                  </a:cubicBezTo>
                  <a:lnTo>
                    <a:pt x="615182" y="714375"/>
                  </a:lnTo>
                  <a:cubicBezTo>
                    <a:pt x="669765" y="714375"/>
                    <a:pt x="714375" y="669764"/>
                    <a:pt x="714375" y="615144"/>
                  </a:cubicBezTo>
                  <a:lnTo>
                    <a:pt x="714375" y="99231"/>
                  </a:lnTo>
                  <a:cubicBezTo>
                    <a:pt x="714375" y="44611"/>
                    <a:pt x="669764" y="0"/>
                    <a:pt x="615144" y="0"/>
                  </a:cubicBezTo>
                  <a:close/>
                  <a:moveTo>
                    <a:pt x="99231" y="39700"/>
                  </a:moveTo>
                  <a:lnTo>
                    <a:pt x="615182" y="39700"/>
                  </a:lnTo>
                  <a:cubicBezTo>
                    <a:pt x="648482" y="39700"/>
                    <a:pt x="674676" y="65894"/>
                    <a:pt x="674676" y="99231"/>
                  </a:cubicBezTo>
                  <a:lnTo>
                    <a:pt x="674676" y="615182"/>
                  </a:lnTo>
                  <a:cubicBezTo>
                    <a:pt x="674676" y="648482"/>
                    <a:pt x="648482" y="674676"/>
                    <a:pt x="615145" y="674676"/>
                  </a:cubicBezTo>
                  <a:lnTo>
                    <a:pt x="99232" y="674676"/>
                  </a:lnTo>
                  <a:cubicBezTo>
                    <a:pt x="65895" y="674676"/>
                    <a:pt x="39701" y="648482"/>
                    <a:pt x="39701" y="615145"/>
                  </a:cubicBezTo>
                  <a:lnTo>
                    <a:pt x="39701" y="99232"/>
                  </a:lnTo>
                  <a:cubicBezTo>
                    <a:pt x="39701" y="65895"/>
                    <a:pt x="65895" y="39701"/>
                    <a:pt x="99232" y="39701"/>
                  </a:cubicBezTo>
                  <a:close/>
                </a:path>
              </a:pathLst>
            </a:custGeom>
            <a:grpFill/>
            <a:ln w="9525" cap="flat">
              <a:noFill/>
              <a:prstDash val="solid"/>
              <a:miter/>
            </a:ln>
          </p:spPr>
          <p:txBody>
            <a:bodyPr rtlCol="0" anchor="ctr"/>
            <a:lstStyle/>
            <a:p>
              <a:endParaRPr lang="en-IN"/>
            </a:p>
          </p:txBody>
        </p:sp>
        <p:sp>
          <p:nvSpPr>
            <p:cNvPr id="63" name="Freeform: Shape 62">
              <a:extLst>
                <a:ext uri="{FF2B5EF4-FFF2-40B4-BE49-F238E27FC236}">
                  <a16:creationId xmlns:a16="http://schemas.microsoft.com/office/drawing/2014/main" id="{77AF8870-B28F-19EC-993A-0FAC409D1033}"/>
                </a:ext>
              </a:extLst>
            </p:cNvPr>
            <p:cNvSpPr/>
            <p:nvPr/>
          </p:nvSpPr>
          <p:spPr>
            <a:xfrm>
              <a:off x="5770548" y="3341674"/>
              <a:ext cx="198463" cy="198462"/>
            </a:xfrm>
            <a:custGeom>
              <a:avLst/>
              <a:gdLst>
                <a:gd name="connsiteX0" fmla="*/ 178595 w 198463"/>
                <a:gd name="connsiteY0" fmla="*/ 198463 h 198462"/>
                <a:gd name="connsiteX1" fmla="*/ 198463 w 198463"/>
                <a:gd name="connsiteY1" fmla="*/ 178594 h 198462"/>
                <a:gd name="connsiteX2" fmla="*/ 192622 w 198463"/>
                <a:gd name="connsiteY2" fmla="*/ 164567 h 198462"/>
                <a:gd name="connsiteX3" fmla="*/ 178594 w 198463"/>
                <a:gd name="connsiteY3" fmla="*/ 158763 h 198462"/>
                <a:gd name="connsiteX4" fmla="*/ 59532 w 198463"/>
                <a:gd name="connsiteY4" fmla="*/ 158763 h 198462"/>
                <a:gd name="connsiteX5" fmla="*/ 39701 w 198463"/>
                <a:gd name="connsiteY5" fmla="*/ 138931 h 198462"/>
                <a:gd name="connsiteX6" fmla="*/ 39701 w 198463"/>
                <a:gd name="connsiteY6" fmla="*/ 19869 h 198462"/>
                <a:gd name="connsiteX7" fmla="*/ 33896 w 198463"/>
                <a:gd name="connsiteY7" fmla="*/ 5842 h 198462"/>
                <a:gd name="connsiteX8" fmla="*/ 19869 w 198463"/>
                <a:gd name="connsiteY8" fmla="*/ 0 h 198462"/>
                <a:gd name="connsiteX9" fmla="*/ 5842 w 198463"/>
                <a:gd name="connsiteY9" fmla="*/ 5842 h 198462"/>
                <a:gd name="connsiteX10" fmla="*/ 0 w 198463"/>
                <a:gd name="connsiteY10" fmla="*/ 19869 h 198462"/>
                <a:gd name="connsiteX11" fmla="*/ 0 w 198463"/>
                <a:gd name="connsiteY11" fmla="*/ 138931 h 198462"/>
                <a:gd name="connsiteX12" fmla="*/ 59531 w 198463"/>
                <a:gd name="connsiteY12" fmla="*/ 198463 h 19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63" h="198462">
                  <a:moveTo>
                    <a:pt x="178595" y="198463"/>
                  </a:moveTo>
                  <a:cubicBezTo>
                    <a:pt x="189571" y="198463"/>
                    <a:pt x="198463" y="189570"/>
                    <a:pt x="198463" y="178594"/>
                  </a:cubicBezTo>
                  <a:cubicBezTo>
                    <a:pt x="198463" y="173348"/>
                    <a:pt x="196342" y="168288"/>
                    <a:pt x="192622" y="164567"/>
                  </a:cubicBezTo>
                  <a:cubicBezTo>
                    <a:pt x="188901" y="160846"/>
                    <a:pt x="183878" y="158763"/>
                    <a:pt x="178594" y="158763"/>
                  </a:cubicBezTo>
                  <a:lnTo>
                    <a:pt x="59532" y="158763"/>
                  </a:lnTo>
                  <a:cubicBezTo>
                    <a:pt x="48332" y="158763"/>
                    <a:pt x="39701" y="150131"/>
                    <a:pt x="39701" y="138931"/>
                  </a:cubicBezTo>
                  <a:lnTo>
                    <a:pt x="39701" y="19869"/>
                  </a:lnTo>
                  <a:cubicBezTo>
                    <a:pt x="39701" y="14586"/>
                    <a:pt x="37617" y="9563"/>
                    <a:pt x="33896" y="5842"/>
                  </a:cubicBezTo>
                  <a:cubicBezTo>
                    <a:pt x="30176" y="2121"/>
                    <a:pt x="25116" y="0"/>
                    <a:pt x="19869" y="0"/>
                  </a:cubicBezTo>
                  <a:cubicBezTo>
                    <a:pt x="14586" y="0"/>
                    <a:pt x="9563" y="2121"/>
                    <a:pt x="5842" y="5842"/>
                  </a:cubicBezTo>
                  <a:cubicBezTo>
                    <a:pt x="2121" y="9562"/>
                    <a:pt x="0" y="14585"/>
                    <a:pt x="0" y="19869"/>
                  </a:cubicBezTo>
                  <a:lnTo>
                    <a:pt x="0" y="138931"/>
                  </a:lnTo>
                  <a:cubicBezTo>
                    <a:pt x="0" y="171562"/>
                    <a:pt x="26901" y="198463"/>
                    <a:pt x="59531" y="198463"/>
                  </a:cubicBezTo>
                  <a:close/>
                </a:path>
              </a:pathLst>
            </a:custGeom>
            <a:grpFill/>
            <a:ln w="9525" cap="flat">
              <a:noFill/>
              <a:prstDash val="solid"/>
              <a:miter/>
            </a:ln>
          </p:spPr>
          <p:txBody>
            <a:bodyPr rtlCol="0" anchor="ctr"/>
            <a:lstStyle/>
            <a:p>
              <a:endParaRPr lang="en-IN"/>
            </a:p>
          </p:txBody>
        </p:sp>
        <p:sp>
          <p:nvSpPr>
            <p:cNvPr id="64" name="Freeform: Shape 63">
              <a:extLst>
                <a:ext uri="{FF2B5EF4-FFF2-40B4-BE49-F238E27FC236}">
                  <a16:creationId xmlns:a16="http://schemas.microsoft.com/office/drawing/2014/main" id="{45119B03-F44D-BE39-7BCB-3C05DA48AA71}"/>
                </a:ext>
              </a:extLst>
            </p:cNvPr>
            <p:cNvSpPr/>
            <p:nvPr/>
          </p:nvSpPr>
          <p:spPr>
            <a:xfrm>
              <a:off x="6127738" y="2984486"/>
              <a:ext cx="198463" cy="198462"/>
            </a:xfrm>
            <a:custGeom>
              <a:avLst/>
              <a:gdLst>
                <a:gd name="connsiteX0" fmla="*/ 19868 w 198463"/>
                <a:gd name="connsiteY0" fmla="*/ 0 h 198462"/>
                <a:gd name="connsiteX1" fmla="*/ 0 w 198463"/>
                <a:gd name="connsiteY1" fmla="*/ 19868 h 198462"/>
                <a:gd name="connsiteX2" fmla="*/ 5842 w 198463"/>
                <a:gd name="connsiteY2" fmla="*/ 33896 h 198462"/>
                <a:gd name="connsiteX3" fmla="*/ 19869 w 198463"/>
                <a:gd name="connsiteY3" fmla="*/ 39700 h 198462"/>
                <a:gd name="connsiteX4" fmla="*/ 138931 w 198463"/>
                <a:gd name="connsiteY4" fmla="*/ 39700 h 198462"/>
                <a:gd name="connsiteX5" fmla="*/ 158762 w 198463"/>
                <a:gd name="connsiteY5" fmla="*/ 59531 h 198462"/>
                <a:gd name="connsiteX6" fmla="*/ 158762 w 198463"/>
                <a:gd name="connsiteY6" fmla="*/ 178594 h 198462"/>
                <a:gd name="connsiteX7" fmla="*/ 164567 w 198463"/>
                <a:gd name="connsiteY7" fmla="*/ 192621 h 198462"/>
                <a:gd name="connsiteX8" fmla="*/ 178594 w 198463"/>
                <a:gd name="connsiteY8" fmla="*/ 198463 h 198462"/>
                <a:gd name="connsiteX9" fmla="*/ 192622 w 198463"/>
                <a:gd name="connsiteY9" fmla="*/ 192621 h 198462"/>
                <a:gd name="connsiteX10" fmla="*/ 198463 w 198463"/>
                <a:gd name="connsiteY10" fmla="*/ 178594 h 198462"/>
                <a:gd name="connsiteX11" fmla="*/ 198463 w 198463"/>
                <a:gd name="connsiteY11" fmla="*/ 59531 h 198462"/>
                <a:gd name="connsiteX12" fmla="*/ 138932 w 198463"/>
                <a:gd name="connsiteY12" fmla="*/ 0 h 19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63" h="198462">
                  <a:moveTo>
                    <a:pt x="19868" y="0"/>
                  </a:moveTo>
                  <a:cubicBezTo>
                    <a:pt x="8893" y="0"/>
                    <a:pt x="0" y="8893"/>
                    <a:pt x="0" y="19868"/>
                  </a:cubicBezTo>
                  <a:cubicBezTo>
                    <a:pt x="0" y="25115"/>
                    <a:pt x="2121" y="30174"/>
                    <a:pt x="5842" y="33896"/>
                  </a:cubicBezTo>
                  <a:cubicBezTo>
                    <a:pt x="9562" y="37617"/>
                    <a:pt x="14585" y="39700"/>
                    <a:pt x="19869" y="39700"/>
                  </a:cubicBezTo>
                  <a:lnTo>
                    <a:pt x="138931" y="39700"/>
                  </a:lnTo>
                  <a:cubicBezTo>
                    <a:pt x="150131" y="39700"/>
                    <a:pt x="158762" y="48332"/>
                    <a:pt x="158762" y="59531"/>
                  </a:cubicBezTo>
                  <a:lnTo>
                    <a:pt x="158762" y="178594"/>
                  </a:lnTo>
                  <a:cubicBezTo>
                    <a:pt x="158762" y="183877"/>
                    <a:pt x="160846" y="188900"/>
                    <a:pt x="164567" y="192621"/>
                  </a:cubicBezTo>
                  <a:cubicBezTo>
                    <a:pt x="168287" y="196342"/>
                    <a:pt x="173348" y="198463"/>
                    <a:pt x="178594" y="198463"/>
                  </a:cubicBezTo>
                  <a:cubicBezTo>
                    <a:pt x="183878" y="198463"/>
                    <a:pt x="188900" y="196342"/>
                    <a:pt x="192622" y="192621"/>
                  </a:cubicBezTo>
                  <a:cubicBezTo>
                    <a:pt x="196342" y="188900"/>
                    <a:pt x="198463" y="183878"/>
                    <a:pt x="198463" y="178594"/>
                  </a:cubicBezTo>
                  <a:lnTo>
                    <a:pt x="198463" y="59531"/>
                  </a:lnTo>
                  <a:cubicBezTo>
                    <a:pt x="198463" y="26901"/>
                    <a:pt x="171563" y="0"/>
                    <a:pt x="138932" y="0"/>
                  </a:cubicBezTo>
                  <a:close/>
                </a:path>
              </a:pathLst>
            </a:custGeom>
            <a:grpFill/>
            <a:ln w="9525" cap="flat">
              <a:noFill/>
              <a:prstDash val="solid"/>
              <a:miter/>
            </a:ln>
          </p:spPr>
          <p:txBody>
            <a:bodyPr rtlCol="0" anchor="ctr"/>
            <a:lstStyle/>
            <a:p>
              <a:endParaRPr lang="en-IN"/>
            </a:p>
          </p:txBody>
        </p:sp>
      </p:grpSp>
      <p:sp>
        <p:nvSpPr>
          <p:cNvPr id="78" name="Freeform: Shape 77">
            <a:extLst>
              <a:ext uri="{FF2B5EF4-FFF2-40B4-BE49-F238E27FC236}">
                <a16:creationId xmlns:a16="http://schemas.microsoft.com/office/drawing/2014/main" id="{5FABD402-8341-CAD6-9654-4CF67EC4D4CD}"/>
              </a:ext>
            </a:extLst>
          </p:cNvPr>
          <p:cNvSpPr/>
          <p:nvPr/>
        </p:nvSpPr>
        <p:spPr>
          <a:xfrm>
            <a:off x="7022581" y="3093890"/>
            <a:ext cx="242250" cy="262084"/>
          </a:xfrm>
          <a:custGeom>
            <a:avLst/>
            <a:gdLst>
              <a:gd name="connsiteX0" fmla="*/ 191326 w 792413"/>
              <a:gd name="connsiteY0" fmla="*/ 778447 h 857293"/>
              <a:gd name="connsiteX1" fmla="*/ 190916 w 792413"/>
              <a:gd name="connsiteY1" fmla="*/ 777777 h 857293"/>
              <a:gd name="connsiteX2" fmla="*/ 101360 w 792413"/>
              <a:gd name="connsiteY2" fmla="*/ 622663 h 857293"/>
              <a:gd name="connsiteX3" fmla="*/ 101099 w 792413"/>
              <a:gd name="connsiteY3" fmla="*/ 622216 h 857293"/>
              <a:gd name="connsiteX4" fmla="*/ 94067 w 792413"/>
              <a:gd name="connsiteY4" fmla="*/ 610013 h 857293"/>
              <a:gd name="connsiteX5" fmla="*/ 30591 w 792413"/>
              <a:gd name="connsiteY5" fmla="*/ 646662 h 857293"/>
              <a:gd name="connsiteX6" fmla="*/ 134471 w 792413"/>
              <a:gd name="connsiteY6" fmla="*/ 826599 h 857293"/>
              <a:gd name="connsiteX7" fmla="*/ 197947 w 792413"/>
              <a:gd name="connsiteY7" fmla="*/ 789949 h 857293"/>
              <a:gd name="connsiteX8" fmla="*/ 522167 w 792413"/>
              <a:gd name="connsiteY8" fmla="*/ 582327 h 857293"/>
              <a:gd name="connsiteX9" fmla="*/ 705971 w 792413"/>
              <a:gd name="connsiteY9" fmla="*/ 476209 h 857293"/>
              <a:gd name="connsiteX10" fmla="*/ 706790 w 792413"/>
              <a:gd name="connsiteY10" fmla="*/ 475763 h 857293"/>
              <a:gd name="connsiteX11" fmla="*/ 749689 w 792413"/>
              <a:gd name="connsiteY11" fmla="*/ 470479 h 857293"/>
              <a:gd name="connsiteX12" fmla="*/ 784701 w 792413"/>
              <a:gd name="connsiteY12" fmla="*/ 497268 h 857293"/>
              <a:gd name="connsiteX13" fmla="*/ 785148 w 792413"/>
              <a:gd name="connsiteY13" fmla="*/ 498087 h 857293"/>
              <a:gd name="connsiteX14" fmla="*/ 790431 w 792413"/>
              <a:gd name="connsiteY14" fmla="*/ 540986 h 857293"/>
              <a:gd name="connsiteX15" fmla="*/ 763605 w 792413"/>
              <a:gd name="connsiteY15" fmla="*/ 575961 h 857293"/>
              <a:gd name="connsiteX16" fmla="*/ 763605 w 792413"/>
              <a:gd name="connsiteY16" fmla="*/ 575998 h 857293"/>
              <a:gd name="connsiteX17" fmla="*/ 459138 w 792413"/>
              <a:gd name="connsiteY17" fmla="*/ 751801 h 857293"/>
              <a:gd name="connsiteX18" fmla="*/ 458357 w 792413"/>
              <a:gd name="connsiteY18" fmla="*/ 752211 h 857293"/>
              <a:gd name="connsiteX19" fmla="*/ 425019 w 792413"/>
              <a:gd name="connsiteY19" fmla="*/ 763596 h 857293"/>
              <a:gd name="connsiteX20" fmla="*/ 389078 w 792413"/>
              <a:gd name="connsiteY20" fmla="*/ 761029 h 857293"/>
              <a:gd name="connsiteX21" fmla="*/ 317789 w 792413"/>
              <a:gd name="connsiteY21" fmla="*/ 741941 h 857293"/>
              <a:gd name="connsiteX22" fmla="*/ 291892 w 792413"/>
              <a:gd name="connsiteY22" fmla="*/ 740007 h 857293"/>
              <a:gd name="connsiteX23" fmla="*/ 267410 w 792413"/>
              <a:gd name="connsiteY23" fmla="*/ 748527 h 857293"/>
              <a:gd name="connsiteX24" fmla="*/ 267410 w 792413"/>
              <a:gd name="connsiteY24" fmla="*/ 748564 h 857293"/>
              <a:gd name="connsiteX25" fmla="*/ 219822 w 792413"/>
              <a:gd name="connsiteY25" fmla="*/ 776060 h 857293"/>
              <a:gd name="connsiteX26" fmla="*/ 226854 w 792413"/>
              <a:gd name="connsiteY26" fmla="*/ 788264 h 857293"/>
              <a:gd name="connsiteX27" fmla="*/ 222129 w 792413"/>
              <a:gd name="connsiteY27" fmla="*/ 805900 h 857293"/>
              <a:gd name="connsiteX28" fmla="*/ 222129 w 792413"/>
              <a:gd name="connsiteY28" fmla="*/ 805937 h 857293"/>
              <a:gd name="connsiteX29" fmla="*/ 136256 w 792413"/>
              <a:gd name="connsiteY29" fmla="*/ 855534 h 857293"/>
              <a:gd name="connsiteX30" fmla="*/ 118545 w 792413"/>
              <a:gd name="connsiteY30" fmla="*/ 850809 h 857293"/>
              <a:gd name="connsiteX31" fmla="*/ 118173 w 792413"/>
              <a:gd name="connsiteY31" fmla="*/ 850102 h 857293"/>
              <a:gd name="connsiteX32" fmla="*/ 1711 w 792413"/>
              <a:gd name="connsiteY32" fmla="*/ 648362 h 857293"/>
              <a:gd name="connsiteX33" fmla="*/ 6436 w 792413"/>
              <a:gd name="connsiteY33" fmla="*/ 630726 h 857293"/>
              <a:gd name="connsiteX34" fmla="*/ 6436 w 792413"/>
              <a:gd name="connsiteY34" fmla="*/ 630689 h 857293"/>
              <a:gd name="connsiteX35" fmla="*/ 92309 w 792413"/>
              <a:gd name="connsiteY35" fmla="*/ 581092 h 857293"/>
              <a:gd name="connsiteX36" fmla="*/ 110020 w 792413"/>
              <a:gd name="connsiteY36" fmla="*/ 585817 h 857293"/>
              <a:gd name="connsiteX37" fmla="*/ 117090 w 792413"/>
              <a:gd name="connsiteY37" fmla="*/ 598021 h 857293"/>
              <a:gd name="connsiteX38" fmla="*/ 245306 w 792413"/>
              <a:gd name="connsiteY38" fmla="*/ 524016 h 857293"/>
              <a:gd name="connsiteX39" fmla="*/ 279350 w 792413"/>
              <a:gd name="connsiteY39" fmla="*/ 512221 h 857293"/>
              <a:gd name="connsiteX40" fmla="*/ 315291 w 792413"/>
              <a:gd name="connsiteY40" fmla="*/ 514789 h 857293"/>
              <a:gd name="connsiteX41" fmla="*/ 496305 w 792413"/>
              <a:gd name="connsiteY41" fmla="*/ 563307 h 857293"/>
              <a:gd name="connsiteX42" fmla="*/ 522163 w 792413"/>
              <a:gd name="connsiteY42" fmla="*/ 582394 h 857293"/>
              <a:gd name="connsiteX43" fmla="*/ 503935 w 792413"/>
              <a:gd name="connsiteY43" fmla="*/ 604539 h 857293"/>
              <a:gd name="connsiteX44" fmla="*/ 503638 w 792413"/>
              <a:gd name="connsiteY44" fmla="*/ 619682 h 857293"/>
              <a:gd name="connsiteX45" fmla="*/ 491880 w 792413"/>
              <a:gd name="connsiteY45" fmla="*/ 636686 h 857293"/>
              <a:gd name="connsiteX46" fmla="*/ 475806 w 792413"/>
              <a:gd name="connsiteY46" fmla="*/ 639812 h 857293"/>
              <a:gd name="connsiteX47" fmla="*/ 351420 w 792413"/>
              <a:gd name="connsiteY47" fmla="*/ 606474 h 857293"/>
              <a:gd name="connsiteX48" fmla="*/ 335532 w 792413"/>
              <a:gd name="connsiteY48" fmla="*/ 615664 h 857293"/>
              <a:gd name="connsiteX49" fmla="*/ 344722 w 792413"/>
              <a:gd name="connsiteY49" fmla="*/ 631552 h 857293"/>
              <a:gd name="connsiteX50" fmla="*/ 469109 w 792413"/>
              <a:gd name="connsiteY50" fmla="*/ 664889 h 857293"/>
              <a:gd name="connsiteX51" fmla="*/ 506315 w 792413"/>
              <a:gd name="connsiteY51" fmla="*/ 658192 h 857293"/>
              <a:gd name="connsiteX52" fmla="*/ 528528 w 792413"/>
              <a:gd name="connsiteY52" fmla="*/ 627050 h 857293"/>
              <a:gd name="connsiteX53" fmla="*/ 528863 w 792413"/>
              <a:gd name="connsiteY53" fmla="*/ 625748 h 857293"/>
              <a:gd name="connsiteX54" fmla="*/ 530500 w 792413"/>
              <a:gd name="connsiteY54" fmla="*/ 607405 h 857293"/>
              <a:gd name="connsiteX55" fmla="*/ 718952 w 792413"/>
              <a:gd name="connsiteY55" fmla="*/ 498610 h 857293"/>
              <a:gd name="connsiteX56" fmla="*/ 719510 w 792413"/>
              <a:gd name="connsiteY56" fmla="*/ 498275 h 857293"/>
              <a:gd name="connsiteX57" fmla="*/ 742987 w 792413"/>
              <a:gd name="connsiteY57" fmla="*/ 495522 h 857293"/>
              <a:gd name="connsiteX58" fmla="*/ 762260 w 792413"/>
              <a:gd name="connsiteY58" fmla="*/ 510256 h 857293"/>
              <a:gd name="connsiteX59" fmla="*/ 762595 w 792413"/>
              <a:gd name="connsiteY59" fmla="*/ 510814 h 857293"/>
              <a:gd name="connsiteX60" fmla="*/ 765348 w 792413"/>
              <a:gd name="connsiteY60" fmla="*/ 534291 h 857293"/>
              <a:gd name="connsiteX61" fmla="*/ 750688 w 792413"/>
              <a:gd name="connsiteY61" fmla="*/ 553564 h 857293"/>
              <a:gd name="connsiteX62" fmla="*/ 750651 w 792413"/>
              <a:gd name="connsiteY62" fmla="*/ 553602 h 857293"/>
              <a:gd name="connsiteX63" fmla="*/ 750651 w 792413"/>
              <a:gd name="connsiteY63" fmla="*/ 553564 h 857293"/>
              <a:gd name="connsiteX64" fmla="*/ 446146 w 792413"/>
              <a:gd name="connsiteY64" fmla="*/ 729367 h 857293"/>
              <a:gd name="connsiteX65" fmla="*/ 445514 w 792413"/>
              <a:gd name="connsiteY65" fmla="*/ 729739 h 857293"/>
              <a:gd name="connsiteX66" fmla="*/ 421664 w 792413"/>
              <a:gd name="connsiteY66" fmla="*/ 737925 h 857293"/>
              <a:gd name="connsiteX67" fmla="*/ 395768 w 792413"/>
              <a:gd name="connsiteY67" fmla="*/ 735990 h 857293"/>
              <a:gd name="connsiteX68" fmla="*/ 324479 w 792413"/>
              <a:gd name="connsiteY68" fmla="*/ 716903 h 857293"/>
              <a:gd name="connsiteX69" fmla="*/ 288537 w 792413"/>
              <a:gd name="connsiteY69" fmla="*/ 714336 h 857293"/>
              <a:gd name="connsiteX70" fmla="*/ 254493 w 792413"/>
              <a:gd name="connsiteY70" fmla="*/ 726131 h 857293"/>
              <a:gd name="connsiteX71" fmla="*/ 254456 w 792413"/>
              <a:gd name="connsiteY71" fmla="*/ 726168 h 857293"/>
              <a:gd name="connsiteX72" fmla="*/ 254456 w 792413"/>
              <a:gd name="connsiteY72" fmla="*/ 726131 h 857293"/>
              <a:gd name="connsiteX73" fmla="*/ 206905 w 792413"/>
              <a:gd name="connsiteY73" fmla="*/ 753589 h 857293"/>
              <a:gd name="connsiteX74" fmla="*/ 130035 w 792413"/>
              <a:gd name="connsiteY74" fmla="*/ 620430 h 857293"/>
              <a:gd name="connsiteX75" fmla="*/ 258175 w 792413"/>
              <a:gd name="connsiteY75" fmla="*/ 546425 h 857293"/>
              <a:gd name="connsiteX76" fmla="*/ 282694 w 792413"/>
              <a:gd name="connsiteY76" fmla="*/ 537868 h 857293"/>
              <a:gd name="connsiteX77" fmla="*/ 308591 w 792413"/>
              <a:gd name="connsiteY77" fmla="*/ 539802 h 857293"/>
              <a:gd name="connsiteX78" fmla="*/ 489604 w 792413"/>
              <a:gd name="connsiteY78" fmla="*/ 588321 h 857293"/>
              <a:gd name="connsiteX79" fmla="*/ 501957 w 792413"/>
              <a:gd name="connsiteY79" fmla="*/ 599036 h 857293"/>
              <a:gd name="connsiteX80" fmla="*/ 503631 w 792413"/>
              <a:gd name="connsiteY80" fmla="*/ 603390 h 857293"/>
              <a:gd name="connsiteX81" fmla="*/ 503929 w 792413"/>
              <a:gd name="connsiteY81" fmla="*/ 604543 h 857293"/>
              <a:gd name="connsiteX82" fmla="*/ 565736 w 792413"/>
              <a:gd name="connsiteY82" fmla="*/ 167209 h 857293"/>
              <a:gd name="connsiteX83" fmla="*/ 482057 w 792413"/>
              <a:gd name="connsiteY83" fmla="*/ 132569 h 857293"/>
              <a:gd name="connsiteX84" fmla="*/ 398378 w 792413"/>
              <a:gd name="connsiteY84" fmla="*/ 167209 h 857293"/>
              <a:gd name="connsiteX85" fmla="*/ 363739 w 792413"/>
              <a:gd name="connsiteY85" fmla="*/ 250888 h 857293"/>
              <a:gd name="connsiteX86" fmla="*/ 398378 w 792413"/>
              <a:gd name="connsiteY86" fmla="*/ 334567 h 857293"/>
              <a:gd name="connsiteX87" fmla="*/ 482057 w 792413"/>
              <a:gd name="connsiteY87" fmla="*/ 369206 h 857293"/>
              <a:gd name="connsiteX88" fmla="*/ 565736 w 792413"/>
              <a:gd name="connsiteY88" fmla="*/ 334567 h 857293"/>
              <a:gd name="connsiteX89" fmla="*/ 600376 w 792413"/>
              <a:gd name="connsiteY89" fmla="*/ 250888 h 857293"/>
              <a:gd name="connsiteX90" fmla="*/ 565736 w 792413"/>
              <a:gd name="connsiteY90" fmla="*/ 167209 h 857293"/>
              <a:gd name="connsiteX91" fmla="*/ 482095 w 792413"/>
              <a:gd name="connsiteY91" fmla="*/ 106561 h 857293"/>
              <a:gd name="connsiteX92" fmla="*/ 584118 w 792413"/>
              <a:gd name="connsiteY92" fmla="*/ 148828 h 857293"/>
              <a:gd name="connsiteX93" fmla="*/ 626385 w 792413"/>
              <a:gd name="connsiteY93" fmla="*/ 250850 h 857293"/>
              <a:gd name="connsiteX94" fmla="*/ 584118 w 792413"/>
              <a:gd name="connsiteY94" fmla="*/ 352873 h 857293"/>
              <a:gd name="connsiteX95" fmla="*/ 482095 w 792413"/>
              <a:gd name="connsiteY95" fmla="*/ 395140 h 857293"/>
              <a:gd name="connsiteX96" fmla="*/ 380073 w 792413"/>
              <a:gd name="connsiteY96" fmla="*/ 352873 h 857293"/>
              <a:gd name="connsiteX97" fmla="*/ 337806 w 792413"/>
              <a:gd name="connsiteY97" fmla="*/ 250850 h 857293"/>
              <a:gd name="connsiteX98" fmla="*/ 380073 w 792413"/>
              <a:gd name="connsiteY98" fmla="*/ 148828 h 857293"/>
              <a:gd name="connsiteX99" fmla="*/ 482095 w 792413"/>
              <a:gd name="connsiteY99" fmla="*/ 106561 h 857293"/>
              <a:gd name="connsiteX100" fmla="*/ 545384 w 792413"/>
              <a:gd name="connsiteY100" fmla="*/ 84757 h 857293"/>
              <a:gd name="connsiteX101" fmla="*/ 489797 w 792413"/>
              <a:gd name="connsiteY101" fmla="*/ 29170 h 857293"/>
              <a:gd name="connsiteX102" fmla="*/ 482058 w 792413"/>
              <a:gd name="connsiteY102" fmla="*/ 26008 h 857293"/>
              <a:gd name="connsiteX103" fmla="*/ 474319 w 792413"/>
              <a:gd name="connsiteY103" fmla="*/ 29170 h 857293"/>
              <a:gd name="connsiteX104" fmla="*/ 418732 w 792413"/>
              <a:gd name="connsiteY104" fmla="*/ 84757 h 857293"/>
              <a:gd name="connsiteX105" fmla="*/ 417690 w 792413"/>
              <a:gd name="connsiteY105" fmla="*/ 85725 h 857293"/>
              <a:gd name="connsiteX106" fmla="*/ 417653 w 792413"/>
              <a:gd name="connsiteY106" fmla="*/ 85762 h 857293"/>
              <a:gd name="connsiteX107" fmla="*/ 417430 w 792413"/>
              <a:gd name="connsiteY107" fmla="*/ 85948 h 857293"/>
              <a:gd name="connsiteX108" fmla="*/ 417356 w 792413"/>
              <a:gd name="connsiteY108" fmla="*/ 86022 h 857293"/>
              <a:gd name="connsiteX109" fmla="*/ 417169 w 792413"/>
              <a:gd name="connsiteY109" fmla="*/ 86171 h 857293"/>
              <a:gd name="connsiteX110" fmla="*/ 417058 w 792413"/>
              <a:gd name="connsiteY110" fmla="*/ 86246 h 857293"/>
              <a:gd name="connsiteX111" fmla="*/ 416872 w 792413"/>
              <a:gd name="connsiteY111" fmla="*/ 86357 h 857293"/>
              <a:gd name="connsiteX112" fmla="*/ 416797 w 792413"/>
              <a:gd name="connsiteY112" fmla="*/ 86432 h 857293"/>
              <a:gd name="connsiteX113" fmla="*/ 416611 w 792413"/>
              <a:gd name="connsiteY113" fmla="*/ 86543 h 857293"/>
              <a:gd name="connsiteX114" fmla="*/ 416500 w 792413"/>
              <a:gd name="connsiteY114" fmla="*/ 86618 h 857293"/>
              <a:gd name="connsiteX115" fmla="*/ 416351 w 792413"/>
              <a:gd name="connsiteY115" fmla="*/ 86729 h 857293"/>
              <a:gd name="connsiteX116" fmla="*/ 416239 w 792413"/>
              <a:gd name="connsiteY116" fmla="*/ 86804 h 857293"/>
              <a:gd name="connsiteX117" fmla="*/ 416053 w 792413"/>
              <a:gd name="connsiteY117" fmla="*/ 86915 h 857293"/>
              <a:gd name="connsiteX118" fmla="*/ 415942 w 792413"/>
              <a:gd name="connsiteY118" fmla="*/ 86990 h 857293"/>
              <a:gd name="connsiteX119" fmla="*/ 415756 w 792413"/>
              <a:gd name="connsiteY119" fmla="*/ 87101 h 857293"/>
              <a:gd name="connsiteX120" fmla="*/ 415644 w 792413"/>
              <a:gd name="connsiteY120" fmla="*/ 87176 h 857293"/>
              <a:gd name="connsiteX121" fmla="*/ 415421 w 792413"/>
              <a:gd name="connsiteY121" fmla="*/ 87287 h 857293"/>
              <a:gd name="connsiteX122" fmla="*/ 415384 w 792413"/>
              <a:gd name="connsiteY122" fmla="*/ 87325 h 857293"/>
              <a:gd name="connsiteX123" fmla="*/ 415160 w 792413"/>
              <a:gd name="connsiteY123" fmla="*/ 87436 h 857293"/>
              <a:gd name="connsiteX124" fmla="*/ 415123 w 792413"/>
              <a:gd name="connsiteY124" fmla="*/ 87473 h 857293"/>
              <a:gd name="connsiteX125" fmla="*/ 414863 w 792413"/>
              <a:gd name="connsiteY125" fmla="*/ 87585 h 857293"/>
              <a:gd name="connsiteX126" fmla="*/ 409393 w 792413"/>
              <a:gd name="connsiteY126" fmla="*/ 88813 h 857293"/>
              <a:gd name="connsiteX127" fmla="*/ 330663 w 792413"/>
              <a:gd name="connsiteY127" fmla="*/ 88813 h 857293"/>
              <a:gd name="connsiteX128" fmla="*/ 322962 w 792413"/>
              <a:gd name="connsiteY128" fmla="*/ 92050 h 857293"/>
              <a:gd name="connsiteX129" fmla="*/ 319725 w 792413"/>
              <a:gd name="connsiteY129" fmla="*/ 99752 h 857293"/>
              <a:gd name="connsiteX130" fmla="*/ 319725 w 792413"/>
              <a:gd name="connsiteY130" fmla="*/ 178481 h 857293"/>
              <a:gd name="connsiteX131" fmla="*/ 318534 w 792413"/>
              <a:gd name="connsiteY131" fmla="*/ 183951 h 857293"/>
              <a:gd name="connsiteX132" fmla="*/ 318422 w 792413"/>
              <a:gd name="connsiteY132" fmla="*/ 184211 h 857293"/>
              <a:gd name="connsiteX133" fmla="*/ 318385 w 792413"/>
              <a:gd name="connsiteY133" fmla="*/ 184249 h 857293"/>
              <a:gd name="connsiteX134" fmla="*/ 318273 w 792413"/>
              <a:gd name="connsiteY134" fmla="*/ 184472 h 857293"/>
              <a:gd name="connsiteX135" fmla="*/ 318236 w 792413"/>
              <a:gd name="connsiteY135" fmla="*/ 184509 h 857293"/>
              <a:gd name="connsiteX136" fmla="*/ 318125 w 792413"/>
              <a:gd name="connsiteY136" fmla="*/ 184732 h 857293"/>
              <a:gd name="connsiteX137" fmla="*/ 318050 w 792413"/>
              <a:gd name="connsiteY137" fmla="*/ 184844 h 857293"/>
              <a:gd name="connsiteX138" fmla="*/ 317939 w 792413"/>
              <a:gd name="connsiteY138" fmla="*/ 185030 h 857293"/>
              <a:gd name="connsiteX139" fmla="*/ 317864 w 792413"/>
              <a:gd name="connsiteY139" fmla="*/ 185142 h 857293"/>
              <a:gd name="connsiteX140" fmla="*/ 317753 w 792413"/>
              <a:gd name="connsiteY140" fmla="*/ 185328 h 857293"/>
              <a:gd name="connsiteX141" fmla="*/ 317678 w 792413"/>
              <a:gd name="connsiteY141" fmla="*/ 185439 h 857293"/>
              <a:gd name="connsiteX142" fmla="*/ 317567 w 792413"/>
              <a:gd name="connsiteY142" fmla="*/ 185588 h 857293"/>
              <a:gd name="connsiteX143" fmla="*/ 317492 w 792413"/>
              <a:gd name="connsiteY143" fmla="*/ 185700 h 857293"/>
              <a:gd name="connsiteX144" fmla="*/ 317381 w 792413"/>
              <a:gd name="connsiteY144" fmla="*/ 185886 h 857293"/>
              <a:gd name="connsiteX145" fmla="*/ 317306 w 792413"/>
              <a:gd name="connsiteY145" fmla="*/ 185960 h 857293"/>
              <a:gd name="connsiteX146" fmla="*/ 317194 w 792413"/>
              <a:gd name="connsiteY146" fmla="*/ 186146 h 857293"/>
              <a:gd name="connsiteX147" fmla="*/ 317120 w 792413"/>
              <a:gd name="connsiteY147" fmla="*/ 186258 h 857293"/>
              <a:gd name="connsiteX148" fmla="*/ 316971 w 792413"/>
              <a:gd name="connsiteY148" fmla="*/ 186444 h 857293"/>
              <a:gd name="connsiteX149" fmla="*/ 316897 w 792413"/>
              <a:gd name="connsiteY149" fmla="*/ 186518 h 857293"/>
              <a:gd name="connsiteX150" fmla="*/ 316711 w 792413"/>
              <a:gd name="connsiteY150" fmla="*/ 186741 h 857293"/>
              <a:gd name="connsiteX151" fmla="*/ 316674 w 792413"/>
              <a:gd name="connsiteY151" fmla="*/ 186779 h 857293"/>
              <a:gd name="connsiteX152" fmla="*/ 315706 w 792413"/>
              <a:gd name="connsiteY152" fmla="*/ 187820 h 857293"/>
              <a:gd name="connsiteX153" fmla="*/ 260119 w 792413"/>
              <a:gd name="connsiteY153" fmla="*/ 243407 h 857293"/>
              <a:gd name="connsiteX154" fmla="*/ 256957 w 792413"/>
              <a:gd name="connsiteY154" fmla="*/ 251147 h 857293"/>
              <a:gd name="connsiteX155" fmla="*/ 260119 w 792413"/>
              <a:gd name="connsiteY155" fmla="*/ 258886 h 857293"/>
              <a:gd name="connsiteX156" fmla="*/ 315706 w 792413"/>
              <a:gd name="connsiteY156" fmla="*/ 314473 h 857293"/>
              <a:gd name="connsiteX157" fmla="*/ 316674 w 792413"/>
              <a:gd name="connsiteY157" fmla="*/ 315514 h 857293"/>
              <a:gd name="connsiteX158" fmla="*/ 316711 w 792413"/>
              <a:gd name="connsiteY158" fmla="*/ 315552 h 857293"/>
              <a:gd name="connsiteX159" fmla="*/ 316897 w 792413"/>
              <a:gd name="connsiteY159" fmla="*/ 315775 h 857293"/>
              <a:gd name="connsiteX160" fmla="*/ 316971 w 792413"/>
              <a:gd name="connsiteY160" fmla="*/ 315849 h 857293"/>
              <a:gd name="connsiteX161" fmla="*/ 317120 w 792413"/>
              <a:gd name="connsiteY161" fmla="*/ 316035 h 857293"/>
              <a:gd name="connsiteX162" fmla="*/ 317194 w 792413"/>
              <a:gd name="connsiteY162" fmla="*/ 316147 h 857293"/>
              <a:gd name="connsiteX163" fmla="*/ 317306 w 792413"/>
              <a:gd name="connsiteY163" fmla="*/ 316333 h 857293"/>
              <a:gd name="connsiteX164" fmla="*/ 317381 w 792413"/>
              <a:gd name="connsiteY164" fmla="*/ 316407 h 857293"/>
              <a:gd name="connsiteX165" fmla="*/ 317492 w 792413"/>
              <a:gd name="connsiteY165" fmla="*/ 316593 h 857293"/>
              <a:gd name="connsiteX166" fmla="*/ 317567 w 792413"/>
              <a:gd name="connsiteY166" fmla="*/ 316705 h 857293"/>
              <a:gd name="connsiteX167" fmla="*/ 317678 w 792413"/>
              <a:gd name="connsiteY167" fmla="*/ 316854 h 857293"/>
              <a:gd name="connsiteX168" fmla="*/ 317753 w 792413"/>
              <a:gd name="connsiteY168" fmla="*/ 316965 h 857293"/>
              <a:gd name="connsiteX169" fmla="*/ 317864 w 792413"/>
              <a:gd name="connsiteY169" fmla="*/ 317151 h 857293"/>
              <a:gd name="connsiteX170" fmla="*/ 317939 w 792413"/>
              <a:gd name="connsiteY170" fmla="*/ 317263 h 857293"/>
              <a:gd name="connsiteX171" fmla="*/ 318050 w 792413"/>
              <a:gd name="connsiteY171" fmla="*/ 317449 h 857293"/>
              <a:gd name="connsiteX172" fmla="*/ 318125 w 792413"/>
              <a:gd name="connsiteY172" fmla="*/ 317561 h 857293"/>
              <a:gd name="connsiteX173" fmla="*/ 318236 w 792413"/>
              <a:gd name="connsiteY173" fmla="*/ 317784 h 857293"/>
              <a:gd name="connsiteX174" fmla="*/ 318273 w 792413"/>
              <a:gd name="connsiteY174" fmla="*/ 317821 h 857293"/>
              <a:gd name="connsiteX175" fmla="*/ 318385 w 792413"/>
              <a:gd name="connsiteY175" fmla="*/ 318044 h 857293"/>
              <a:gd name="connsiteX176" fmla="*/ 318422 w 792413"/>
              <a:gd name="connsiteY176" fmla="*/ 318082 h 857293"/>
              <a:gd name="connsiteX177" fmla="*/ 318534 w 792413"/>
              <a:gd name="connsiteY177" fmla="*/ 318342 h 857293"/>
              <a:gd name="connsiteX178" fmla="*/ 319725 w 792413"/>
              <a:gd name="connsiteY178" fmla="*/ 323812 h 857293"/>
              <a:gd name="connsiteX179" fmla="*/ 319725 w 792413"/>
              <a:gd name="connsiteY179" fmla="*/ 402541 h 857293"/>
              <a:gd name="connsiteX180" fmla="*/ 322962 w 792413"/>
              <a:gd name="connsiteY180" fmla="*/ 410243 h 857293"/>
              <a:gd name="connsiteX181" fmla="*/ 330663 w 792413"/>
              <a:gd name="connsiteY181" fmla="*/ 413480 h 857293"/>
              <a:gd name="connsiteX182" fmla="*/ 409393 w 792413"/>
              <a:gd name="connsiteY182" fmla="*/ 413480 h 857293"/>
              <a:gd name="connsiteX183" fmla="*/ 414863 w 792413"/>
              <a:gd name="connsiteY183" fmla="*/ 414671 h 857293"/>
              <a:gd name="connsiteX184" fmla="*/ 415123 w 792413"/>
              <a:gd name="connsiteY184" fmla="*/ 414820 h 857293"/>
              <a:gd name="connsiteX185" fmla="*/ 415160 w 792413"/>
              <a:gd name="connsiteY185" fmla="*/ 414857 h 857293"/>
              <a:gd name="connsiteX186" fmla="*/ 415384 w 792413"/>
              <a:gd name="connsiteY186" fmla="*/ 414968 h 857293"/>
              <a:gd name="connsiteX187" fmla="*/ 415421 w 792413"/>
              <a:gd name="connsiteY187" fmla="*/ 415006 h 857293"/>
              <a:gd name="connsiteX188" fmla="*/ 415644 w 792413"/>
              <a:gd name="connsiteY188" fmla="*/ 415117 h 857293"/>
              <a:gd name="connsiteX189" fmla="*/ 415756 w 792413"/>
              <a:gd name="connsiteY189" fmla="*/ 415192 h 857293"/>
              <a:gd name="connsiteX190" fmla="*/ 415942 w 792413"/>
              <a:gd name="connsiteY190" fmla="*/ 415303 h 857293"/>
              <a:gd name="connsiteX191" fmla="*/ 416053 w 792413"/>
              <a:gd name="connsiteY191" fmla="*/ 415378 h 857293"/>
              <a:gd name="connsiteX192" fmla="*/ 416239 w 792413"/>
              <a:gd name="connsiteY192" fmla="*/ 415489 h 857293"/>
              <a:gd name="connsiteX193" fmla="*/ 416351 w 792413"/>
              <a:gd name="connsiteY193" fmla="*/ 415564 h 857293"/>
              <a:gd name="connsiteX194" fmla="*/ 416500 w 792413"/>
              <a:gd name="connsiteY194" fmla="*/ 415675 h 857293"/>
              <a:gd name="connsiteX195" fmla="*/ 416611 w 792413"/>
              <a:gd name="connsiteY195" fmla="*/ 415750 h 857293"/>
              <a:gd name="connsiteX196" fmla="*/ 416797 w 792413"/>
              <a:gd name="connsiteY196" fmla="*/ 415861 h 857293"/>
              <a:gd name="connsiteX197" fmla="*/ 416872 w 792413"/>
              <a:gd name="connsiteY197" fmla="*/ 415936 h 857293"/>
              <a:gd name="connsiteX198" fmla="*/ 417058 w 792413"/>
              <a:gd name="connsiteY198" fmla="*/ 416047 h 857293"/>
              <a:gd name="connsiteX199" fmla="*/ 417169 w 792413"/>
              <a:gd name="connsiteY199" fmla="*/ 416122 h 857293"/>
              <a:gd name="connsiteX200" fmla="*/ 417356 w 792413"/>
              <a:gd name="connsiteY200" fmla="*/ 416271 h 857293"/>
              <a:gd name="connsiteX201" fmla="*/ 417430 w 792413"/>
              <a:gd name="connsiteY201" fmla="*/ 416345 h 857293"/>
              <a:gd name="connsiteX202" fmla="*/ 417653 w 792413"/>
              <a:gd name="connsiteY202" fmla="*/ 416531 h 857293"/>
              <a:gd name="connsiteX203" fmla="*/ 417690 w 792413"/>
              <a:gd name="connsiteY203" fmla="*/ 416568 h 857293"/>
              <a:gd name="connsiteX204" fmla="*/ 418732 w 792413"/>
              <a:gd name="connsiteY204" fmla="*/ 417536 h 857293"/>
              <a:gd name="connsiteX205" fmla="*/ 474319 w 792413"/>
              <a:gd name="connsiteY205" fmla="*/ 473123 h 857293"/>
              <a:gd name="connsiteX206" fmla="*/ 482058 w 792413"/>
              <a:gd name="connsiteY206" fmla="*/ 476285 h 857293"/>
              <a:gd name="connsiteX207" fmla="*/ 489797 w 792413"/>
              <a:gd name="connsiteY207" fmla="*/ 473123 h 857293"/>
              <a:gd name="connsiteX208" fmla="*/ 545384 w 792413"/>
              <a:gd name="connsiteY208" fmla="*/ 417536 h 857293"/>
              <a:gd name="connsiteX209" fmla="*/ 546426 w 792413"/>
              <a:gd name="connsiteY209" fmla="*/ 416568 h 857293"/>
              <a:gd name="connsiteX210" fmla="*/ 546463 w 792413"/>
              <a:gd name="connsiteY210" fmla="*/ 416531 h 857293"/>
              <a:gd name="connsiteX211" fmla="*/ 546687 w 792413"/>
              <a:gd name="connsiteY211" fmla="*/ 416345 h 857293"/>
              <a:gd name="connsiteX212" fmla="*/ 546761 w 792413"/>
              <a:gd name="connsiteY212" fmla="*/ 416271 h 857293"/>
              <a:gd name="connsiteX213" fmla="*/ 546947 w 792413"/>
              <a:gd name="connsiteY213" fmla="*/ 416122 h 857293"/>
              <a:gd name="connsiteX214" fmla="*/ 547059 w 792413"/>
              <a:gd name="connsiteY214" fmla="*/ 416047 h 857293"/>
              <a:gd name="connsiteX215" fmla="*/ 547245 w 792413"/>
              <a:gd name="connsiteY215" fmla="*/ 415936 h 857293"/>
              <a:gd name="connsiteX216" fmla="*/ 547319 w 792413"/>
              <a:gd name="connsiteY216" fmla="*/ 415861 h 857293"/>
              <a:gd name="connsiteX217" fmla="*/ 547505 w 792413"/>
              <a:gd name="connsiteY217" fmla="*/ 415750 h 857293"/>
              <a:gd name="connsiteX218" fmla="*/ 547617 w 792413"/>
              <a:gd name="connsiteY218" fmla="*/ 415675 h 857293"/>
              <a:gd name="connsiteX219" fmla="*/ 547766 w 792413"/>
              <a:gd name="connsiteY219" fmla="*/ 415564 h 857293"/>
              <a:gd name="connsiteX220" fmla="*/ 547877 w 792413"/>
              <a:gd name="connsiteY220" fmla="*/ 415489 h 857293"/>
              <a:gd name="connsiteX221" fmla="*/ 548063 w 792413"/>
              <a:gd name="connsiteY221" fmla="*/ 415378 h 857293"/>
              <a:gd name="connsiteX222" fmla="*/ 548175 w 792413"/>
              <a:gd name="connsiteY222" fmla="*/ 415303 h 857293"/>
              <a:gd name="connsiteX223" fmla="*/ 548361 w 792413"/>
              <a:gd name="connsiteY223" fmla="*/ 415192 h 857293"/>
              <a:gd name="connsiteX224" fmla="*/ 548472 w 792413"/>
              <a:gd name="connsiteY224" fmla="*/ 415117 h 857293"/>
              <a:gd name="connsiteX225" fmla="*/ 548696 w 792413"/>
              <a:gd name="connsiteY225" fmla="*/ 415006 h 857293"/>
              <a:gd name="connsiteX226" fmla="*/ 548733 w 792413"/>
              <a:gd name="connsiteY226" fmla="*/ 414968 h 857293"/>
              <a:gd name="connsiteX227" fmla="*/ 548956 w 792413"/>
              <a:gd name="connsiteY227" fmla="*/ 414857 h 857293"/>
              <a:gd name="connsiteX228" fmla="*/ 548993 w 792413"/>
              <a:gd name="connsiteY228" fmla="*/ 414820 h 857293"/>
              <a:gd name="connsiteX229" fmla="*/ 549254 w 792413"/>
              <a:gd name="connsiteY229" fmla="*/ 414708 h 857293"/>
              <a:gd name="connsiteX230" fmla="*/ 554723 w 792413"/>
              <a:gd name="connsiteY230" fmla="*/ 413480 h 857293"/>
              <a:gd name="connsiteX231" fmla="*/ 633453 w 792413"/>
              <a:gd name="connsiteY231" fmla="*/ 413480 h 857293"/>
              <a:gd name="connsiteX232" fmla="*/ 641155 w 792413"/>
              <a:gd name="connsiteY232" fmla="*/ 410243 h 857293"/>
              <a:gd name="connsiteX233" fmla="*/ 644392 w 792413"/>
              <a:gd name="connsiteY233" fmla="*/ 402541 h 857293"/>
              <a:gd name="connsiteX234" fmla="*/ 644392 w 792413"/>
              <a:gd name="connsiteY234" fmla="*/ 323812 h 857293"/>
              <a:gd name="connsiteX235" fmla="*/ 645583 w 792413"/>
              <a:gd name="connsiteY235" fmla="*/ 318342 h 857293"/>
              <a:gd name="connsiteX236" fmla="*/ 645694 w 792413"/>
              <a:gd name="connsiteY236" fmla="*/ 318082 h 857293"/>
              <a:gd name="connsiteX237" fmla="*/ 645731 w 792413"/>
              <a:gd name="connsiteY237" fmla="*/ 318044 h 857293"/>
              <a:gd name="connsiteX238" fmla="*/ 645843 w 792413"/>
              <a:gd name="connsiteY238" fmla="*/ 317821 h 857293"/>
              <a:gd name="connsiteX239" fmla="*/ 645880 w 792413"/>
              <a:gd name="connsiteY239" fmla="*/ 317784 h 857293"/>
              <a:gd name="connsiteX240" fmla="*/ 645992 w 792413"/>
              <a:gd name="connsiteY240" fmla="*/ 317561 h 857293"/>
              <a:gd name="connsiteX241" fmla="*/ 646066 w 792413"/>
              <a:gd name="connsiteY241" fmla="*/ 317449 h 857293"/>
              <a:gd name="connsiteX242" fmla="*/ 646178 w 792413"/>
              <a:gd name="connsiteY242" fmla="*/ 317263 h 857293"/>
              <a:gd name="connsiteX243" fmla="*/ 646252 w 792413"/>
              <a:gd name="connsiteY243" fmla="*/ 317151 h 857293"/>
              <a:gd name="connsiteX244" fmla="*/ 646364 w 792413"/>
              <a:gd name="connsiteY244" fmla="*/ 316965 h 857293"/>
              <a:gd name="connsiteX245" fmla="*/ 646438 w 792413"/>
              <a:gd name="connsiteY245" fmla="*/ 316854 h 857293"/>
              <a:gd name="connsiteX246" fmla="*/ 646550 w 792413"/>
              <a:gd name="connsiteY246" fmla="*/ 316705 h 857293"/>
              <a:gd name="connsiteX247" fmla="*/ 646624 w 792413"/>
              <a:gd name="connsiteY247" fmla="*/ 316593 h 857293"/>
              <a:gd name="connsiteX248" fmla="*/ 646736 w 792413"/>
              <a:gd name="connsiteY248" fmla="*/ 316407 h 857293"/>
              <a:gd name="connsiteX249" fmla="*/ 646810 w 792413"/>
              <a:gd name="connsiteY249" fmla="*/ 316333 h 857293"/>
              <a:gd name="connsiteX250" fmla="*/ 646922 w 792413"/>
              <a:gd name="connsiteY250" fmla="*/ 316147 h 857293"/>
              <a:gd name="connsiteX251" fmla="*/ 646996 w 792413"/>
              <a:gd name="connsiteY251" fmla="*/ 316035 h 857293"/>
              <a:gd name="connsiteX252" fmla="*/ 647145 w 792413"/>
              <a:gd name="connsiteY252" fmla="*/ 315849 h 857293"/>
              <a:gd name="connsiteX253" fmla="*/ 647220 w 792413"/>
              <a:gd name="connsiteY253" fmla="*/ 315775 h 857293"/>
              <a:gd name="connsiteX254" fmla="*/ 647406 w 792413"/>
              <a:gd name="connsiteY254" fmla="*/ 315552 h 857293"/>
              <a:gd name="connsiteX255" fmla="*/ 647443 w 792413"/>
              <a:gd name="connsiteY255" fmla="*/ 315514 h 857293"/>
              <a:gd name="connsiteX256" fmla="*/ 648410 w 792413"/>
              <a:gd name="connsiteY256" fmla="*/ 314472 h 857293"/>
              <a:gd name="connsiteX257" fmla="*/ 703997 w 792413"/>
              <a:gd name="connsiteY257" fmla="*/ 258886 h 857293"/>
              <a:gd name="connsiteX258" fmla="*/ 707160 w 792413"/>
              <a:gd name="connsiteY258" fmla="*/ 251146 h 857293"/>
              <a:gd name="connsiteX259" fmla="*/ 703997 w 792413"/>
              <a:gd name="connsiteY259" fmla="*/ 243407 h 857293"/>
              <a:gd name="connsiteX260" fmla="*/ 648410 w 792413"/>
              <a:gd name="connsiteY260" fmla="*/ 187820 h 857293"/>
              <a:gd name="connsiteX261" fmla="*/ 647443 w 792413"/>
              <a:gd name="connsiteY261" fmla="*/ 186779 h 857293"/>
              <a:gd name="connsiteX262" fmla="*/ 647406 w 792413"/>
              <a:gd name="connsiteY262" fmla="*/ 186741 h 857293"/>
              <a:gd name="connsiteX263" fmla="*/ 647220 w 792413"/>
              <a:gd name="connsiteY263" fmla="*/ 186518 h 857293"/>
              <a:gd name="connsiteX264" fmla="*/ 647145 w 792413"/>
              <a:gd name="connsiteY264" fmla="*/ 186444 h 857293"/>
              <a:gd name="connsiteX265" fmla="*/ 646996 w 792413"/>
              <a:gd name="connsiteY265" fmla="*/ 186258 h 857293"/>
              <a:gd name="connsiteX266" fmla="*/ 646922 w 792413"/>
              <a:gd name="connsiteY266" fmla="*/ 186146 h 857293"/>
              <a:gd name="connsiteX267" fmla="*/ 646810 w 792413"/>
              <a:gd name="connsiteY267" fmla="*/ 185960 h 857293"/>
              <a:gd name="connsiteX268" fmla="*/ 646736 w 792413"/>
              <a:gd name="connsiteY268" fmla="*/ 185886 h 857293"/>
              <a:gd name="connsiteX269" fmla="*/ 646624 w 792413"/>
              <a:gd name="connsiteY269" fmla="*/ 185700 h 857293"/>
              <a:gd name="connsiteX270" fmla="*/ 646550 w 792413"/>
              <a:gd name="connsiteY270" fmla="*/ 185588 h 857293"/>
              <a:gd name="connsiteX271" fmla="*/ 646438 w 792413"/>
              <a:gd name="connsiteY271" fmla="*/ 185439 h 857293"/>
              <a:gd name="connsiteX272" fmla="*/ 646364 w 792413"/>
              <a:gd name="connsiteY272" fmla="*/ 185328 h 857293"/>
              <a:gd name="connsiteX273" fmla="*/ 646252 w 792413"/>
              <a:gd name="connsiteY273" fmla="*/ 185142 h 857293"/>
              <a:gd name="connsiteX274" fmla="*/ 646178 w 792413"/>
              <a:gd name="connsiteY274" fmla="*/ 185030 h 857293"/>
              <a:gd name="connsiteX275" fmla="*/ 646066 w 792413"/>
              <a:gd name="connsiteY275" fmla="*/ 184844 h 857293"/>
              <a:gd name="connsiteX276" fmla="*/ 645992 w 792413"/>
              <a:gd name="connsiteY276" fmla="*/ 184732 h 857293"/>
              <a:gd name="connsiteX277" fmla="*/ 645880 w 792413"/>
              <a:gd name="connsiteY277" fmla="*/ 184509 h 857293"/>
              <a:gd name="connsiteX278" fmla="*/ 645843 w 792413"/>
              <a:gd name="connsiteY278" fmla="*/ 184472 h 857293"/>
              <a:gd name="connsiteX279" fmla="*/ 645731 w 792413"/>
              <a:gd name="connsiteY279" fmla="*/ 184249 h 857293"/>
              <a:gd name="connsiteX280" fmla="*/ 645694 w 792413"/>
              <a:gd name="connsiteY280" fmla="*/ 184211 h 857293"/>
              <a:gd name="connsiteX281" fmla="*/ 645583 w 792413"/>
              <a:gd name="connsiteY281" fmla="*/ 183951 h 857293"/>
              <a:gd name="connsiteX282" fmla="*/ 644392 w 792413"/>
              <a:gd name="connsiteY282" fmla="*/ 178481 h 857293"/>
              <a:gd name="connsiteX283" fmla="*/ 644392 w 792413"/>
              <a:gd name="connsiteY283" fmla="*/ 99752 h 857293"/>
              <a:gd name="connsiteX284" fmla="*/ 641155 w 792413"/>
              <a:gd name="connsiteY284" fmla="*/ 92050 h 857293"/>
              <a:gd name="connsiteX285" fmla="*/ 633453 w 792413"/>
              <a:gd name="connsiteY285" fmla="*/ 88813 h 857293"/>
              <a:gd name="connsiteX286" fmla="*/ 554723 w 792413"/>
              <a:gd name="connsiteY286" fmla="*/ 88813 h 857293"/>
              <a:gd name="connsiteX287" fmla="*/ 549254 w 792413"/>
              <a:gd name="connsiteY287" fmla="*/ 87622 h 857293"/>
              <a:gd name="connsiteX288" fmla="*/ 548993 w 792413"/>
              <a:gd name="connsiteY288" fmla="*/ 87473 h 857293"/>
              <a:gd name="connsiteX289" fmla="*/ 548956 w 792413"/>
              <a:gd name="connsiteY289" fmla="*/ 87436 h 857293"/>
              <a:gd name="connsiteX290" fmla="*/ 548733 w 792413"/>
              <a:gd name="connsiteY290" fmla="*/ 87325 h 857293"/>
              <a:gd name="connsiteX291" fmla="*/ 548696 w 792413"/>
              <a:gd name="connsiteY291" fmla="*/ 87287 h 857293"/>
              <a:gd name="connsiteX292" fmla="*/ 548472 w 792413"/>
              <a:gd name="connsiteY292" fmla="*/ 87176 h 857293"/>
              <a:gd name="connsiteX293" fmla="*/ 548361 w 792413"/>
              <a:gd name="connsiteY293" fmla="*/ 87101 h 857293"/>
              <a:gd name="connsiteX294" fmla="*/ 548175 w 792413"/>
              <a:gd name="connsiteY294" fmla="*/ 86990 h 857293"/>
              <a:gd name="connsiteX295" fmla="*/ 548063 w 792413"/>
              <a:gd name="connsiteY295" fmla="*/ 86915 h 857293"/>
              <a:gd name="connsiteX296" fmla="*/ 547877 w 792413"/>
              <a:gd name="connsiteY296" fmla="*/ 86804 h 857293"/>
              <a:gd name="connsiteX297" fmla="*/ 547766 w 792413"/>
              <a:gd name="connsiteY297" fmla="*/ 86729 h 857293"/>
              <a:gd name="connsiteX298" fmla="*/ 547617 w 792413"/>
              <a:gd name="connsiteY298" fmla="*/ 86618 h 857293"/>
              <a:gd name="connsiteX299" fmla="*/ 547505 w 792413"/>
              <a:gd name="connsiteY299" fmla="*/ 86543 h 857293"/>
              <a:gd name="connsiteX300" fmla="*/ 547319 w 792413"/>
              <a:gd name="connsiteY300" fmla="*/ 86432 h 857293"/>
              <a:gd name="connsiteX301" fmla="*/ 547245 w 792413"/>
              <a:gd name="connsiteY301" fmla="*/ 86357 h 857293"/>
              <a:gd name="connsiteX302" fmla="*/ 547059 w 792413"/>
              <a:gd name="connsiteY302" fmla="*/ 86246 h 857293"/>
              <a:gd name="connsiteX303" fmla="*/ 546947 w 792413"/>
              <a:gd name="connsiteY303" fmla="*/ 86171 h 857293"/>
              <a:gd name="connsiteX304" fmla="*/ 546761 w 792413"/>
              <a:gd name="connsiteY304" fmla="*/ 86022 h 857293"/>
              <a:gd name="connsiteX305" fmla="*/ 546687 w 792413"/>
              <a:gd name="connsiteY305" fmla="*/ 85948 h 857293"/>
              <a:gd name="connsiteX306" fmla="*/ 546463 w 792413"/>
              <a:gd name="connsiteY306" fmla="*/ 85762 h 857293"/>
              <a:gd name="connsiteX307" fmla="*/ 546426 w 792413"/>
              <a:gd name="connsiteY307" fmla="*/ 85725 h 857293"/>
              <a:gd name="connsiteX308" fmla="*/ 545384 w 792413"/>
              <a:gd name="connsiteY308" fmla="*/ 84757 h 857293"/>
              <a:gd name="connsiteX309" fmla="*/ 404148 w 792413"/>
              <a:gd name="connsiteY309" fmla="*/ 62656 h 857293"/>
              <a:gd name="connsiteX310" fmla="*/ 330813 w 792413"/>
              <a:gd name="connsiteY310" fmla="*/ 62656 h 857293"/>
              <a:gd name="connsiteX311" fmla="*/ 304730 w 792413"/>
              <a:gd name="connsiteY311" fmla="*/ 73483 h 857293"/>
              <a:gd name="connsiteX312" fmla="*/ 293903 w 792413"/>
              <a:gd name="connsiteY312" fmla="*/ 99566 h 857293"/>
              <a:gd name="connsiteX313" fmla="*/ 293903 w 792413"/>
              <a:gd name="connsiteY313" fmla="*/ 172901 h 857293"/>
              <a:gd name="connsiteX314" fmla="*/ 242037 w 792413"/>
              <a:gd name="connsiteY314" fmla="*/ 224767 h 857293"/>
              <a:gd name="connsiteX315" fmla="*/ 231247 w 792413"/>
              <a:gd name="connsiteY315" fmla="*/ 250849 h 857293"/>
              <a:gd name="connsiteX316" fmla="*/ 242037 w 792413"/>
              <a:gd name="connsiteY316" fmla="*/ 276932 h 857293"/>
              <a:gd name="connsiteX317" fmla="*/ 293903 w 792413"/>
              <a:gd name="connsiteY317" fmla="*/ 328798 h 857293"/>
              <a:gd name="connsiteX318" fmla="*/ 293903 w 792413"/>
              <a:gd name="connsiteY318" fmla="*/ 402133 h 857293"/>
              <a:gd name="connsiteX319" fmla="*/ 304730 w 792413"/>
              <a:gd name="connsiteY319" fmla="*/ 428215 h 857293"/>
              <a:gd name="connsiteX320" fmla="*/ 330813 w 792413"/>
              <a:gd name="connsiteY320" fmla="*/ 439043 h 857293"/>
              <a:gd name="connsiteX321" fmla="*/ 404148 w 792413"/>
              <a:gd name="connsiteY321" fmla="*/ 439043 h 857293"/>
              <a:gd name="connsiteX322" fmla="*/ 456014 w 792413"/>
              <a:gd name="connsiteY322" fmla="*/ 490909 h 857293"/>
              <a:gd name="connsiteX323" fmla="*/ 482096 w 792413"/>
              <a:gd name="connsiteY323" fmla="*/ 501699 h 857293"/>
              <a:gd name="connsiteX324" fmla="*/ 508179 w 792413"/>
              <a:gd name="connsiteY324" fmla="*/ 490909 h 857293"/>
              <a:gd name="connsiteX325" fmla="*/ 560045 w 792413"/>
              <a:gd name="connsiteY325" fmla="*/ 439043 h 857293"/>
              <a:gd name="connsiteX326" fmla="*/ 633380 w 792413"/>
              <a:gd name="connsiteY326" fmla="*/ 439043 h 857293"/>
              <a:gd name="connsiteX327" fmla="*/ 659462 w 792413"/>
              <a:gd name="connsiteY327" fmla="*/ 428215 h 857293"/>
              <a:gd name="connsiteX328" fmla="*/ 670289 w 792413"/>
              <a:gd name="connsiteY328" fmla="*/ 402133 h 857293"/>
              <a:gd name="connsiteX329" fmla="*/ 670289 w 792413"/>
              <a:gd name="connsiteY329" fmla="*/ 328798 h 857293"/>
              <a:gd name="connsiteX330" fmla="*/ 722156 w 792413"/>
              <a:gd name="connsiteY330" fmla="*/ 276932 h 857293"/>
              <a:gd name="connsiteX331" fmla="*/ 732946 w 792413"/>
              <a:gd name="connsiteY331" fmla="*/ 250849 h 857293"/>
              <a:gd name="connsiteX332" fmla="*/ 722156 w 792413"/>
              <a:gd name="connsiteY332" fmla="*/ 224767 h 857293"/>
              <a:gd name="connsiteX333" fmla="*/ 670289 w 792413"/>
              <a:gd name="connsiteY333" fmla="*/ 172901 h 857293"/>
              <a:gd name="connsiteX334" fmla="*/ 670289 w 792413"/>
              <a:gd name="connsiteY334" fmla="*/ 99566 h 857293"/>
              <a:gd name="connsiteX335" fmla="*/ 659462 w 792413"/>
              <a:gd name="connsiteY335" fmla="*/ 73483 h 857293"/>
              <a:gd name="connsiteX336" fmla="*/ 633380 w 792413"/>
              <a:gd name="connsiteY336" fmla="*/ 62656 h 857293"/>
              <a:gd name="connsiteX337" fmla="*/ 560045 w 792413"/>
              <a:gd name="connsiteY337" fmla="*/ 62656 h 857293"/>
              <a:gd name="connsiteX338" fmla="*/ 508179 w 792413"/>
              <a:gd name="connsiteY338" fmla="*/ 10790 h 857293"/>
              <a:gd name="connsiteX339" fmla="*/ 482096 w 792413"/>
              <a:gd name="connsiteY339" fmla="*/ 0 h 857293"/>
              <a:gd name="connsiteX340" fmla="*/ 456014 w 792413"/>
              <a:gd name="connsiteY340" fmla="*/ 10790 h 857293"/>
              <a:gd name="connsiteX341" fmla="*/ 534297 w 792413"/>
              <a:gd name="connsiteY341" fmla="*/ 206274 h 857293"/>
              <a:gd name="connsiteX342" fmla="*/ 552678 w 792413"/>
              <a:gd name="connsiteY342" fmla="*/ 206274 h 857293"/>
              <a:gd name="connsiteX343" fmla="*/ 552678 w 792413"/>
              <a:gd name="connsiteY343" fmla="*/ 224655 h 857293"/>
              <a:gd name="connsiteX344" fmla="*/ 481835 w 792413"/>
              <a:gd name="connsiteY344" fmla="*/ 295497 h 857293"/>
              <a:gd name="connsiteX345" fmla="*/ 463455 w 792413"/>
              <a:gd name="connsiteY345" fmla="*/ 295497 h 857293"/>
              <a:gd name="connsiteX346" fmla="*/ 419737 w 792413"/>
              <a:gd name="connsiteY346" fmla="*/ 251779 h 857293"/>
              <a:gd name="connsiteX347" fmla="*/ 419737 w 792413"/>
              <a:gd name="connsiteY347" fmla="*/ 233399 h 857293"/>
              <a:gd name="connsiteX348" fmla="*/ 438118 w 792413"/>
              <a:gd name="connsiteY348" fmla="*/ 233399 h 857293"/>
              <a:gd name="connsiteX349" fmla="*/ 472646 w 792413"/>
              <a:gd name="connsiteY349" fmla="*/ 267927 h 85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792413" h="857293">
                <a:moveTo>
                  <a:pt x="191326" y="778447"/>
                </a:moveTo>
                <a:cubicBezTo>
                  <a:pt x="191177" y="778224"/>
                  <a:pt x="191028" y="778000"/>
                  <a:pt x="190916" y="777777"/>
                </a:cubicBezTo>
                <a:lnTo>
                  <a:pt x="101360" y="622663"/>
                </a:lnTo>
                <a:lnTo>
                  <a:pt x="101099" y="622216"/>
                </a:lnTo>
                <a:lnTo>
                  <a:pt x="94067" y="610013"/>
                </a:lnTo>
                <a:lnTo>
                  <a:pt x="30591" y="646662"/>
                </a:lnTo>
                <a:lnTo>
                  <a:pt x="134471" y="826599"/>
                </a:lnTo>
                <a:lnTo>
                  <a:pt x="197947" y="789949"/>
                </a:lnTo>
                <a:close/>
                <a:moveTo>
                  <a:pt x="522167" y="582327"/>
                </a:moveTo>
                <a:lnTo>
                  <a:pt x="705971" y="476209"/>
                </a:lnTo>
                <a:cubicBezTo>
                  <a:pt x="706231" y="476060"/>
                  <a:pt x="706529" y="475911"/>
                  <a:pt x="706790" y="475763"/>
                </a:cubicBezTo>
                <a:cubicBezTo>
                  <a:pt x="720370" y="468210"/>
                  <a:pt x="735737" y="466721"/>
                  <a:pt x="749689" y="470479"/>
                </a:cubicBezTo>
                <a:cubicBezTo>
                  <a:pt x="763940" y="474311"/>
                  <a:pt x="776776" y="483539"/>
                  <a:pt x="784701" y="497268"/>
                </a:cubicBezTo>
                <a:cubicBezTo>
                  <a:pt x="784850" y="497529"/>
                  <a:pt x="784999" y="497826"/>
                  <a:pt x="785148" y="498087"/>
                </a:cubicBezTo>
                <a:cubicBezTo>
                  <a:pt x="792701" y="511668"/>
                  <a:pt x="794189" y="527034"/>
                  <a:pt x="790431" y="540986"/>
                </a:cubicBezTo>
                <a:cubicBezTo>
                  <a:pt x="786636" y="555200"/>
                  <a:pt x="777371" y="567998"/>
                  <a:pt x="763605" y="575961"/>
                </a:cubicBezTo>
                <a:lnTo>
                  <a:pt x="763605" y="575998"/>
                </a:lnTo>
                <a:lnTo>
                  <a:pt x="459138" y="751801"/>
                </a:lnTo>
                <a:cubicBezTo>
                  <a:pt x="458878" y="751950"/>
                  <a:pt x="458617" y="752099"/>
                  <a:pt x="458357" y="752211"/>
                </a:cubicBezTo>
                <a:cubicBezTo>
                  <a:pt x="447641" y="758275"/>
                  <a:pt x="436479" y="762071"/>
                  <a:pt x="425019" y="763596"/>
                </a:cubicBezTo>
                <a:cubicBezTo>
                  <a:pt x="413225" y="765159"/>
                  <a:pt x="401244" y="764303"/>
                  <a:pt x="389078" y="761029"/>
                </a:cubicBezTo>
                <a:lnTo>
                  <a:pt x="317789" y="741941"/>
                </a:lnTo>
                <a:cubicBezTo>
                  <a:pt x="308859" y="739523"/>
                  <a:pt x="300190" y="738891"/>
                  <a:pt x="291892" y="740007"/>
                </a:cubicBezTo>
                <a:cubicBezTo>
                  <a:pt x="283521" y="741086"/>
                  <a:pt x="275372" y="743951"/>
                  <a:pt x="267410" y="748527"/>
                </a:cubicBezTo>
                <a:lnTo>
                  <a:pt x="267410" y="748564"/>
                </a:lnTo>
                <a:lnTo>
                  <a:pt x="219822" y="776060"/>
                </a:lnTo>
                <a:lnTo>
                  <a:pt x="226854" y="788264"/>
                </a:lnTo>
                <a:cubicBezTo>
                  <a:pt x="230389" y="794440"/>
                  <a:pt x="228268" y="802328"/>
                  <a:pt x="222129" y="805900"/>
                </a:cubicBezTo>
                <a:lnTo>
                  <a:pt x="222129" y="805937"/>
                </a:lnTo>
                <a:lnTo>
                  <a:pt x="136256" y="855534"/>
                </a:lnTo>
                <a:cubicBezTo>
                  <a:pt x="130079" y="859143"/>
                  <a:pt x="122154" y="857022"/>
                  <a:pt x="118545" y="850809"/>
                </a:cubicBezTo>
                <a:cubicBezTo>
                  <a:pt x="118396" y="850586"/>
                  <a:pt x="118284" y="850325"/>
                  <a:pt x="118173" y="850102"/>
                </a:cubicBezTo>
                <a:lnTo>
                  <a:pt x="1711" y="648362"/>
                </a:lnTo>
                <a:cubicBezTo>
                  <a:pt x="-1824" y="642186"/>
                  <a:pt x="297" y="634298"/>
                  <a:pt x="6436" y="630726"/>
                </a:cubicBezTo>
                <a:lnTo>
                  <a:pt x="6436" y="630689"/>
                </a:lnTo>
                <a:lnTo>
                  <a:pt x="92309" y="581092"/>
                </a:lnTo>
                <a:cubicBezTo>
                  <a:pt x="98486" y="577483"/>
                  <a:pt x="106411" y="579604"/>
                  <a:pt x="110020" y="585817"/>
                </a:cubicBezTo>
                <a:lnTo>
                  <a:pt x="117090" y="598021"/>
                </a:lnTo>
                <a:lnTo>
                  <a:pt x="245306" y="524016"/>
                </a:lnTo>
                <a:cubicBezTo>
                  <a:pt x="256244" y="517691"/>
                  <a:pt x="267630" y="513747"/>
                  <a:pt x="279350" y="512221"/>
                </a:cubicBezTo>
                <a:cubicBezTo>
                  <a:pt x="291145" y="510659"/>
                  <a:pt x="303125" y="511514"/>
                  <a:pt x="315291" y="514789"/>
                </a:cubicBezTo>
                <a:lnTo>
                  <a:pt x="496305" y="563307"/>
                </a:lnTo>
                <a:cubicBezTo>
                  <a:pt x="507243" y="566246"/>
                  <a:pt x="516136" y="573167"/>
                  <a:pt x="522163" y="582394"/>
                </a:cubicBezTo>
                <a:close/>
                <a:moveTo>
                  <a:pt x="503935" y="604539"/>
                </a:moveTo>
                <a:cubicBezTo>
                  <a:pt x="505051" y="609190"/>
                  <a:pt x="505051" y="614437"/>
                  <a:pt x="503638" y="619682"/>
                </a:cubicBezTo>
                <a:cubicBezTo>
                  <a:pt x="501666" y="627086"/>
                  <a:pt x="497312" y="633039"/>
                  <a:pt x="491880" y="636686"/>
                </a:cubicBezTo>
                <a:cubicBezTo>
                  <a:pt x="486969" y="639961"/>
                  <a:pt x="481239" y="641263"/>
                  <a:pt x="475806" y="639812"/>
                </a:cubicBezTo>
                <a:lnTo>
                  <a:pt x="351420" y="606474"/>
                </a:lnTo>
                <a:cubicBezTo>
                  <a:pt x="344499" y="604614"/>
                  <a:pt x="337392" y="608744"/>
                  <a:pt x="335532" y="615664"/>
                </a:cubicBezTo>
                <a:cubicBezTo>
                  <a:pt x="333671" y="622585"/>
                  <a:pt x="337801" y="629692"/>
                  <a:pt x="344722" y="631552"/>
                </a:cubicBezTo>
                <a:lnTo>
                  <a:pt x="469109" y="664889"/>
                </a:lnTo>
                <a:cubicBezTo>
                  <a:pt x="482057" y="668350"/>
                  <a:pt x="495340" y="665559"/>
                  <a:pt x="506315" y="658192"/>
                </a:cubicBezTo>
                <a:cubicBezTo>
                  <a:pt x="516584" y="651309"/>
                  <a:pt x="524770" y="640407"/>
                  <a:pt x="528528" y="627050"/>
                </a:cubicBezTo>
                <a:cubicBezTo>
                  <a:pt x="528677" y="626641"/>
                  <a:pt x="528788" y="626194"/>
                  <a:pt x="528863" y="625748"/>
                </a:cubicBezTo>
                <a:cubicBezTo>
                  <a:pt x="530425" y="619571"/>
                  <a:pt x="530946" y="613395"/>
                  <a:pt x="530500" y="607405"/>
                </a:cubicBezTo>
                <a:lnTo>
                  <a:pt x="718952" y="498610"/>
                </a:lnTo>
                <a:cubicBezTo>
                  <a:pt x="719138" y="498498"/>
                  <a:pt x="719324" y="498387"/>
                  <a:pt x="719510" y="498275"/>
                </a:cubicBezTo>
                <a:cubicBezTo>
                  <a:pt x="726877" y="494220"/>
                  <a:pt x="735323" y="493475"/>
                  <a:pt x="742987" y="495522"/>
                </a:cubicBezTo>
                <a:cubicBezTo>
                  <a:pt x="750838" y="497643"/>
                  <a:pt x="757907" y="502703"/>
                  <a:pt x="762260" y="510256"/>
                </a:cubicBezTo>
                <a:cubicBezTo>
                  <a:pt x="762372" y="510442"/>
                  <a:pt x="762483" y="510628"/>
                  <a:pt x="762595" y="510814"/>
                </a:cubicBezTo>
                <a:cubicBezTo>
                  <a:pt x="766650" y="518181"/>
                  <a:pt x="767395" y="526628"/>
                  <a:pt x="765348" y="534291"/>
                </a:cubicBezTo>
                <a:cubicBezTo>
                  <a:pt x="763227" y="542179"/>
                  <a:pt x="758167" y="549249"/>
                  <a:pt x="750688" y="553564"/>
                </a:cubicBezTo>
                <a:lnTo>
                  <a:pt x="750651" y="553602"/>
                </a:lnTo>
                <a:lnTo>
                  <a:pt x="750651" y="553564"/>
                </a:lnTo>
                <a:lnTo>
                  <a:pt x="446146" y="729367"/>
                </a:lnTo>
                <a:cubicBezTo>
                  <a:pt x="445923" y="729479"/>
                  <a:pt x="445737" y="729628"/>
                  <a:pt x="445514" y="729739"/>
                </a:cubicBezTo>
                <a:cubicBezTo>
                  <a:pt x="437737" y="734130"/>
                  <a:pt x="429776" y="736846"/>
                  <a:pt x="421664" y="737925"/>
                </a:cubicBezTo>
                <a:cubicBezTo>
                  <a:pt x="413367" y="739004"/>
                  <a:pt x="404698" y="738371"/>
                  <a:pt x="395768" y="735990"/>
                </a:cubicBezTo>
                <a:lnTo>
                  <a:pt x="324479" y="716903"/>
                </a:lnTo>
                <a:cubicBezTo>
                  <a:pt x="312312" y="713629"/>
                  <a:pt x="300331" y="712773"/>
                  <a:pt x="288537" y="714336"/>
                </a:cubicBezTo>
                <a:cubicBezTo>
                  <a:pt x="276817" y="715861"/>
                  <a:pt x="265431" y="719805"/>
                  <a:pt x="254493" y="726131"/>
                </a:cubicBezTo>
                <a:lnTo>
                  <a:pt x="254456" y="726168"/>
                </a:lnTo>
                <a:lnTo>
                  <a:pt x="254456" y="726131"/>
                </a:lnTo>
                <a:lnTo>
                  <a:pt x="206905" y="753589"/>
                </a:lnTo>
                <a:lnTo>
                  <a:pt x="130035" y="620430"/>
                </a:lnTo>
                <a:lnTo>
                  <a:pt x="258175" y="546425"/>
                </a:lnTo>
                <a:cubicBezTo>
                  <a:pt x="266137" y="541812"/>
                  <a:pt x="274323" y="538984"/>
                  <a:pt x="282694" y="537868"/>
                </a:cubicBezTo>
                <a:cubicBezTo>
                  <a:pt x="290991" y="536789"/>
                  <a:pt x="299660" y="537421"/>
                  <a:pt x="308591" y="539802"/>
                </a:cubicBezTo>
                <a:lnTo>
                  <a:pt x="489604" y="588321"/>
                </a:lnTo>
                <a:cubicBezTo>
                  <a:pt x="495036" y="589772"/>
                  <a:pt x="499352" y="593790"/>
                  <a:pt x="501957" y="599036"/>
                </a:cubicBezTo>
                <a:cubicBezTo>
                  <a:pt x="502627" y="600413"/>
                  <a:pt x="503185" y="601864"/>
                  <a:pt x="503631" y="603390"/>
                </a:cubicBezTo>
                <a:cubicBezTo>
                  <a:pt x="503706" y="603762"/>
                  <a:pt x="503817" y="604171"/>
                  <a:pt x="503929" y="604543"/>
                </a:cubicBezTo>
                <a:close/>
                <a:moveTo>
                  <a:pt x="565736" y="167209"/>
                </a:moveTo>
                <a:cubicBezTo>
                  <a:pt x="544342" y="145814"/>
                  <a:pt x="514762" y="132569"/>
                  <a:pt x="482057" y="132569"/>
                </a:cubicBezTo>
                <a:cubicBezTo>
                  <a:pt x="449389" y="132569"/>
                  <a:pt x="419810" y="145814"/>
                  <a:pt x="398378" y="167209"/>
                </a:cubicBezTo>
                <a:cubicBezTo>
                  <a:pt x="376984" y="188603"/>
                  <a:pt x="363739" y="218183"/>
                  <a:pt x="363739" y="250888"/>
                </a:cubicBezTo>
                <a:cubicBezTo>
                  <a:pt x="363739" y="283555"/>
                  <a:pt x="376984" y="313135"/>
                  <a:pt x="398378" y="334567"/>
                </a:cubicBezTo>
                <a:cubicBezTo>
                  <a:pt x="419772" y="355961"/>
                  <a:pt x="449389" y="369206"/>
                  <a:pt x="482057" y="369206"/>
                </a:cubicBezTo>
                <a:cubicBezTo>
                  <a:pt x="514725" y="369206"/>
                  <a:pt x="544305" y="355961"/>
                  <a:pt x="565736" y="334567"/>
                </a:cubicBezTo>
                <a:cubicBezTo>
                  <a:pt x="587130" y="313172"/>
                  <a:pt x="600376" y="283555"/>
                  <a:pt x="600376" y="250888"/>
                </a:cubicBezTo>
                <a:cubicBezTo>
                  <a:pt x="600376" y="218220"/>
                  <a:pt x="587130" y="188640"/>
                  <a:pt x="565736" y="167209"/>
                </a:cubicBezTo>
                <a:close/>
                <a:moveTo>
                  <a:pt x="482095" y="106561"/>
                </a:moveTo>
                <a:cubicBezTo>
                  <a:pt x="521944" y="106561"/>
                  <a:pt x="558035" y="122709"/>
                  <a:pt x="584118" y="148828"/>
                </a:cubicBezTo>
                <a:cubicBezTo>
                  <a:pt x="610237" y="174948"/>
                  <a:pt x="626385" y="211001"/>
                  <a:pt x="626385" y="250850"/>
                </a:cubicBezTo>
                <a:cubicBezTo>
                  <a:pt x="626385" y="290699"/>
                  <a:pt x="610237" y="326790"/>
                  <a:pt x="584118" y="352873"/>
                </a:cubicBezTo>
                <a:cubicBezTo>
                  <a:pt x="557998" y="378992"/>
                  <a:pt x="521945" y="395140"/>
                  <a:pt x="482095" y="395140"/>
                </a:cubicBezTo>
                <a:cubicBezTo>
                  <a:pt x="442247" y="395140"/>
                  <a:pt x="406155" y="378992"/>
                  <a:pt x="380073" y="352873"/>
                </a:cubicBezTo>
                <a:cubicBezTo>
                  <a:pt x="353954" y="326753"/>
                  <a:pt x="337806" y="290700"/>
                  <a:pt x="337806" y="250850"/>
                </a:cubicBezTo>
                <a:cubicBezTo>
                  <a:pt x="337806" y="211002"/>
                  <a:pt x="353954" y="174910"/>
                  <a:pt x="380073" y="148828"/>
                </a:cubicBezTo>
                <a:cubicBezTo>
                  <a:pt x="406193" y="122709"/>
                  <a:pt x="442246" y="106561"/>
                  <a:pt x="482095" y="106561"/>
                </a:cubicBezTo>
                <a:close/>
                <a:moveTo>
                  <a:pt x="545384" y="84757"/>
                </a:moveTo>
                <a:lnTo>
                  <a:pt x="489797" y="29170"/>
                </a:lnTo>
                <a:cubicBezTo>
                  <a:pt x="487676" y="27049"/>
                  <a:pt x="484886" y="26008"/>
                  <a:pt x="482058" y="26008"/>
                </a:cubicBezTo>
                <a:cubicBezTo>
                  <a:pt x="479230" y="26008"/>
                  <a:pt x="476440" y="27050"/>
                  <a:pt x="474319" y="29170"/>
                </a:cubicBezTo>
                <a:lnTo>
                  <a:pt x="418732" y="84757"/>
                </a:lnTo>
                <a:cubicBezTo>
                  <a:pt x="418397" y="85092"/>
                  <a:pt x="418062" y="85427"/>
                  <a:pt x="417690" y="85725"/>
                </a:cubicBezTo>
                <a:lnTo>
                  <a:pt x="417653" y="85762"/>
                </a:lnTo>
                <a:lnTo>
                  <a:pt x="417430" y="85948"/>
                </a:lnTo>
                <a:lnTo>
                  <a:pt x="417356" y="86022"/>
                </a:lnTo>
                <a:lnTo>
                  <a:pt x="417169" y="86171"/>
                </a:lnTo>
                <a:lnTo>
                  <a:pt x="417058" y="86246"/>
                </a:lnTo>
                <a:lnTo>
                  <a:pt x="416872" y="86357"/>
                </a:lnTo>
                <a:lnTo>
                  <a:pt x="416797" y="86432"/>
                </a:lnTo>
                <a:lnTo>
                  <a:pt x="416611" y="86543"/>
                </a:lnTo>
                <a:lnTo>
                  <a:pt x="416500" y="86618"/>
                </a:lnTo>
                <a:lnTo>
                  <a:pt x="416351" y="86729"/>
                </a:lnTo>
                <a:lnTo>
                  <a:pt x="416239" y="86804"/>
                </a:lnTo>
                <a:lnTo>
                  <a:pt x="416053" y="86915"/>
                </a:lnTo>
                <a:lnTo>
                  <a:pt x="415942" y="86990"/>
                </a:lnTo>
                <a:lnTo>
                  <a:pt x="415756" y="87101"/>
                </a:lnTo>
                <a:lnTo>
                  <a:pt x="415644" y="87176"/>
                </a:lnTo>
                <a:lnTo>
                  <a:pt x="415421" y="87287"/>
                </a:lnTo>
                <a:lnTo>
                  <a:pt x="415384" y="87325"/>
                </a:lnTo>
                <a:lnTo>
                  <a:pt x="415160" y="87436"/>
                </a:lnTo>
                <a:lnTo>
                  <a:pt x="415123" y="87473"/>
                </a:lnTo>
                <a:lnTo>
                  <a:pt x="414863" y="87585"/>
                </a:lnTo>
                <a:cubicBezTo>
                  <a:pt x="413188" y="88366"/>
                  <a:pt x="411365" y="88813"/>
                  <a:pt x="409393" y="88813"/>
                </a:cubicBezTo>
                <a:lnTo>
                  <a:pt x="330663" y="88813"/>
                </a:lnTo>
                <a:cubicBezTo>
                  <a:pt x="327687" y="88813"/>
                  <a:pt x="324934" y="90041"/>
                  <a:pt x="322962" y="92050"/>
                </a:cubicBezTo>
                <a:cubicBezTo>
                  <a:pt x="320952" y="94059"/>
                  <a:pt x="319725" y="96775"/>
                  <a:pt x="319725" y="99752"/>
                </a:cubicBezTo>
                <a:lnTo>
                  <a:pt x="319725" y="178481"/>
                </a:lnTo>
                <a:cubicBezTo>
                  <a:pt x="319725" y="180416"/>
                  <a:pt x="319278" y="182277"/>
                  <a:pt x="318534" y="183951"/>
                </a:cubicBezTo>
                <a:lnTo>
                  <a:pt x="318422" y="184211"/>
                </a:lnTo>
                <a:lnTo>
                  <a:pt x="318385" y="184249"/>
                </a:lnTo>
                <a:lnTo>
                  <a:pt x="318273" y="184472"/>
                </a:lnTo>
                <a:lnTo>
                  <a:pt x="318236" y="184509"/>
                </a:lnTo>
                <a:lnTo>
                  <a:pt x="318125" y="184732"/>
                </a:lnTo>
                <a:lnTo>
                  <a:pt x="318050" y="184844"/>
                </a:lnTo>
                <a:lnTo>
                  <a:pt x="317939" y="185030"/>
                </a:lnTo>
                <a:lnTo>
                  <a:pt x="317864" y="185142"/>
                </a:lnTo>
                <a:lnTo>
                  <a:pt x="317753" y="185328"/>
                </a:lnTo>
                <a:lnTo>
                  <a:pt x="317678" y="185439"/>
                </a:lnTo>
                <a:lnTo>
                  <a:pt x="317567" y="185588"/>
                </a:lnTo>
                <a:lnTo>
                  <a:pt x="317492" y="185700"/>
                </a:lnTo>
                <a:lnTo>
                  <a:pt x="317381" y="185886"/>
                </a:lnTo>
                <a:lnTo>
                  <a:pt x="317306" y="185960"/>
                </a:lnTo>
                <a:lnTo>
                  <a:pt x="317194" y="186146"/>
                </a:lnTo>
                <a:lnTo>
                  <a:pt x="317120" y="186258"/>
                </a:lnTo>
                <a:lnTo>
                  <a:pt x="316971" y="186444"/>
                </a:lnTo>
                <a:lnTo>
                  <a:pt x="316897" y="186518"/>
                </a:lnTo>
                <a:lnTo>
                  <a:pt x="316711" y="186741"/>
                </a:lnTo>
                <a:lnTo>
                  <a:pt x="316674" y="186779"/>
                </a:lnTo>
                <a:cubicBezTo>
                  <a:pt x="316376" y="187151"/>
                  <a:pt x="316041" y="187486"/>
                  <a:pt x="315706" y="187820"/>
                </a:cubicBezTo>
                <a:lnTo>
                  <a:pt x="260119" y="243407"/>
                </a:lnTo>
                <a:cubicBezTo>
                  <a:pt x="257998" y="245528"/>
                  <a:pt x="256957" y="248319"/>
                  <a:pt x="256957" y="251147"/>
                </a:cubicBezTo>
                <a:cubicBezTo>
                  <a:pt x="256957" y="253974"/>
                  <a:pt x="257999" y="256765"/>
                  <a:pt x="260119" y="258886"/>
                </a:cubicBezTo>
                <a:lnTo>
                  <a:pt x="315706" y="314473"/>
                </a:lnTo>
                <a:cubicBezTo>
                  <a:pt x="316041" y="314807"/>
                  <a:pt x="316376" y="315142"/>
                  <a:pt x="316674" y="315514"/>
                </a:cubicBezTo>
                <a:lnTo>
                  <a:pt x="316711" y="315552"/>
                </a:lnTo>
                <a:lnTo>
                  <a:pt x="316897" y="315775"/>
                </a:lnTo>
                <a:lnTo>
                  <a:pt x="316971" y="315849"/>
                </a:lnTo>
                <a:lnTo>
                  <a:pt x="317120" y="316035"/>
                </a:lnTo>
                <a:lnTo>
                  <a:pt x="317194" y="316147"/>
                </a:lnTo>
                <a:lnTo>
                  <a:pt x="317306" y="316333"/>
                </a:lnTo>
                <a:lnTo>
                  <a:pt x="317381" y="316407"/>
                </a:lnTo>
                <a:lnTo>
                  <a:pt x="317492" y="316593"/>
                </a:lnTo>
                <a:lnTo>
                  <a:pt x="317567" y="316705"/>
                </a:lnTo>
                <a:lnTo>
                  <a:pt x="317678" y="316854"/>
                </a:lnTo>
                <a:lnTo>
                  <a:pt x="317753" y="316965"/>
                </a:lnTo>
                <a:lnTo>
                  <a:pt x="317864" y="317151"/>
                </a:lnTo>
                <a:lnTo>
                  <a:pt x="317939" y="317263"/>
                </a:lnTo>
                <a:lnTo>
                  <a:pt x="318050" y="317449"/>
                </a:lnTo>
                <a:lnTo>
                  <a:pt x="318125" y="317561"/>
                </a:lnTo>
                <a:lnTo>
                  <a:pt x="318236" y="317784"/>
                </a:lnTo>
                <a:lnTo>
                  <a:pt x="318273" y="317821"/>
                </a:lnTo>
                <a:lnTo>
                  <a:pt x="318385" y="318044"/>
                </a:lnTo>
                <a:lnTo>
                  <a:pt x="318422" y="318082"/>
                </a:lnTo>
                <a:lnTo>
                  <a:pt x="318534" y="318342"/>
                </a:lnTo>
                <a:cubicBezTo>
                  <a:pt x="319315" y="320016"/>
                  <a:pt x="319725" y="321877"/>
                  <a:pt x="319725" y="323812"/>
                </a:cubicBezTo>
                <a:lnTo>
                  <a:pt x="319725" y="402541"/>
                </a:lnTo>
                <a:cubicBezTo>
                  <a:pt x="319725" y="405518"/>
                  <a:pt x="320952" y="408271"/>
                  <a:pt x="322962" y="410243"/>
                </a:cubicBezTo>
                <a:cubicBezTo>
                  <a:pt x="324934" y="412215"/>
                  <a:pt x="327687" y="413480"/>
                  <a:pt x="330663" y="413480"/>
                </a:cubicBezTo>
                <a:lnTo>
                  <a:pt x="409393" y="413480"/>
                </a:lnTo>
                <a:cubicBezTo>
                  <a:pt x="411328" y="413480"/>
                  <a:pt x="413188" y="413927"/>
                  <a:pt x="414863" y="414671"/>
                </a:cubicBezTo>
                <a:lnTo>
                  <a:pt x="415123" y="414820"/>
                </a:lnTo>
                <a:lnTo>
                  <a:pt x="415160" y="414857"/>
                </a:lnTo>
                <a:lnTo>
                  <a:pt x="415384" y="414968"/>
                </a:lnTo>
                <a:lnTo>
                  <a:pt x="415421" y="415006"/>
                </a:lnTo>
                <a:lnTo>
                  <a:pt x="415644" y="415117"/>
                </a:lnTo>
                <a:lnTo>
                  <a:pt x="415756" y="415192"/>
                </a:lnTo>
                <a:lnTo>
                  <a:pt x="415942" y="415303"/>
                </a:lnTo>
                <a:lnTo>
                  <a:pt x="416053" y="415378"/>
                </a:lnTo>
                <a:lnTo>
                  <a:pt x="416239" y="415489"/>
                </a:lnTo>
                <a:lnTo>
                  <a:pt x="416351" y="415564"/>
                </a:lnTo>
                <a:lnTo>
                  <a:pt x="416500" y="415675"/>
                </a:lnTo>
                <a:lnTo>
                  <a:pt x="416611" y="415750"/>
                </a:lnTo>
                <a:lnTo>
                  <a:pt x="416797" y="415861"/>
                </a:lnTo>
                <a:lnTo>
                  <a:pt x="416872" y="415936"/>
                </a:lnTo>
                <a:lnTo>
                  <a:pt x="417058" y="416047"/>
                </a:lnTo>
                <a:lnTo>
                  <a:pt x="417169" y="416122"/>
                </a:lnTo>
                <a:lnTo>
                  <a:pt x="417356" y="416271"/>
                </a:lnTo>
                <a:lnTo>
                  <a:pt x="417430" y="416345"/>
                </a:lnTo>
                <a:lnTo>
                  <a:pt x="417653" y="416531"/>
                </a:lnTo>
                <a:lnTo>
                  <a:pt x="417690" y="416568"/>
                </a:lnTo>
                <a:cubicBezTo>
                  <a:pt x="418062" y="416866"/>
                  <a:pt x="418397" y="417201"/>
                  <a:pt x="418732" y="417536"/>
                </a:cubicBezTo>
                <a:lnTo>
                  <a:pt x="474319" y="473123"/>
                </a:lnTo>
                <a:cubicBezTo>
                  <a:pt x="476440" y="475244"/>
                  <a:pt x="479230" y="476285"/>
                  <a:pt x="482058" y="476285"/>
                </a:cubicBezTo>
                <a:cubicBezTo>
                  <a:pt x="484886" y="476285"/>
                  <a:pt x="487676" y="475243"/>
                  <a:pt x="489797" y="473123"/>
                </a:cubicBezTo>
                <a:lnTo>
                  <a:pt x="545384" y="417536"/>
                </a:lnTo>
                <a:cubicBezTo>
                  <a:pt x="545719" y="417201"/>
                  <a:pt x="546054" y="416866"/>
                  <a:pt x="546426" y="416568"/>
                </a:cubicBezTo>
                <a:lnTo>
                  <a:pt x="546463" y="416531"/>
                </a:lnTo>
                <a:lnTo>
                  <a:pt x="546687" y="416345"/>
                </a:lnTo>
                <a:lnTo>
                  <a:pt x="546761" y="416271"/>
                </a:lnTo>
                <a:lnTo>
                  <a:pt x="546947" y="416122"/>
                </a:lnTo>
                <a:lnTo>
                  <a:pt x="547059" y="416047"/>
                </a:lnTo>
                <a:lnTo>
                  <a:pt x="547245" y="415936"/>
                </a:lnTo>
                <a:lnTo>
                  <a:pt x="547319" y="415861"/>
                </a:lnTo>
                <a:lnTo>
                  <a:pt x="547505" y="415750"/>
                </a:lnTo>
                <a:lnTo>
                  <a:pt x="547617" y="415675"/>
                </a:lnTo>
                <a:lnTo>
                  <a:pt x="547766" y="415564"/>
                </a:lnTo>
                <a:lnTo>
                  <a:pt x="547877" y="415489"/>
                </a:lnTo>
                <a:lnTo>
                  <a:pt x="548063" y="415378"/>
                </a:lnTo>
                <a:lnTo>
                  <a:pt x="548175" y="415303"/>
                </a:lnTo>
                <a:lnTo>
                  <a:pt x="548361" y="415192"/>
                </a:lnTo>
                <a:lnTo>
                  <a:pt x="548472" y="415117"/>
                </a:lnTo>
                <a:lnTo>
                  <a:pt x="548696" y="415006"/>
                </a:lnTo>
                <a:lnTo>
                  <a:pt x="548733" y="414968"/>
                </a:lnTo>
                <a:lnTo>
                  <a:pt x="548956" y="414857"/>
                </a:lnTo>
                <a:lnTo>
                  <a:pt x="548993" y="414820"/>
                </a:lnTo>
                <a:lnTo>
                  <a:pt x="549254" y="414708"/>
                </a:lnTo>
                <a:cubicBezTo>
                  <a:pt x="550928" y="413927"/>
                  <a:pt x="552751" y="413480"/>
                  <a:pt x="554723" y="413480"/>
                </a:cubicBezTo>
                <a:lnTo>
                  <a:pt x="633453" y="413480"/>
                </a:lnTo>
                <a:cubicBezTo>
                  <a:pt x="636430" y="413480"/>
                  <a:pt x="639183" y="412252"/>
                  <a:pt x="641155" y="410243"/>
                </a:cubicBezTo>
                <a:cubicBezTo>
                  <a:pt x="643164" y="408234"/>
                  <a:pt x="644392" y="405518"/>
                  <a:pt x="644392" y="402541"/>
                </a:cubicBezTo>
                <a:lnTo>
                  <a:pt x="644392" y="323812"/>
                </a:lnTo>
                <a:cubicBezTo>
                  <a:pt x="644392" y="321877"/>
                  <a:pt x="644838" y="320016"/>
                  <a:pt x="645583" y="318342"/>
                </a:cubicBezTo>
                <a:lnTo>
                  <a:pt x="645694" y="318082"/>
                </a:lnTo>
                <a:lnTo>
                  <a:pt x="645731" y="318044"/>
                </a:lnTo>
                <a:lnTo>
                  <a:pt x="645843" y="317821"/>
                </a:lnTo>
                <a:lnTo>
                  <a:pt x="645880" y="317784"/>
                </a:lnTo>
                <a:lnTo>
                  <a:pt x="645992" y="317561"/>
                </a:lnTo>
                <a:lnTo>
                  <a:pt x="646066" y="317449"/>
                </a:lnTo>
                <a:lnTo>
                  <a:pt x="646178" y="317263"/>
                </a:lnTo>
                <a:lnTo>
                  <a:pt x="646252" y="317151"/>
                </a:lnTo>
                <a:lnTo>
                  <a:pt x="646364" y="316965"/>
                </a:lnTo>
                <a:lnTo>
                  <a:pt x="646438" y="316854"/>
                </a:lnTo>
                <a:lnTo>
                  <a:pt x="646550" y="316705"/>
                </a:lnTo>
                <a:lnTo>
                  <a:pt x="646624" y="316593"/>
                </a:lnTo>
                <a:lnTo>
                  <a:pt x="646736" y="316407"/>
                </a:lnTo>
                <a:lnTo>
                  <a:pt x="646810" y="316333"/>
                </a:lnTo>
                <a:lnTo>
                  <a:pt x="646922" y="316147"/>
                </a:lnTo>
                <a:lnTo>
                  <a:pt x="646996" y="316035"/>
                </a:lnTo>
                <a:lnTo>
                  <a:pt x="647145" y="315849"/>
                </a:lnTo>
                <a:lnTo>
                  <a:pt x="647220" y="315775"/>
                </a:lnTo>
                <a:lnTo>
                  <a:pt x="647406" y="315552"/>
                </a:lnTo>
                <a:lnTo>
                  <a:pt x="647443" y="315514"/>
                </a:lnTo>
                <a:cubicBezTo>
                  <a:pt x="647741" y="315142"/>
                  <a:pt x="648075" y="314807"/>
                  <a:pt x="648410" y="314472"/>
                </a:cubicBezTo>
                <a:lnTo>
                  <a:pt x="703997" y="258886"/>
                </a:lnTo>
                <a:cubicBezTo>
                  <a:pt x="706118" y="256765"/>
                  <a:pt x="707160" y="253974"/>
                  <a:pt x="707160" y="251146"/>
                </a:cubicBezTo>
                <a:cubicBezTo>
                  <a:pt x="707160" y="248319"/>
                  <a:pt x="706118" y="245528"/>
                  <a:pt x="703997" y="243407"/>
                </a:cubicBezTo>
                <a:lnTo>
                  <a:pt x="648410" y="187820"/>
                </a:lnTo>
                <a:cubicBezTo>
                  <a:pt x="648075" y="187486"/>
                  <a:pt x="647740" y="187151"/>
                  <a:pt x="647443" y="186779"/>
                </a:cubicBezTo>
                <a:lnTo>
                  <a:pt x="647406" y="186741"/>
                </a:lnTo>
                <a:lnTo>
                  <a:pt x="647220" y="186518"/>
                </a:lnTo>
                <a:lnTo>
                  <a:pt x="647145" y="186444"/>
                </a:lnTo>
                <a:lnTo>
                  <a:pt x="646996" y="186258"/>
                </a:lnTo>
                <a:lnTo>
                  <a:pt x="646922" y="186146"/>
                </a:lnTo>
                <a:lnTo>
                  <a:pt x="646810" y="185960"/>
                </a:lnTo>
                <a:lnTo>
                  <a:pt x="646736" y="185886"/>
                </a:lnTo>
                <a:lnTo>
                  <a:pt x="646624" y="185700"/>
                </a:lnTo>
                <a:lnTo>
                  <a:pt x="646550" y="185588"/>
                </a:lnTo>
                <a:lnTo>
                  <a:pt x="646438" y="185439"/>
                </a:lnTo>
                <a:lnTo>
                  <a:pt x="646364" y="185328"/>
                </a:lnTo>
                <a:lnTo>
                  <a:pt x="646252" y="185142"/>
                </a:lnTo>
                <a:lnTo>
                  <a:pt x="646178" y="185030"/>
                </a:lnTo>
                <a:lnTo>
                  <a:pt x="646066" y="184844"/>
                </a:lnTo>
                <a:lnTo>
                  <a:pt x="645992" y="184732"/>
                </a:lnTo>
                <a:lnTo>
                  <a:pt x="645880" y="184509"/>
                </a:lnTo>
                <a:lnTo>
                  <a:pt x="645843" y="184472"/>
                </a:lnTo>
                <a:lnTo>
                  <a:pt x="645731" y="184249"/>
                </a:lnTo>
                <a:lnTo>
                  <a:pt x="645694" y="184211"/>
                </a:lnTo>
                <a:lnTo>
                  <a:pt x="645583" y="183951"/>
                </a:lnTo>
                <a:cubicBezTo>
                  <a:pt x="644801" y="182277"/>
                  <a:pt x="644392" y="180416"/>
                  <a:pt x="644392" y="178481"/>
                </a:cubicBezTo>
                <a:lnTo>
                  <a:pt x="644392" y="99752"/>
                </a:lnTo>
                <a:cubicBezTo>
                  <a:pt x="644392" y="96775"/>
                  <a:pt x="643164" y="94022"/>
                  <a:pt x="641155" y="92050"/>
                </a:cubicBezTo>
                <a:cubicBezTo>
                  <a:pt x="639146" y="90041"/>
                  <a:pt x="636430" y="88813"/>
                  <a:pt x="633453" y="88813"/>
                </a:cubicBezTo>
                <a:lnTo>
                  <a:pt x="554723" y="88813"/>
                </a:lnTo>
                <a:cubicBezTo>
                  <a:pt x="552789" y="88813"/>
                  <a:pt x="550928" y="88366"/>
                  <a:pt x="549254" y="87622"/>
                </a:cubicBezTo>
                <a:lnTo>
                  <a:pt x="548993" y="87473"/>
                </a:lnTo>
                <a:lnTo>
                  <a:pt x="548956" y="87436"/>
                </a:lnTo>
                <a:lnTo>
                  <a:pt x="548733" y="87325"/>
                </a:lnTo>
                <a:lnTo>
                  <a:pt x="548696" y="87287"/>
                </a:lnTo>
                <a:lnTo>
                  <a:pt x="548472" y="87176"/>
                </a:lnTo>
                <a:lnTo>
                  <a:pt x="548361" y="87101"/>
                </a:lnTo>
                <a:lnTo>
                  <a:pt x="548175" y="86990"/>
                </a:lnTo>
                <a:lnTo>
                  <a:pt x="548063" y="86915"/>
                </a:lnTo>
                <a:lnTo>
                  <a:pt x="547877" y="86804"/>
                </a:lnTo>
                <a:lnTo>
                  <a:pt x="547766" y="86729"/>
                </a:lnTo>
                <a:lnTo>
                  <a:pt x="547617" y="86618"/>
                </a:lnTo>
                <a:lnTo>
                  <a:pt x="547505" y="86543"/>
                </a:lnTo>
                <a:lnTo>
                  <a:pt x="547319" y="86432"/>
                </a:lnTo>
                <a:lnTo>
                  <a:pt x="547245" y="86357"/>
                </a:lnTo>
                <a:lnTo>
                  <a:pt x="547059" y="86246"/>
                </a:lnTo>
                <a:lnTo>
                  <a:pt x="546947" y="86171"/>
                </a:lnTo>
                <a:lnTo>
                  <a:pt x="546761" y="86022"/>
                </a:lnTo>
                <a:lnTo>
                  <a:pt x="546687" y="85948"/>
                </a:lnTo>
                <a:lnTo>
                  <a:pt x="546463" y="85762"/>
                </a:lnTo>
                <a:lnTo>
                  <a:pt x="546426" y="85725"/>
                </a:lnTo>
                <a:cubicBezTo>
                  <a:pt x="546054" y="85427"/>
                  <a:pt x="545719" y="85092"/>
                  <a:pt x="545384" y="84757"/>
                </a:cubicBezTo>
                <a:close/>
                <a:moveTo>
                  <a:pt x="404148" y="62656"/>
                </a:moveTo>
                <a:lnTo>
                  <a:pt x="330813" y="62656"/>
                </a:lnTo>
                <a:cubicBezTo>
                  <a:pt x="320655" y="62656"/>
                  <a:pt x="311427" y="66786"/>
                  <a:pt x="304730" y="73483"/>
                </a:cubicBezTo>
                <a:cubicBezTo>
                  <a:pt x="298033" y="80181"/>
                  <a:pt x="293903" y="89408"/>
                  <a:pt x="293903" y="99566"/>
                </a:cubicBezTo>
                <a:lnTo>
                  <a:pt x="293903" y="172901"/>
                </a:lnTo>
                <a:lnTo>
                  <a:pt x="242037" y="224767"/>
                </a:lnTo>
                <a:cubicBezTo>
                  <a:pt x="234856" y="231948"/>
                  <a:pt x="231247" y="241399"/>
                  <a:pt x="231247" y="250849"/>
                </a:cubicBezTo>
                <a:cubicBezTo>
                  <a:pt x="231247" y="260300"/>
                  <a:pt x="234856" y="269751"/>
                  <a:pt x="242037" y="276932"/>
                </a:cubicBezTo>
                <a:lnTo>
                  <a:pt x="293903" y="328798"/>
                </a:lnTo>
                <a:lnTo>
                  <a:pt x="293903" y="402133"/>
                </a:lnTo>
                <a:cubicBezTo>
                  <a:pt x="293903" y="412291"/>
                  <a:pt x="298033" y="421518"/>
                  <a:pt x="304730" y="428215"/>
                </a:cubicBezTo>
                <a:cubicBezTo>
                  <a:pt x="311428" y="434913"/>
                  <a:pt x="320655" y="439043"/>
                  <a:pt x="330813" y="439043"/>
                </a:cubicBezTo>
                <a:lnTo>
                  <a:pt x="404148" y="439043"/>
                </a:lnTo>
                <a:lnTo>
                  <a:pt x="456014" y="490909"/>
                </a:lnTo>
                <a:cubicBezTo>
                  <a:pt x="463195" y="498090"/>
                  <a:pt x="472646" y="501699"/>
                  <a:pt x="482096" y="501699"/>
                </a:cubicBezTo>
                <a:cubicBezTo>
                  <a:pt x="491547" y="501699"/>
                  <a:pt x="500998" y="498090"/>
                  <a:pt x="508179" y="490909"/>
                </a:cubicBezTo>
                <a:lnTo>
                  <a:pt x="560045" y="439043"/>
                </a:lnTo>
                <a:lnTo>
                  <a:pt x="633380" y="439043"/>
                </a:lnTo>
                <a:cubicBezTo>
                  <a:pt x="643537" y="439043"/>
                  <a:pt x="652765" y="434913"/>
                  <a:pt x="659462" y="428215"/>
                </a:cubicBezTo>
                <a:cubicBezTo>
                  <a:pt x="666159" y="421518"/>
                  <a:pt x="670289" y="412291"/>
                  <a:pt x="670289" y="402133"/>
                </a:cubicBezTo>
                <a:lnTo>
                  <a:pt x="670289" y="328798"/>
                </a:lnTo>
                <a:lnTo>
                  <a:pt x="722156" y="276932"/>
                </a:lnTo>
                <a:cubicBezTo>
                  <a:pt x="729337" y="269751"/>
                  <a:pt x="732946" y="260300"/>
                  <a:pt x="732946" y="250849"/>
                </a:cubicBezTo>
                <a:cubicBezTo>
                  <a:pt x="732946" y="241399"/>
                  <a:pt x="729337" y="231948"/>
                  <a:pt x="722156" y="224767"/>
                </a:cubicBezTo>
                <a:lnTo>
                  <a:pt x="670289" y="172901"/>
                </a:lnTo>
                <a:lnTo>
                  <a:pt x="670289" y="99566"/>
                </a:lnTo>
                <a:cubicBezTo>
                  <a:pt x="670289" y="89408"/>
                  <a:pt x="666159" y="80180"/>
                  <a:pt x="659462" y="73483"/>
                </a:cubicBezTo>
                <a:cubicBezTo>
                  <a:pt x="652765" y="66786"/>
                  <a:pt x="643537" y="62656"/>
                  <a:pt x="633380" y="62656"/>
                </a:cubicBezTo>
                <a:lnTo>
                  <a:pt x="560045" y="62656"/>
                </a:lnTo>
                <a:lnTo>
                  <a:pt x="508179" y="10790"/>
                </a:lnTo>
                <a:cubicBezTo>
                  <a:pt x="500998" y="3609"/>
                  <a:pt x="491547" y="0"/>
                  <a:pt x="482096" y="0"/>
                </a:cubicBezTo>
                <a:cubicBezTo>
                  <a:pt x="472646" y="0"/>
                  <a:pt x="463195" y="3609"/>
                  <a:pt x="456014" y="10790"/>
                </a:cubicBezTo>
                <a:close/>
                <a:moveTo>
                  <a:pt x="534297" y="206274"/>
                </a:moveTo>
                <a:cubicBezTo>
                  <a:pt x="539357" y="201214"/>
                  <a:pt x="547580" y="201214"/>
                  <a:pt x="552678" y="206274"/>
                </a:cubicBezTo>
                <a:cubicBezTo>
                  <a:pt x="557738" y="211335"/>
                  <a:pt x="557738" y="219557"/>
                  <a:pt x="552678" y="224655"/>
                </a:cubicBezTo>
                <a:lnTo>
                  <a:pt x="481835" y="295497"/>
                </a:lnTo>
                <a:cubicBezTo>
                  <a:pt x="476775" y="300557"/>
                  <a:pt x="468553" y="300557"/>
                  <a:pt x="463455" y="295497"/>
                </a:cubicBezTo>
                <a:lnTo>
                  <a:pt x="419737" y="251779"/>
                </a:lnTo>
                <a:cubicBezTo>
                  <a:pt x="414677" y="246719"/>
                  <a:pt x="414677" y="238496"/>
                  <a:pt x="419737" y="233399"/>
                </a:cubicBezTo>
                <a:cubicBezTo>
                  <a:pt x="424797" y="228339"/>
                  <a:pt x="433020" y="228339"/>
                  <a:pt x="438118" y="233399"/>
                </a:cubicBezTo>
                <a:lnTo>
                  <a:pt x="472646" y="267927"/>
                </a:lnTo>
                <a:close/>
              </a:path>
            </a:pathLst>
          </a:custGeom>
          <a:solidFill>
            <a:srgbClr val="FF0000"/>
          </a:solidFill>
          <a:ln w="9525" cap="flat">
            <a:noFill/>
            <a:prstDash val="solid"/>
            <a:miter/>
          </a:ln>
        </p:spPr>
        <p:txBody>
          <a:bodyPr rtlCol="0" anchor="ctr"/>
          <a:lstStyle/>
          <a:p>
            <a:endParaRPr lang="en-IN"/>
          </a:p>
        </p:txBody>
      </p:sp>
      <p:pic>
        <p:nvPicPr>
          <p:cNvPr id="10" name="Picture 9" descr="A blue and white rectangular object with a white circle&#10;&#10;AI-generated content may be incorrect.">
            <a:extLst>
              <a:ext uri="{FF2B5EF4-FFF2-40B4-BE49-F238E27FC236}">
                <a16:creationId xmlns:a16="http://schemas.microsoft.com/office/drawing/2014/main" id="{39F12B9C-0D8E-5038-27F1-A746D81CA7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4607" y="2344179"/>
            <a:ext cx="2363182" cy="3859758"/>
          </a:xfrm>
          <a:prstGeom prst="rect">
            <a:avLst/>
          </a:prstGeom>
        </p:spPr>
      </p:pic>
      <p:sp>
        <p:nvSpPr>
          <p:cNvPr id="17" name="Rectangle 16">
            <a:extLst>
              <a:ext uri="{FF2B5EF4-FFF2-40B4-BE49-F238E27FC236}">
                <a16:creationId xmlns:a16="http://schemas.microsoft.com/office/drawing/2014/main" id="{3C9EB38D-4DAE-2D17-EEB3-D9E8C2EE187E}"/>
              </a:ext>
            </a:extLst>
          </p:cNvPr>
          <p:cNvSpPr/>
          <p:nvPr/>
        </p:nvSpPr>
        <p:spPr>
          <a:xfrm>
            <a:off x="8454607" y="3423836"/>
            <a:ext cx="2208590" cy="646331"/>
          </a:xfrm>
          <a:prstGeom prst="rect">
            <a:avLst/>
          </a:prstGeom>
          <a:noFill/>
        </p:spPr>
        <p:txBody>
          <a:bodyPr wrap="square" lIns="91440" tIns="45720" rIns="91440" bIns="45720">
            <a:spAutoFit/>
          </a:bodyPr>
          <a:lstStyle/>
          <a:p>
            <a:pPr marL="171450" indent="-171450">
              <a:spcBef>
                <a:spcPts val="600"/>
              </a:spcBef>
              <a:buFont typeface="Arial" panose="020B0604020202020204" pitchFamily="34" charset="0"/>
              <a:buChar char="•"/>
            </a:pPr>
            <a:r>
              <a:rPr lang="en-US" sz="1200">
                <a:latin typeface="Roboto"/>
                <a:ea typeface="Roboto"/>
                <a:cs typeface="Roboto"/>
              </a:rPr>
              <a:t>Shortens month-end close cycles and reduces manual reconciliation friction.</a:t>
            </a:r>
            <a:endParaRPr lang="en-US" sz="1200" cap="none" spc="0">
              <a:ln w="0"/>
              <a:solidFill>
                <a:schemeClr val="tx1">
                  <a:lumMod val="65000"/>
                  <a:lumOff val="35000"/>
                </a:schemeClr>
              </a:solidFill>
              <a:effectLst/>
              <a:latin typeface="Roboto"/>
              <a:ea typeface="Roboto"/>
              <a:cs typeface="Roboto"/>
            </a:endParaRPr>
          </a:p>
        </p:txBody>
      </p:sp>
      <p:sp>
        <p:nvSpPr>
          <p:cNvPr id="21" name="Rectangle 20">
            <a:extLst>
              <a:ext uri="{FF2B5EF4-FFF2-40B4-BE49-F238E27FC236}">
                <a16:creationId xmlns:a16="http://schemas.microsoft.com/office/drawing/2014/main" id="{CD76C84C-EB14-66FA-A01B-3336B9211D15}"/>
              </a:ext>
            </a:extLst>
          </p:cNvPr>
          <p:cNvSpPr/>
          <p:nvPr/>
        </p:nvSpPr>
        <p:spPr>
          <a:xfrm>
            <a:off x="8679866" y="2454367"/>
            <a:ext cx="1758069" cy="523220"/>
          </a:xfrm>
          <a:prstGeom prst="rect">
            <a:avLst/>
          </a:prstGeom>
          <a:noFill/>
        </p:spPr>
        <p:txBody>
          <a:bodyPr wrap="square" lIns="91440" tIns="45720" rIns="91440" bIns="45720">
            <a:spAutoFit/>
          </a:bodyPr>
          <a:lstStyle/>
          <a:p>
            <a:pPr algn="ctr"/>
            <a:r>
              <a:rPr lang="es-CO" sz="1400" err="1">
                <a:solidFill>
                  <a:schemeClr val="bg1"/>
                </a:solidFill>
              </a:rPr>
              <a:t>Improved</a:t>
            </a:r>
            <a:r>
              <a:rPr lang="es-CO" sz="1400">
                <a:solidFill>
                  <a:schemeClr val="bg1"/>
                </a:solidFill>
              </a:rPr>
              <a:t> </a:t>
            </a:r>
            <a:r>
              <a:rPr lang="es-CO" sz="1400" err="1">
                <a:solidFill>
                  <a:schemeClr val="bg1"/>
                </a:solidFill>
              </a:rPr>
              <a:t>Quality</a:t>
            </a:r>
            <a:r>
              <a:rPr lang="es-CO" sz="1400">
                <a:solidFill>
                  <a:schemeClr val="bg1"/>
                </a:solidFill>
              </a:rPr>
              <a:t> &amp; </a:t>
            </a:r>
            <a:r>
              <a:rPr lang="es-CO" sz="1400" err="1">
                <a:solidFill>
                  <a:schemeClr val="bg1"/>
                </a:solidFill>
              </a:rPr>
              <a:t>Compliance</a:t>
            </a:r>
            <a:endParaRPr lang="en-US" sz="1300" cap="none" spc="0">
              <a:ln w="0"/>
              <a:solidFill>
                <a:schemeClr val="bg1"/>
              </a:solidFill>
              <a:effectLst/>
              <a:latin typeface="Roboto" pitchFamily="2" charset="0"/>
              <a:ea typeface="Roboto" pitchFamily="2" charset="0"/>
            </a:endParaRPr>
          </a:p>
        </p:txBody>
      </p:sp>
      <p:sp>
        <p:nvSpPr>
          <p:cNvPr id="28" name="Rectangle 27">
            <a:extLst>
              <a:ext uri="{FF2B5EF4-FFF2-40B4-BE49-F238E27FC236}">
                <a16:creationId xmlns:a16="http://schemas.microsoft.com/office/drawing/2014/main" id="{F9BCC1DF-BE1D-F75E-665E-4CE14D0E6FF6}"/>
              </a:ext>
            </a:extLst>
          </p:cNvPr>
          <p:cNvSpPr/>
          <p:nvPr/>
        </p:nvSpPr>
        <p:spPr>
          <a:xfrm>
            <a:off x="8695741" y="4715844"/>
            <a:ext cx="1758069" cy="292388"/>
          </a:xfrm>
          <a:prstGeom prst="rect">
            <a:avLst/>
          </a:prstGeom>
          <a:noFill/>
        </p:spPr>
        <p:txBody>
          <a:bodyPr wrap="square" lIns="91440" tIns="45720" rIns="91440" bIns="45720">
            <a:spAutoFit/>
          </a:bodyPr>
          <a:lstStyle/>
          <a:p>
            <a:pPr algn="ctr"/>
            <a:r>
              <a:rPr lang="en-US" sz="1300">
                <a:solidFill>
                  <a:schemeClr val="bg1"/>
                </a:solidFill>
                <a:effectLst/>
                <a:latin typeface="Roboto medium" pitchFamily="2" charset="0"/>
                <a:ea typeface="Roboto medium" pitchFamily="2" charset="0"/>
              </a:rPr>
              <a:t>Outcome</a:t>
            </a:r>
            <a:endParaRPr lang="en-US" sz="1300" cap="none" spc="0">
              <a:ln w="0"/>
              <a:solidFill>
                <a:schemeClr val="bg1"/>
              </a:solidFill>
              <a:effectLst/>
              <a:latin typeface="Roboto medium" pitchFamily="2" charset="0"/>
              <a:ea typeface="Roboto medium" pitchFamily="2" charset="0"/>
            </a:endParaRPr>
          </a:p>
        </p:txBody>
      </p:sp>
      <p:sp>
        <p:nvSpPr>
          <p:cNvPr id="30" name="Rectangle 29">
            <a:extLst>
              <a:ext uri="{FF2B5EF4-FFF2-40B4-BE49-F238E27FC236}">
                <a16:creationId xmlns:a16="http://schemas.microsoft.com/office/drawing/2014/main" id="{9B5A582E-9615-5534-6C3E-482C73221B04}"/>
              </a:ext>
            </a:extLst>
          </p:cNvPr>
          <p:cNvSpPr/>
          <p:nvPr/>
        </p:nvSpPr>
        <p:spPr>
          <a:xfrm>
            <a:off x="8609199" y="5244889"/>
            <a:ext cx="2208590" cy="646331"/>
          </a:xfrm>
          <a:prstGeom prst="rect">
            <a:avLst/>
          </a:prstGeom>
          <a:noFill/>
        </p:spPr>
        <p:txBody>
          <a:bodyPr wrap="square" lIns="91440" tIns="45720" rIns="91440" bIns="45720">
            <a:spAutoFit/>
          </a:bodyPr>
          <a:lstStyle/>
          <a:p>
            <a:r>
              <a:rPr lang="en-US" sz="1200">
                <a:latin typeface="Roboto"/>
                <a:ea typeface="Roboto"/>
                <a:cs typeface="Roboto"/>
              </a:rPr>
              <a:t>Explainable decisions with line-level rationales and improved audit readiness.</a:t>
            </a:r>
            <a:endParaRPr lang="en-US" sz="1200" cap="none" spc="0">
              <a:ln w="0"/>
              <a:solidFill>
                <a:schemeClr val="tx1">
                  <a:lumMod val="65000"/>
                  <a:lumOff val="35000"/>
                </a:schemeClr>
              </a:solidFill>
              <a:effectLst/>
              <a:latin typeface="Roboto"/>
              <a:ea typeface="Roboto"/>
              <a:cs typeface="Roboto"/>
            </a:endParaRPr>
          </a:p>
        </p:txBody>
      </p:sp>
      <p:sp>
        <p:nvSpPr>
          <p:cNvPr id="32" name="Freeform: Shape 31">
            <a:extLst>
              <a:ext uri="{FF2B5EF4-FFF2-40B4-BE49-F238E27FC236}">
                <a16:creationId xmlns:a16="http://schemas.microsoft.com/office/drawing/2014/main" id="{388F45C7-0A9F-E2C4-9B62-CA89E90E70A9}"/>
              </a:ext>
            </a:extLst>
          </p:cNvPr>
          <p:cNvSpPr/>
          <p:nvPr/>
        </p:nvSpPr>
        <p:spPr>
          <a:xfrm>
            <a:off x="9460781" y="3067690"/>
            <a:ext cx="217439" cy="252576"/>
          </a:xfrm>
          <a:custGeom>
            <a:avLst/>
            <a:gdLst>
              <a:gd name="connsiteX0" fmla="*/ 383385 w 754368"/>
              <a:gd name="connsiteY0" fmla="*/ 341656 h 876270"/>
              <a:gd name="connsiteX1" fmla="*/ 346997 w 754368"/>
              <a:gd name="connsiteY1" fmla="*/ 324132 h 876270"/>
              <a:gd name="connsiteX2" fmla="*/ 337286 w 754368"/>
              <a:gd name="connsiteY2" fmla="*/ 301361 h 876270"/>
              <a:gd name="connsiteX3" fmla="*/ 348895 w 754368"/>
              <a:gd name="connsiteY3" fmla="*/ 273345 h 876270"/>
              <a:gd name="connsiteX4" fmla="*/ 376912 w 754368"/>
              <a:gd name="connsiteY4" fmla="*/ 261736 h 876270"/>
              <a:gd name="connsiteX5" fmla="*/ 397785 w 754368"/>
              <a:gd name="connsiteY5" fmla="*/ 267540 h 876270"/>
              <a:gd name="connsiteX6" fmla="*/ 412556 w 754368"/>
              <a:gd name="connsiteY6" fmla="*/ 283651 h 876270"/>
              <a:gd name="connsiteX7" fmla="*/ 460367 w 754368"/>
              <a:gd name="connsiteY7" fmla="*/ 299575 h 876270"/>
              <a:gd name="connsiteX8" fmla="*/ 476292 w 754368"/>
              <a:gd name="connsiteY8" fmla="*/ 251765 h 876270"/>
              <a:gd name="connsiteX9" fmla="*/ 435252 w 754368"/>
              <a:gd name="connsiteY9" fmla="*/ 206893 h 876270"/>
              <a:gd name="connsiteX10" fmla="*/ 412668 w 754368"/>
              <a:gd name="connsiteY10" fmla="*/ 196215 h 876270"/>
              <a:gd name="connsiteX11" fmla="*/ 412668 w 754368"/>
              <a:gd name="connsiteY11" fmla="*/ 174040 h 876270"/>
              <a:gd name="connsiteX12" fmla="*/ 376949 w 754368"/>
              <a:gd name="connsiteY12" fmla="*/ 138321 h 876270"/>
              <a:gd name="connsiteX13" fmla="*/ 341230 w 754368"/>
              <a:gd name="connsiteY13" fmla="*/ 174040 h 876270"/>
              <a:gd name="connsiteX14" fmla="*/ 341230 w 754368"/>
              <a:gd name="connsiteY14" fmla="*/ 196141 h 876270"/>
              <a:gd name="connsiteX15" fmla="*/ 298479 w 754368"/>
              <a:gd name="connsiteY15" fmla="*/ 222818 h 876270"/>
              <a:gd name="connsiteX16" fmla="*/ 265886 w 754368"/>
              <a:gd name="connsiteY16" fmla="*/ 301399 h 876270"/>
              <a:gd name="connsiteX17" fmla="*/ 296545 w 754368"/>
              <a:gd name="connsiteY17" fmla="*/ 374734 h 876270"/>
              <a:gd name="connsiteX18" fmla="*/ 370363 w 754368"/>
              <a:gd name="connsiteY18" fmla="*/ 411867 h 876270"/>
              <a:gd name="connsiteX19" fmla="*/ 406752 w 754368"/>
              <a:gd name="connsiteY19" fmla="*/ 429391 h 876270"/>
              <a:gd name="connsiteX20" fmla="*/ 416463 w 754368"/>
              <a:gd name="connsiteY20" fmla="*/ 452161 h 876270"/>
              <a:gd name="connsiteX21" fmla="*/ 404853 w 754368"/>
              <a:gd name="connsiteY21" fmla="*/ 480178 h 876270"/>
              <a:gd name="connsiteX22" fmla="*/ 376837 w 754368"/>
              <a:gd name="connsiteY22" fmla="*/ 491787 h 876270"/>
              <a:gd name="connsiteX23" fmla="*/ 355964 w 754368"/>
              <a:gd name="connsiteY23" fmla="*/ 485983 h 876270"/>
              <a:gd name="connsiteX24" fmla="*/ 341192 w 754368"/>
              <a:gd name="connsiteY24" fmla="*/ 469872 h 876270"/>
              <a:gd name="connsiteX25" fmla="*/ 320616 w 754368"/>
              <a:gd name="connsiteY25" fmla="*/ 451976 h 876270"/>
              <a:gd name="connsiteX26" fmla="*/ 293380 w 754368"/>
              <a:gd name="connsiteY26" fmla="*/ 453873 h 876270"/>
              <a:gd name="connsiteX27" fmla="*/ 275484 w 754368"/>
              <a:gd name="connsiteY27" fmla="*/ 474449 h 876270"/>
              <a:gd name="connsiteX28" fmla="*/ 277382 w 754368"/>
              <a:gd name="connsiteY28" fmla="*/ 501685 h 876270"/>
              <a:gd name="connsiteX29" fmla="*/ 318421 w 754368"/>
              <a:gd name="connsiteY29" fmla="*/ 546556 h 876270"/>
              <a:gd name="connsiteX30" fmla="*/ 341006 w 754368"/>
              <a:gd name="connsiteY30" fmla="*/ 557235 h 876270"/>
              <a:gd name="connsiteX31" fmla="*/ 341006 w 754368"/>
              <a:gd name="connsiteY31" fmla="*/ 579410 h 876270"/>
              <a:gd name="connsiteX32" fmla="*/ 376724 w 754368"/>
              <a:gd name="connsiteY32" fmla="*/ 615129 h 876270"/>
              <a:gd name="connsiteX33" fmla="*/ 412443 w 754368"/>
              <a:gd name="connsiteY33" fmla="*/ 579410 h 876270"/>
              <a:gd name="connsiteX34" fmla="*/ 412443 w 754368"/>
              <a:gd name="connsiteY34" fmla="*/ 557309 h 876270"/>
              <a:gd name="connsiteX35" fmla="*/ 455194 w 754368"/>
              <a:gd name="connsiteY35" fmla="*/ 530631 h 876270"/>
              <a:gd name="connsiteX36" fmla="*/ 487788 w 754368"/>
              <a:gd name="connsiteY36" fmla="*/ 452050 h 876270"/>
              <a:gd name="connsiteX37" fmla="*/ 457129 w 754368"/>
              <a:gd name="connsiteY37" fmla="*/ 378715 h 876270"/>
              <a:gd name="connsiteX38" fmla="*/ 383384 w 754368"/>
              <a:gd name="connsiteY38" fmla="*/ 341657 h 876270"/>
              <a:gd name="connsiteX39" fmla="*/ 442731 w 754368"/>
              <a:gd name="connsiteY39" fmla="*/ 518059 h 876270"/>
              <a:gd name="connsiteX40" fmla="*/ 401282 w 754368"/>
              <a:gd name="connsiteY40" fmla="*/ 542169 h 876270"/>
              <a:gd name="connsiteX41" fmla="*/ 394696 w 754368"/>
              <a:gd name="connsiteY41" fmla="*/ 550838 h 876270"/>
              <a:gd name="connsiteX42" fmla="*/ 394696 w 754368"/>
              <a:gd name="connsiteY42" fmla="*/ 579599 h 876270"/>
              <a:gd name="connsiteX43" fmla="*/ 376799 w 754368"/>
              <a:gd name="connsiteY43" fmla="*/ 597495 h 876270"/>
              <a:gd name="connsiteX44" fmla="*/ 358903 w 754368"/>
              <a:gd name="connsiteY44" fmla="*/ 579599 h 876270"/>
              <a:gd name="connsiteX45" fmla="*/ 358903 w 754368"/>
              <a:gd name="connsiteY45" fmla="*/ 550838 h 876270"/>
              <a:gd name="connsiteX46" fmla="*/ 352317 w 754368"/>
              <a:gd name="connsiteY46" fmla="*/ 542169 h 876270"/>
              <a:gd name="connsiteX47" fmla="*/ 327835 w 754368"/>
              <a:gd name="connsiteY47" fmla="*/ 531490 h 876270"/>
              <a:gd name="connsiteX48" fmla="*/ 293456 w 754368"/>
              <a:gd name="connsiteY48" fmla="*/ 493874 h 876270"/>
              <a:gd name="connsiteX49" fmla="*/ 292488 w 754368"/>
              <a:gd name="connsiteY49" fmla="*/ 480331 h 876270"/>
              <a:gd name="connsiteX50" fmla="*/ 301455 w 754368"/>
              <a:gd name="connsiteY50" fmla="*/ 470062 h 876270"/>
              <a:gd name="connsiteX51" fmla="*/ 309343 w 754368"/>
              <a:gd name="connsiteY51" fmla="*/ 468164 h 876270"/>
              <a:gd name="connsiteX52" fmla="*/ 314961 w 754368"/>
              <a:gd name="connsiteY52" fmla="*/ 469131 h 876270"/>
              <a:gd name="connsiteX53" fmla="*/ 325230 w 754368"/>
              <a:gd name="connsiteY53" fmla="*/ 478098 h 876270"/>
              <a:gd name="connsiteX54" fmla="*/ 346550 w 754368"/>
              <a:gd name="connsiteY54" fmla="*/ 501353 h 876270"/>
              <a:gd name="connsiteX55" fmla="*/ 376762 w 754368"/>
              <a:gd name="connsiteY55" fmla="*/ 509836 h 876270"/>
              <a:gd name="connsiteX56" fmla="*/ 417429 w 754368"/>
              <a:gd name="connsiteY56" fmla="*/ 492981 h 876270"/>
              <a:gd name="connsiteX57" fmla="*/ 434284 w 754368"/>
              <a:gd name="connsiteY57" fmla="*/ 452314 h 876270"/>
              <a:gd name="connsiteX58" fmla="*/ 419327 w 754368"/>
              <a:gd name="connsiteY58" fmla="*/ 416968 h 876270"/>
              <a:gd name="connsiteX59" fmla="*/ 373599 w 754368"/>
              <a:gd name="connsiteY59" fmla="*/ 394495 h 876270"/>
              <a:gd name="connsiteX60" fmla="*/ 309120 w 754368"/>
              <a:gd name="connsiteY60" fmla="*/ 362311 h 876270"/>
              <a:gd name="connsiteX61" fmla="*/ 283670 w 754368"/>
              <a:gd name="connsiteY61" fmla="*/ 301626 h 876270"/>
              <a:gd name="connsiteX62" fmla="*/ 311017 w 754368"/>
              <a:gd name="connsiteY62" fmla="*/ 235695 h 876270"/>
              <a:gd name="connsiteX63" fmla="*/ 352466 w 754368"/>
              <a:gd name="connsiteY63" fmla="*/ 211585 h 876270"/>
              <a:gd name="connsiteX64" fmla="*/ 359052 w 754368"/>
              <a:gd name="connsiteY64" fmla="*/ 202916 h 876270"/>
              <a:gd name="connsiteX65" fmla="*/ 359052 w 754368"/>
              <a:gd name="connsiteY65" fmla="*/ 174155 h 876270"/>
              <a:gd name="connsiteX66" fmla="*/ 376948 w 754368"/>
              <a:gd name="connsiteY66" fmla="*/ 156259 h 876270"/>
              <a:gd name="connsiteX67" fmla="*/ 394845 w 754368"/>
              <a:gd name="connsiteY67" fmla="*/ 174155 h 876270"/>
              <a:gd name="connsiteX68" fmla="*/ 394845 w 754368"/>
              <a:gd name="connsiteY68" fmla="*/ 202916 h 876270"/>
              <a:gd name="connsiteX69" fmla="*/ 401430 w 754368"/>
              <a:gd name="connsiteY69" fmla="*/ 211585 h 876270"/>
              <a:gd name="connsiteX70" fmla="*/ 425912 w 754368"/>
              <a:gd name="connsiteY70" fmla="*/ 222264 h 876270"/>
              <a:gd name="connsiteX71" fmla="*/ 460292 w 754368"/>
              <a:gd name="connsiteY71" fmla="*/ 259880 h 876270"/>
              <a:gd name="connsiteX72" fmla="*/ 452404 w 754368"/>
              <a:gd name="connsiteY72" fmla="*/ 283692 h 876270"/>
              <a:gd name="connsiteX73" fmla="*/ 428592 w 754368"/>
              <a:gd name="connsiteY73" fmla="*/ 275804 h 876270"/>
              <a:gd name="connsiteX74" fmla="*/ 407272 w 754368"/>
              <a:gd name="connsiteY74" fmla="*/ 252550 h 876270"/>
              <a:gd name="connsiteX75" fmla="*/ 377059 w 754368"/>
              <a:gd name="connsiteY75" fmla="*/ 244067 h 876270"/>
              <a:gd name="connsiteX76" fmla="*/ 336392 w 754368"/>
              <a:gd name="connsiteY76" fmla="*/ 260921 h 876270"/>
              <a:gd name="connsiteX77" fmla="*/ 319538 w 754368"/>
              <a:gd name="connsiteY77" fmla="*/ 301588 h 876270"/>
              <a:gd name="connsiteX78" fmla="*/ 334495 w 754368"/>
              <a:gd name="connsiteY78" fmla="*/ 336935 h 876270"/>
              <a:gd name="connsiteX79" fmla="*/ 380223 w 754368"/>
              <a:gd name="connsiteY79" fmla="*/ 359408 h 876270"/>
              <a:gd name="connsiteX80" fmla="*/ 444702 w 754368"/>
              <a:gd name="connsiteY80" fmla="*/ 391592 h 876270"/>
              <a:gd name="connsiteX81" fmla="*/ 470152 w 754368"/>
              <a:gd name="connsiteY81" fmla="*/ 452277 h 876270"/>
              <a:gd name="connsiteX82" fmla="*/ 442730 w 754368"/>
              <a:gd name="connsiteY82" fmla="*/ 518058 h 876270"/>
              <a:gd name="connsiteX83" fmla="*/ 752103 w 754368"/>
              <a:gd name="connsiteY83" fmla="*/ 706368 h 876270"/>
              <a:gd name="connsiteX84" fmla="*/ 731527 w 754368"/>
              <a:gd name="connsiteY84" fmla="*/ 693420 h 876270"/>
              <a:gd name="connsiteX85" fmla="*/ 703324 w 754368"/>
              <a:gd name="connsiteY85" fmla="*/ 693420 h 876270"/>
              <a:gd name="connsiteX86" fmla="*/ 703324 w 754368"/>
              <a:gd name="connsiteY86" fmla="*/ 564833 h 876270"/>
              <a:gd name="connsiteX87" fmla="*/ 753628 w 754368"/>
              <a:gd name="connsiteY87" fmla="*/ 376904 h 876270"/>
              <a:gd name="connsiteX88" fmla="*/ 376828 w 754368"/>
              <a:gd name="connsiteY88" fmla="*/ 0 h 876270"/>
              <a:gd name="connsiteX89" fmla="*/ 0 w 754368"/>
              <a:gd name="connsiteY89" fmla="*/ 376799 h 876270"/>
              <a:gd name="connsiteX90" fmla="*/ 376799 w 754368"/>
              <a:gd name="connsiteY90" fmla="*/ 753599 h 876270"/>
              <a:gd name="connsiteX91" fmla="*/ 491957 w 754368"/>
              <a:gd name="connsiteY91" fmla="*/ 735591 h 876270"/>
              <a:gd name="connsiteX92" fmla="*/ 598141 w 754368"/>
              <a:gd name="connsiteY92" fmla="*/ 866560 h 876270"/>
              <a:gd name="connsiteX93" fmla="*/ 618531 w 754368"/>
              <a:gd name="connsiteY93" fmla="*/ 876270 h 876270"/>
              <a:gd name="connsiteX94" fmla="*/ 638920 w 754368"/>
              <a:gd name="connsiteY94" fmla="*/ 866560 h 876270"/>
              <a:gd name="connsiteX95" fmla="*/ 749238 w 754368"/>
              <a:gd name="connsiteY95" fmla="*/ 730571 h 876270"/>
              <a:gd name="connsiteX96" fmla="*/ 752103 w 754368"/>
              <a:gd name="connsiteY96" fmla="*/ 706386 h 876270"/>
              <a:gd name="connsiteX97" fmla="*/ 17935 w 754368"/>
              <a:gd name="connsiteY97" fmla="*/ 376784 h 876270"/>
              <a:gd name="connsiteX98" fmla="*/ 376837 w 754368"/>
              <a:gd name="connsiteY98" fmla="*/ 17882 h 876270"/>
              <a:gd name="connsiteX99" fmla="*/ 735739 w 754368"/>
              <a:gd name="connsiteY99" fmla="*/ 376784 h 876270"/>
              <a:gd name="connsiteX100" fmla="*/ 698494 w 754368"/>
              <a:gd name="connsiteY100" fmla="*/ 536033 h 876270"/>
              <a:gd name="connsiteX101" fmla="*/ 677063 w 754368"/>
              <a:gd name="connsiteY101" fmla="*/ 524870 h 876270"/>
              <a:gd name="connsiteX102" fmla="*/ 640860 w 754368"/>
              <a:gd name="connsiteY102" fmla="*/ 524870 h 876270"/>
              <a:gd name="connsiteX103" fmla="*/ 679704 w 754368"/>
              <a:gd name="connsiteY103" fmla="*/ 376747 h 876270"/>
              <a:gd name="connsiteX104" fmla="*/ 376914 w 754368"/>
              <a:gd name="connsiteY104" fmla="*/ 73957 h 876270"/>
              <a:gd name="connsiteX105" fmla="*/ 74047 w 754368"/>
              <a:gd name="connsiteY105" fmla="*/ 376785 h 876270"/>
              <a:gd name="connsiteX106" fmla="*/ 376838 w 754368"/>
              <a:gd name="connsiteY106" fmla="*/ 679575 h 876270"/>
              <a:gd name="connsiteX107" fmla="*/ 533810 w 754368"/>
              <a:gd name="connsiteY107" fmla="*/ 635559 h 876270"/>
              <a:gd name="connsiteX108" fmla="*/ 533810 w 754368"/>
              <a:gd name="connsiteY108" fmla="*/ 693268 h 876270"/>
              <a:gd name="connsiteX109" fmla="*/ 505607 w 754368"/>
              <a:gd name="connsiteY109" fmla="*/ 693268 h 876270"/>
              <a:gd name="connsiteX110" fmla="*/ 485031 w 754368"/>
              <a:gd name="connsiteY110" fmla="*/ 706216 h 876270"/>
              <a:gd name="connsiteX111" fmla="*/ 483134 w 754368"/>
              <a:gd name="connsiteY111" fmla="*/ 719461 h 876270"/>
              <a:gd name="connsiteX112" fmla="*/ 376835 w 754368"/>
              <a:gd name="connsiteY112" fmla="*/ 735572 h 876270"/>
              <a:gd name="connsiteX113" fmla="*/ 17933 w 754368"/>
              <a:gd name="connsiteY113" fmla="*/ 376784 h 876270"/>
              <a:gd name="connsiteX114" fmla="*/ 533809 w 754368"/>
              <a:gd name="connsiteY114" fmla="*/ 551206 h 876270"/>
              <a:gd name="connsiteX115" fmla="*/ 533809 w 754368"/>
              <a:gd name="connsiteY115" fmla="*/ 614458 h 876270"/>
              <a:gd name="connsiteX116" fmla="*/ 376837 w 754368"/>
              <a:gd name="connsiteY116" fmla="*/ 661710 h 876270"/>
              <a:gd name="connsiteX117" fmla="*/ 91944 w 754368"/>
              <a:gd name="connsiteY117" fmla="*/ 376818 h 876270"/>
              <a:gd name="connsiteX118" fmla="*/ 376837 w 754368"/>
              <a:gd name="connsiteY118" fmla="*/ 91925 h 876270"/>
              <a:gd name="connsiteX119" fmla="*/ 661729 w 754368"/>
              <a:gd name="connsiteY119" fmla="*/ 376818 h 876270"/>
              <a:gd name="connsiteX120" fmla="*/ 620095 w 754368"/>
              <a:gd name="connsiteY120" fmla="*/ 524941 h 876270"/>
              <a:gd name="connsiteX121" fmla="*/ 560080 w 754368"/>
              <a:gd name="connsiteY121" fmla="*/ 524904 h 876270"/>
              <a:gd name="connsiteX122" fmla="*/ 533812 w 754368"/>
              <a:gd name="connsiteY122" fmla="*/ 551209 h 876270"/>
              <a:gd name="connsiteX123" fmla="*/ 735358 w 754368"/>
              <a:gd name="connsiteY123" fmla="*/ 719303 h 876270"/>
              <a:gd name="connsiteX124" fmla="*/ 625039 w 754368"/>
              <a:gd name="connsiteY124" fmla="*/ 855225 h 876270"/>
              <a:gd name="connsiteX125" fmla="*/ 618453 w 754368"/>
              <a:gd name="connsiteY125" fmla="*/ 858350 h 876270"/>
              <a:gd name="connsiteX126" fmla="*/ 611868 w 754368"/>
              <a:gd name="connsiteY126" fmla="*/ 855225 h 876270"/>
              <a:gd name="connsiteX127" fmla="*/ 501768 w 754368"/>
              <a:gd name="connsiteY127" fmla="*/ 719303 h 876270"/>
              <a:gd name="connsiteX128" fmla="*/ 501099 w 754368"/>
              <a:gd name="connsiteY128" fmla="*/ 714057 h 876270"/>
              <a:gd name="connsiteX129" fmla="*/ 505563 w 754368"/>
              <a:gd name="connsiteY129" fmla="*/ 711192 h 876270"/>
              <a:gd name="connsiteX130" fmla="*/ 542696 w 754368"/>
              <a:gd name="connsiteY130" fmla="*/ 711192 h 876270"/>
              <a:gd name="connsiteX131" fmla="*/ 551663 w 754368"/>
              <a:gd name="connsiteY131" fmla="*/ 702225 h 876270"/>
              <a:gd name="connsiteX132" fmla="*/ 551700 w 754368"/>
              <a:gd name="connsiteY132" fmla="*/ 551206 h 876270"/>
              <a:gd name="connsiteX133" fmla="*/ 560071 w 754368"/>
              <a:gd name="connsiteY133" fmla="*/ 542835 h 876270"/>
              <a:gd name="connsiteX134" fmla="*/ 677048 w 754368"/>
              <a:gd name="connsiteY134" fmla="*/ 542835 h 876270"/>
              <a:gd name="connsiteX135" fmla="*/ 685420 w 754368"/>
              <a:gd name="connsiteY135" fmla="*/ 551206 h 876270"/>
              <a:gd name="connsiteX136" fmla="*/ 685420 w 754368"/>
              <a:gd name="connsiteY136" fmla="*/ 702263 h 876270"/>
              <a:gd name="connsiteX137" fmla="*/ 694386 w 754368"/>
              <a:gd name="connsiteY137" fmla="*/ 711230 h 876270"/>
              <a:gd name="connsiteX138" fmla="*/ 731519 w 754368"/>
              <a:gd name="connsiteY138" fmla="*/ 711230 h 876270"/>
              <a:gd name="connsiteX139" fmla="*/ 735984 w 754368"/>
              <a:gd name="connsiteY139" fmla="*/ 714095 h 876270"/>
              <a:gd name="connsiteX140" fmla="*/ 735351 w 754368"/>
              <a:gd name="connsiteY140" fmla="*/ 719304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754368" h="876270">
                <a:moveTo>
                  <a:pt x="383385" y="341656"/>
                </a:moveTo>
                <a:cubicBezTo>
                  <a:pt x="368354" y="338791"/>
                  <a:pt x="355480" y="332615"/>
                  <a:pt x="346997" y="324132"/>
                </a:cubicBezTo>
                <a:cubicBezTo>
                  <a:pt x="340523" y="317658"/>
                  <a:pt x="337286" y="310030"/>
                  <a:pt x="337286" y="301361"/>
                </a:cubicBezTo>
                <a:cubicBezTo>
                  <a:pt x="337286" y="290794"/>
                  <a:pt x="341379" y="280898"/>
                  <a:pt x="348895" y="273345"/>
                </a:cubicBezTo>
                <a:cubicBezTo>
                  <a:pt x="356336" y="265903"/>
                  <a:pt x="366308" y="261736"/>
                  <a:pt x="376912" y="261736"/>
                </a:cubicBezTo>
                <a:cubicBezTo>
                  <a:pt x="384428" y="261736"/>
                  <a:pt x="391572" y="263745"/>
                  <a:pt x="397785" y="267540"/>
                </a:cubicBezTo>
                <a:cubicBezTo>
                  <a:pt x="404073" y="271447"/>
                  <a:pt x="409207" y="276953"/>
                  <a:pt x="412556" y="283651"/>
                </a:cubicBezTo>
                <a:cubicBezTo>
                  <a:pt x="421337" y="301287"/>
                  <a:pt x="442843" y="308431"/>
                  <a:pt x="460367" y="299575"/>
                </a:cubicBezTo>
                <a:cubicBezTo>
                  <a:pt x="478004" y="290794"/>
                  <a:pt x="485147" y="269289"/>
                  <a:pt x="476292" y="251765"/>
                </a:cubicBezTo>
                <a:cubicBezTo>
                  <a:pt x="467065" y="233273"/>
                  <a:pt x="452852" y="217758"/>
                  <a:pt x="435252" y="206893"/>
                </a:cubicBezTo>
                <a:cubicBezTo>
                  <a:pt x="428109" y="202503"/>
                  <a:pt x="420593" y="198894"/>
                  <a:pt x="412668" y="196215"/>
                </a:cubicBezTo>
                <a:lnTo>
                  <a:pt x="412668" y="174040"/>
                </a:lnTo>
                <a:cubicBezTo>
                  <a:pt x="412668" y="154320"/>
                  <a:pt x="396669" y="138321"/>
                  <a:pt x="376949" y="138321"/>
                </a:cubicBezTo>
                <a:cubicBezTo>
                  <a:pt x="357229" y="138321"/>
                  <a:pt x="341230" y="154320"/>
                  <a:pt x="341230" y="174040"/>
                </a:cubicBezTo>
                <a:lnTo>
                  <a:pt x="341230" y="196141"/>
                </a:lnTo>
                <a:cubicBezTo>
                  <a:pt x="325231" y="201573"/>
                  <a:pt x="310460" y="210725"/>
                  <a:pt x="298479" y="222818"/>
                </a:cubicBezTo>
                <a:cubicBezTo>
                  <a:pt x="277532" y="243766"/>
                  <a:pt x="265886" y="271671"/>
                  <a:pt x="265886" y="301399"/>
                </a:cubicBezTo>
                <a:cubicBezTo>
                  <a:pt x="265886" y="329305"/>
                  <a:pt x="276453" y="354642"/>
                  <a:pt x="296545" y="374734"/>
                </a:cubicBezTo>
                <a:cubicBezTo>
                  <a:pt x="315037" y="393226"/>
                  <a:pt x="341230" y="406360"/>
                  <a:pt x="370363" y="411867"/>
                </a:cubicBezTo>
                <a:cubicBezTo>
                  <a:pt x="385395" y="414731"/>
                  <a:pt x="398269" y="420908"/>
                  <a:pt x="406752" y="429391"/>
                </a:cubicBezTo>
                <a:cubicBezTo>
                  <a:pt x="413226" y="435865"/>
                  <a:pt x="416463" y="443492"/>
                  <a:pt x="416463" y="452161"/>
                </a:cubicBezTo>
                <a:cubicBezTo>
                  <a:pt x="416463" y="462728"/>
                  <a:pt x="412370" y="472625"/>
                  <a:pt x="404853" y="480178"/>
                </a:cubicBezTo>
                <a:cubicBezTo>
                  <a:pt x="397338" y="487619"/>
                  <a:pt x="387441" y="491787"/>
                  <a:pt x="376837" y="491787"/>
                </a:cubicBezTo>
                <a:cubicBezTo>
                  <a:pt x="369321" y="491787"/>
                  <a:pt x="362177" y="489778"/>
                  <a:pt x="355964" y="485983"/>
                </a:cubicBezTo>
                <a:cubicBezTo>
                  <a:pt x="349676" y="482076"/>
                  <a:pt x="344541" y="476569"/>
                  <a:pt x="341192" y="469872"/>
                </a:cubicBezTo>
                <a:cubicBezTo>
                  <a:pt x="336913" y="461389"/>
                  <a:pt x="329583" y="455027"/>
                  <a:pt x="320616" y="451976"/>
                </a:cubicBezTo>
                <a:cubicBezTo>
                  <a:pt x="311575" y="448925"/>
                  <a:pt x="301939" y="449706"/>
                  <a:pt x="293380" y="453873"/>
                </a:cubicBezTo>
                <a:cubicBezTo>
                  <a:pt x="284897" y="458152"/>
                  <a:pt x="278535" y="465482"/>
                  <a:pt x="275484" y="474449"/>
                </a:cubicBezTo>
                <a:cubicBezTo>
                  <a:pt x="272433" y="483490"/>
                  <a:pt x="273214" y="493127"/>
                  <a:pt x="277382" y="501685"/>
                </a:cubicBezTo>
                <a:cubicBezTo>
                  <a:pt x="286609" y="520177"/>
                  <a:pt x="300822" y="535692"/>
                  <a:pt x="318421" y="546556"/>
                </a:cubicBezTo>
                <a:cubicBezTo>
                  <a:pt x="325565" y="550947"/>
                  <a:pt x="333081" y="554556"/>
                  <a:pt x="341006" y="557235"/>
                </a:cubicBezTo>
                <a:lnTo>
                  <a:pt x="341006" y="579410"/>
                </a:lnTo>
                <a:cubicBezTo>
                  <a:pt x="341006" y="599129"/>
                  <a:pt x="357005" y="615129"/>
                  <a:pt x="376724" y="615129"/>
                </a:cubicBezTo>
                <a:cubicBezTo>
                  <a:pt x="396444" y="615129"/>
                  <a:pt x="412443" y="599129"/>
                  <a:pt x="412443" y="579410"/>
                </a:cubicBezTo>
                <a:lnTo>
                  <a:pt x="412443" y="557309"/>
                </a:lnTo>
                <a:cubicBezTo>
                  <a:pt x="428442" y="551877"/>
                  <a:pt x="443214" y="542724"/>
                  <a:pt x="455194" y="530631"/>
                </a:cubicBezTo>
                <a:cubicBezTo>
                  <a:pt x="476142" y="509684"/>
                  <a:pt x="487788" y="481779"/>
                  <a:pt x="487788" y="452050"/>
                </a:cubicBezTo>
                <a:cubicBezTo>
                  <a:pt x="487788" y="424145"/>
                  <a:pt x="477221" y="398807"/>
                  <a:pt x="457129" y="378715"/>
                </a:cubicBezTo>
                <a:cubicBezTo>
                  <a:pt x="438823" y="360409"/>
                  <a:pt x="412555" y="347164"/>
                  <a:pt x="383384" y="341657"/>
                </a:cubicBezTo>
                <a:close/>
                <a:moveTo>
                  <a:pt x="442731" y="518059"/>
                </a:moveTo>
                <a:cubicBezTo>
                  <a:pt x="431197" y="529593"/>
                  <a:pt x="416909" y="537853"/>
                  <a:pt x="401282" y="542169"/>
                </a:cubicBezTo>
                <a:cubicBezTo>
                  <a:pt x="397375" y="543211"/>
                  <a:pt x="394696" y="546745"/>
                  <a:pt x="394696" y="550838"/>
                </a:cubicBezTo>
                <a:lnTo>
                  <a:pt x="394696" y="579599"/>
                </a:lnTo>
                <a:cubicBezTo>
                  <a:pt x="394696" y="589496"/>
                  <a:pt x="386696" y="597495"/>
                  <a:pt x="376799" y="597495"/>
                </a:cubicBezTo>
                <a:cubicBezTo>
                  <a:pt x="366902" y="597495"/>
                  <a:pt x="358903" y="589496"/>
                  <a:pt x="358903" y="579599"/>
                </a:cubicBezTo>
                <a:lnTo>
                  <a:pt x="358903" y="550838"/>
                </a:lnTo>
                <a:cubicBezTo>
                  <a:pt x="358903" y="546820"/>
                  <a:pt x="356224" y="543322"/>
                  <a:pt x="352317" y="542169"/>
                </a:cubicBezTo>
                <a:cubicBezTo>
                  <a:pt x="343760" y="539787"/>
                  <a:pt x="335537" y="536253"/>
                  <a:pt x="327835" y="531490"/>
                </a:cubicBezTo>
                <a:cubicBezTo>
                  <a:pt x="313064" y="522337"/>
                  <a:pt x="301157" y="509389"/>
                  <a:pt x="293456" y="493874"/>
                </a:cubicBezTo>
                <a:cubicBezTo>
                  <a:pt x="291372" y="489595"/>
                  <a:pt x="290963" y="484833"/>
                  <a:pt x="292488" y="480331"/>
                </a:cubicBezTo>
                <a:cubicBezTo>
                  <a:pt x="294014" y="475866"/>
                  <a:pt x="297139" y="472145"/>
                  <a:pt x="301455" y="470062"/>
                </a:cubicBezTo>
                <a:cubicBezTo>
                  <a:pt x="303948" y="468834"/>
                  <a:pt x="306701" y="468164"/>
                  <a:pt x="309343" y="468164"/>
                </a:cubicBezTo>
                <a:cubicBezTo>
                  <a:pt x="311241" y="468164"/>
                  <a:pt x="313138" y="468462"/>
                  <a:pt x="314961" y="469131"/>
                </a:cubicBezTo>
                <a:cubicBezTo>
                  <a:pt x="319426" y="470657"/>
                  <a:pt x="323147" y="473782"/>
                  <a:pt x="325230" y="478098"/>
                </a:cubicBezTo>
                <a:cubicBezTo>
                  <a:pt x="329993" y="487623"/>
                  <a:pt x="337434" y="495735"/>
                  <a:pt x="346550" y="501353"/>
                </a:cubicBezTo>
                <a:cubicBezTo>
                  <a:pt x="355517" y="506859"/>
                  <a:pt x="365972" y="509836"/>
                  <a:pt x="376762" y="509836"/>
                </a:cubicBezTo>
                <a:cubicBezTo>
                  <a:pt x="392092" y="509836"/>
                  <a:pt x="406565" y="503845"/>
                  <a:pt x="417429" y="492981"/>
                </a:cubicBezTo>
                <a:cubicBezTo>
                  <a:pt x="428293" y="482117"/>
                  <a:pt x="434284" y="467755"/>
                  <a:pt x="434284" y="452314"/>
                </a:cubicBezTo>
                <a:cubicBezTo>
                  <a:pt x="434284" y="438995"/>
                  <a:pt x="429149" y="426790"/>
                  <a:pt x="419327" y="416968"/>
                </a:cubicBezTo>
                <a:cubicBezTo>
                  <a:pt x="408388" y="406030"/>
                  <a:pt x="392091" y="398029"/>
                  <a:pt x="373599" y="394495"/>
                </a:cubicBezTo>
                <a:cubicBezTo>
                  <a:pt x="347963" y="389621"/>
                  <a:pt x="325006" y="378198"/>
                  <a:pt x="309120" y="362311"/>
                </a:cubicBezTo>
                <a:cubicBezTo>
                  <a:pt x="292265" y="345456"/>
                  <a:pt x="283670" y="324955"/>
                  <a:pt x="283670" y="301626"/>
                </a:cubicBezTo>
                <a:cubicBezTo>
                  <a:pt x="283670" y="276771"/>
                  <a:pt x="293380" y="253331"/>
                  <a:pt x="311017" y="235695"/>
                </a:cubicBezTo>
                <a:cubicBezTo>
                  <a:pt x="322551" y="224161"/>
                  <a:pt x="336838" y="215901"/>
                  <a:pt x="352466" y="211585"/>
                </a:cubicBezTo>
                <a:cubicBezTo>
                  <a:pt x="356373" y="210543"/>
                  <a:pt x="359052" y="207009"/>
                  <a:pt x="359052" y="202916"/>
                </a:cubicBezTo>
                <a:lnTo>
                  <a:pt x="359052" y="174155"/>
                </a:lnTo>
                <a:cubicBezTo>
                  <a:pt x="359052" y="164258"/>
                  <a:pt x="367051" y="156259"/>
                  <a:pt x="376948" y="156259"/>
                </a:cubicBezTo>
                <a:cubicBezTo>
                  <a:pt x="386845" y="156259"/>
                  <a:pt x="394845" y="164258"/>
                  <a:pt x="394845" y="174155"/>
                </a:cubicBezTo>
                <a:lnTo>
                  <a:pt x="394845" y="202916"/>
                </a:lnTo>
                <a:cubicBezTo>
                  <a:pt x="394845" y="206934"/>
                  <a:pt x="397524" y="210432"/>
                  <a:pt x="401430" y="211585"/>
                </a:cubicBezTo>
                <a:cubicBezTo>
                  <a:pt x="409988" y="213966"/>
                  <a:pt x="418210" y="217501"/>
                  <a:pt x="425912" y="222264"/>
                </a:cubicBezTo>
                <a:cubicBezTo>
                  <a:pt x="440684" y="231417"/>
                  <a:pt x="452590" y="244365"/>
                  <a:pt x="460292" y="259880"/>
                </a:cubicBezTo>
                <a:cubicBezTo>
                  <a:pt x="464682" y="268661"/>
                  <a:pt x="461148" y="279302"/>
                  <a:pt x="452404" y="283692"/>
                </a:cubicBezTo>
                <a:cubicBezTo>
                  <a:pt x="443623" y="288083"/>
                  <a:pt x="432982" y="284548"/>
                  <a:pt x="428592" y="275804"/>
                </a:cubicBezTo>
                <a:cubicBezTo>
                  <a:pt x="423829" y="266279"/>
                  <a:pt x="416388" y="258168"/>
                  <a:pt x="407272" y="252550"/>
                </a:cubicBezTo>
                <a:cubicBezTo>
                  <a:pt x="398305" y="247044"/>
                  <a:pt x="387849" y="244067"/>
                  <a:pt x="377059" y="244067"/>
                </a:cubicBezTo>
                <a:cubicBezTo>
                  <a:pt x="361730" y="244067"/>
                  <a:pt x="347257" y="250057"/>
                  <a:pt x="336392" y="260921"/>
                </a:cubicBezTo>
                <a:cubicBezTo>
                  <a:pt x="325528" y="271786"/>
                  <a:pt x="319538" y="286148"/>
                  <a:pt x="319538" y="301588"/>
                </a:cubicBezTo>
                <a:cubicBezTo>
                  <a:pt x="319538" y="314908"/>
                  <a:pt x="324673" y="327113"/>
                  <a:pt x="334495" y="336935"/>
                </a:cubicBezTo>
                <a:cubicBezTo>
                  <a:pt x="345434" y="347873"/>
                  <a:pt x="361731" y="355873"/>
                  <a:pt x="380223" y="359408"/>
                </a:cubicBezTo>
                <a:cubicBezTo>
                  <a:pt x="405858" y="364282"/>
                  <a:pt x="428815" y="375704"/>
                  <a:pt x="444702" y="391592"/>
                </a:cubicBezTo>
                <a:cubicBezTo>
                  <a:pt x="461557" y="408447"/>
                  <a:pt x="470152" y="428948"/>
                  <a:pt x="470152" y="452277"/>
                </a:cubicBezTo>
                <a:cubicBezTo>
                  <a:pt x="470078" y="476983"/>
                  <a:pt x="460367" y="500423"/>
                  <a:pt x="442730" y="518058"/>
                </a:cubicBezTo>
                <a:close/>
                <a:moveTo>
                  <a:pt x="752103" y="706368"/>
                </a:moveTo>
                <a:cubicBezTo>
                  <a:pt x="748307" y="698369"/>
                  <a:pt x="740382" y="693420"/>
                  <a:pt x="731527" y="693420"/>
                </a:cubicBezTo>
                <a:lnTo>
                  <a:pt x="703324" y="693420"/>
                </a:lnTo>
                <a:lnTo>
                  <a:pt x="703324" y="564833"/>
                </a:lnTo>
                <a:cubicBezTo>
                  <a:pt x="736178" y="507868"/>
                  <a:pt x="753628" y="443017"/>
                  <a:pt x="753628" y="376904"/>
                </a:cubicBezTo>
                <a:cubicBezTo>
                  <a:pt x="753628" y="169069"/>
                  <a:pt x="584559" y="0"/>
                  <a:pt x="376828" y="0"/>
                </a:cubicBezTo>
                <a:cubicBezTo>
                  <a:pt x="169069" y="0"/>
                  <a:pt x="0" y="169069"/>
                  <a:pt x="0" y="376799"/>
                </a:cubicBezTo>
                <a:cubicBezTo>
                  <a:pt x="0" y="584530"/>
                  <a:pt x="168954" y="753599"/>
                  <a:pt x="376799" y="753599"/>
                </a:cubicBezTo>
                <a:cubicBezTo>
                  <a:pt x="416127" y="753599"/>
                  <a:pt x="454823" y="747497"/>
                  <a:pt x="491957" y="735591"/>
                </a:cubicBezTo>
                <a:lnTo>
                  <a:pt x="598141" y="866560"/>
                </a:lnTo>
                <a:cubicBezTo>
                  <a:pt x="603202" y="872848"/>
                  <a:pt x="610532" y="876270"/>
                  <a:pt x="618531" y="876270"/>
                </a:cubicBezTo>
                <a:cubicBezTo>
                  <a:pt x="626642" y="876270"/>
                  <a:pt x="633860" y="872847"/>
                  <a:pt x="638920" y="866560"/>
                </a:cubicBezTo>
                <a:lnTo>
                  <a:pt x="749238" y="730571"/>
                </a:lnTo>
                <a:cubicBezTo>
                  <a:pt x="754857" y="723614"/>
                  <a:pt x="755936" y="714386"/>
                  <a:pt x="752103" y="706386"/>
                </a:cubicBezTo>
                <a:close/>
                <a:moveTo>
                  <a:pt x="17935" y="376784"/>
                </a:moveTo>
                <a:cubicBezTo>
                  <a:pt x="17935" y="178845"/>
                  <a:pt x="178888" y="17882"/>
                  <a:pt x="376837" y="17882"/>
                </a:cubicBezTo>
                <a:cubicBezTo>
                  <a:pt x="574785" y="17882"/>
                  <a:pt x="735739" y="178836"/>
                  <a:pt x="735739" y="376784"/>
                </a:cubicBezTo>
                <a:cubicBezTo>
                  <a:pt x="735739" y="432223"/>
                  <a:pt x="722865" y="486808"/>
                  <a:pt x="698494" y="536033"/>
                </a:cubicBezTo>
                <a:cubicBezTo>
                  <a:pt x="693732" y="529261"/>
                  <a:pt x="685918" y="524870"/>
                  <a:pt x="677063" y="524870"/>
                </a:cubicBezTo>
                <a:lnTo>
                  <a:pt x="640860" y="524870"/>
                </a:lnTo>
                <a:cubicBezTo>
                  <a:pt x="666199" y="479738"/>
                  <a:pt x="679704" y="428954"/>
                  <a:pt x="679704" y="376747"/>
                </a:cubicBezTo>
                <a:cubicBezTo>
                  <a:pt x="679704" y="209764"/>
                  <a:pt x="543858" y="73957"/>
                  <a:pt x="376914" y="73957"/>
                </a:cubicBezTo>
                <a:cubicBezTo>
                  <a:pt x="209969" y="73994"/>
                  <a:pt x="74047" y="209841"/>
                  <a:pt x="74047" y="376785"/>
                </a:cubicBezTo>
                <a:cubicBezTo>
                  <a:pt x="74047" y="543768"/>
                  <a:pt x="209893" y="679575"/>
                  <a:pt x="376838" y="679575"/>
                </a:cubicBezTo>
                <a:cubicBezTo>
                  <a:pt x="432648" y="679575"/>
                  <a:pt x="486566" y="664320"/>
                  <a:pt x="533810" y="635559"/>
                </a:cubicBezTo>
                <a:lnTo>
                  <a:pt x="533810" y="693268"/>
                </a:lnTo>
                <a:lnTo>
                  <a:pt x="505607" y="693268"/>
                </a:lnTo>
                <a:cubicBezTo>
                  <a:pt x="496752" y="693268"/>
                  <a:pt x="488827" y="698216"/>
                  <a:pt x="485031" y="706216"/>
                </a:cubicBezTo>
                <a:cubicBezTo>
                  <a:pt x="483022" y="710495"/>
                  <a:pt x="482464" y="715071"/>
                  <a:pt x="483134" y="719461"/>
                </a:cubicBezTo>
                <a:cubicBezTo>
                  <a:pt x="448828" y="730140"/>
                  <a:pt x="413110" y="735572"/>
                  <a:pt x="376835" y="735572"/>
                </a:cubicBezTo>
                <a:cubicBezTo>
                  <a:pt x="178896" y="735684"/>
                  <a:pt x="17933" y="574619"/>
                  <a:pt x="17933" y="376784"/>
                </a:cubicBezTo>
                <a:close/>
                <a:moveTo>
                  <a:pt x="533809" y="551206"/>
                </a:moveTo>
                <a:lnTo>
                  <a:pt x="533809" y="614458"/>
                </a:lnTo>
                <a:cubicBezTo>
                  <a:pt x="487226" y="645303"/>
                  <a:pt x="433053" y="661710"/>
                  <a:pt x="376837" y="661710"/>
                </a:cubicBezTo>
                <a:cubicBezTo>
                  <a:pt x="219674" y="661710"/>
                  <a:pt x="91944" y="533866"/>
                  <a:pt x="91944" y="376818"/>
                </a:cubicBezTo>
                <a:cubicBezTo>
                  <a:pt x="91944" y="219769"/>
                  <a:pt x="219788" y="91925"/>
                  <a:pt x="376837" y="91925"/>
                </a:cubicBezTo>
                <a:cubicBezTo>
                  <a:pt x="533885" y="91925"/>
                  <a:pt x="661729" y="219769"/>
                  <a:pt x="661729" y="376818"/>
                </a:cubicBezTo>
                <a:cubicBezTo>
                  <a:pt x="661729" y="429317"/>
                  <a:pt x="647256" y="480440"/>
                  <a:pt x="620095" y="524941"/>
                </a:cubicBezTo>
                <a:lnTo>
                  <a:pt x="560080" y="524904"/>
                </a:lnTo>
                <a:cubicBezTo>
                  <a:pt x="545606" y="524904"/>
                  <a:pt x="533812" y="536736"/>
                  <a:pt x="533812" y="551209"/>
                </a:cubicBezTo>
                <a:close/>
                <a:moveTo>
                  <a:pt x="735358" y="719303"/>
                </a:moveTo>
                <a:lnTo>
                  <a:pt x="625039" y="855225"/>
                </a:lnTo>
                <a:cubicBezTo>
                  <a:pt x="623328" y="857309"/>
                  <a:pt x="621244" y="858350"/>
                  <a:pt x="618453" y="858350"/>
                </a:cubicBezTo>
                <a:cubicBezTo>
                  <a:pt x="615700" y="858350"/>
                  <a:pt x="613691" y="857383"/>
                  <a:pt x="611868" y="855225"/>
                </a:cubicBezTo>
                <a:lnTo>
                  <a:pt x="501768" y="719303"/>
                </a:lnTo>
                <a:cubicBezTo>
                  <a:pt x="500540" y="717666"/>
                  <a:pt x="500243" y="715880"/>
                  <a:pt x="501099" y="714057"/>
                </a:cubicBezTo>
                <a:cubicBezTo>
                  <a:pt x="501954" y="712234"/>
                  <a:pt x="503480" y="711192"/>
                  <a:pt x="505563" y="711192"/>
                </a:cubicBezTo>
                <a:lnTo>
                  <a:pt x="542696" y="711192"/>
                </a:lnTo>
                <a:cubicBezTo>
                  <a:pt x="547644" y="711192"/>
                  <a:pt x="551663" y="707174"/>
                  <a:pt x="551663" y="702225"/>
                </a:cubicBezTo>
                <a:lnTo>
                  <a:pt x="551700" y="551206"/>
                </a:lnTo>
                <a:cubicBezTo>
                  <a:pt x="551700" y="546556"/>
                  <a:pt x="555495" y="542835"/>
                  <a:pt x="560071" y="542835"/>
                </a:cubicBezTo>
                <a:lnTo>
                  <a:pt x="677048" y="542835"/>
                </a:lnTo>
                <a:cubicBezTo>
                  <a:pt x="681699" y="542835"/>
                  <a:pt x="685420" y="546630"/>
                  <a:pt x="685420" y="551206"/>
                </a:cubicBezTo>
                <a:lnTo>
                  <a:pt x="685420" y="702263"/>
                </a:lnTo>
                <a:cubicBezTo>
                  <a:pt x="685420" y="707212"/>
                  <a:pt x="689438" y="711230"/>
                  <a:pt x="694386" y="711230"/>
                </a:cubicBezTo>
                <a:lnTo>
                  <a:pt x="731519" y="711230"/>
                </a:lnTo>
                <a:cubicBezTo>
                  <a:pt x="733528" y="711230"/>
                  <a:pt x="735128" y="712198"/>
                  <a:pt x="735984" y="714095"/>
                </a:cubicBezTo>
                <a:cubicBezTo>
                  <a:pt x="736877" y="715881"/>
                  <a:pt x="736579" y="717704"/>
                  <a:pt x="735351" y="719304"/>
                </a:cubicBezTo>
                <a:close/>
              </a:path>
            </a:pathLst>
          </a:custGeom>
          <a:solidFill>
            <a:srgbClr val="FF0000"/>
          </a:solidFill>
          <a:ln w="3175" cap="flat">
            <a:noFill/>
            <a:prstDash val="solid"/>
            <a:miter/>
          </a:ln>
        </p:spPr>
        <p:txBody>
          <a:bodyPr rtlCol="0" anchor="ctr"/>
          <a:lstStyle/>
          <a:p>
            <a:endParaRPr lang="en-IN"/>
          </a:p>
        </p:txBody>
      </p:sp>
    </p:spTree>
    <p:extLst>
      <p:ext uri="{BB962C8B-B14F-4D97-AF65-F5344CB8AC3E}">
        <p14:creationId xmlns:p14="http://schemas.microsoft.com/office/powerpoint/2010/main" val="1654501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5F066-1E8E-8EE9-7509-1E449FD62C8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D78C0DA-EAB6-D6B1-0ACC-E810A37A4398}"/>
              </a:ext>
            </a:extLst>
          </p:cNvPr>
          <p:cNvSpPr/>
          <p:nvPr/>
        </p:nvSpPr>
        <p:spPr>
          <a:xfrm>
            <a:off x="738472" y="471253"/>
            <a:ext cx="8416086" cy="523220"/>
          </a:xfrm>
          <a:prstGeom prst="rect">
            <a:avLst/>
          </a:prstGeom>
          <a:noFill/>
        </p:spPr>
        <p:txBody>
          <a:bodyPr wrap="none" lIns="91440" tIns="45720" rIns="91440" bIns="45720" anchor="t">
            <a:spAutoFit/>
          </a:bodyPr>
          <a:lstStyle/>
          <a:p>
            <a:r>
              <a:rPr lang="en-US" sz="2800">
                <a:solidFill>
                  <a:srgbClr val="FF0000"/>
                </a:solidFill>
                <a:latin typeface="Roboto medium"/>
                <a:ea typeface="Roboto medium"/>
                <a:cs typeface="Roboto medium"/>
              </a:rPr>
              <a:t>Evolution of Payment Posting with Automation &amp; Al</a:t>
            </a:r>
            <a:endParaRPr lang="en-US"/>
          </a:p>
        </p:txBody>
      </p:sp>
      <p:pic>
        <p:nvPicPr>
          <p:cNvPr id="13" name="Graphic 12">
            <a:extLst>
              <a:ext uri="{FF2B5EF4-FFF2-40B4-BE49-F238E27FC236}">
                <a16:creationId xmlns:a16="http://schemas.microsoft.com/office/drawing/2014/main" id="{4FF6AFB5-201B-AE40-0148-F79549ACC69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71115" y="2308134"/>
            <a:ext cx="452588" cy="452786"/>
          </a:xfrm>
          <a:prstGeom prst="rect">
            <a:avLst/>
          </a:prstGeom>
        </p:spPr>
      </p:pic>
      <p:cxnSp>
        <p:nvCxnSpPr>
          <p:cNvPr id="51" name="Straight Arrow Connector 50">
            <a:extLst>
              <a:ext uri="{FF2B5EF4-FFF2-40B4-BE49-F238E27FC236}">
                <a16:creationId xmlns:a16="http://schemas.microsoft.com/office/drawing/2014/main" id="{6866DAE8-A09E-3970-821A-1FB8B0139284}"/>
              </a:ext>
            </a:extLst>
          </p:cNvPr>
          <p:cNvCxnSpPr>
            <a:cxnSpLocks/>
          </p:cNvCxnSpPr>
          <p:nvPr/>
        </p:nvCxnSpPr>
        <p:spPr>
          <a:xfrm>
            <a:off x="1748314" y="2616155"/>
            <a:ext cx="100584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3" name="Graphic 42">
            <a:extLst>
              <a:ext uri="{FF2B5EF4-FFF2-40B4-BE49-F238E27FC236}">
                <a16:creationId xmlns:a16="http://schemas.microsoft.com/office/drawing/2014/main" id="{6269200F-BB9C-0709-BF97-EB4E38C07D9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578289" y="3988274"/>
            <a:ext cx="452587" cy="454567"/>
          </a:xfrm>
          <a:prstGeom prst="rect">
            <a:avLst/>
          </a:prstGeom>
        </p:spPr>
      </p:pic>
      <p:cxnSp>
        <p:nvCxnSpPr>
          <p:cNvPr id="52" name="Straight Arrow Connector 51">
            <a:extLst>
              <a:ext uri="{FF2B5EF4-FFF2-40B4-BE49-F238E27FC236}">
                <a16:creationId xmlns:a16="http://schemas.microsoft.com/office/drawing/2014/main" id="{399F3091-38C0-3267-D792-C5B925F15866}"/>
              </a:ext>
            </a:extLst>
          </p:cNvPr>
          <p:cNvCxnSpPr>
            <a:cxnSpLocks/>
          </p:cNvCxnSpPr>
          <p:nvPr/>
        </p:nvCxnSpPr>
        <p:spPr>
          <a:xfrm flipV="1">
            <a:off x="2099594" y="4287679"/>
            <a:ext cx="4427843"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1" name="Straight Arrow Connector 290">
            <a:extLst>
              <a:ext uri="{FF2B5EF4-FFF2-40B4-BE49-F238E27FC236}">
                <a16:creationId xmlns:a16="http://schemas.microsoft.com/office/drawing/2014/main" id="{AD94C9F5-35DA-12BD-9D88-DD2EB0E8CD70}"/>
              </a:ext>
            </a:extLst>
          </p:cNvPr>
          <p:cNvCxnSpPr>
            <a:cxnSpLocks/>
          </p:cNvCxnSpPr>
          <p:nvPr/>
        </p:nvCxnSpPr>
        <p:spPr>
          <a:xfrm>
            <a:off x="3059365" y="5921097"/>
            <a:ext cx="8461301" cy="24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91" name="Graphic 1090">
            <a:extLst>
              <a:ext uri="{FF2B5EF4-FFF2-40B4-BE49-F238E27FC236}">
                <a16:creationId xmlns:a16="http://schemas.microsoft.com/office/drawing/2014/main" id="{0C8860A5-8C92-7527-A0FC-87FE1313377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348458" y="5655621"/>
            <a:ext cx="459662" cy="464463"/>
          </a:xfrm>
          <a:prstGeom prst="rect">
            <a:avLst/>
          </a:prstGeom>
        </p:spPr>
      </p:pic>
      <p:pic>
        <p:nvPicPr>
          <p:cNvPr id="40" name="Graphic 39">
            <a:extLst>
              <a:ext uri="{FF2B5EF4-FFF2-40B4-BE49-F238E27FC236}">
                <a16:creationId xmlns:a16="http://schemas.microsoft.com/office/drawing/2014/main" id="{C2A74A10-F2AA-FFCC-81A7-F9D85322D89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694042" y="3988274"/>
            <a:ext cx="458231" cy="461622"/>
          </a:xfrm>
          <a:prstGeom prst="rect">
            <a:avLst/>
          </a:prstGeom>
        </p:spPr>
      </p:pic>
      <p:cxnSp>
        <p:nvCxnSpPr>
          <p:cNvPr id="38" name="Straight Arrow Connector 37">
            <a:extLst>
              <a:ext uri="{FF2B5EF4-FFF2-40B4-BE49-F238E27FC236}">
                <a16:creationId xmlns:a16="http://schemas.microsoft.com/office/drawing/2014/main" id="{D8EE6CF5-98BF-3143-A16F-52A3805F43F4}"/>
              </a:ext>
            </a:extLst>
          </p:cNvPr>
          <p:cNvCxnSpPr>
            <a:cxnSpLocks/>
          </p:cNvCxnSpPr>
          <p:nvPr/>
        </p:nvCxnSpPr>
        <p:spPr>
          <a:xfrm flipV="1">
            <a:off x="7342426" y="4281830"/>
            <a:ext cx="956447" cy="66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63" name="Graphic 1062">
            <a:extLst>
              <a:ext uri="{FF2B5EF4-FFF2-40B4-BE49-F238E27FC236}">
                <a16:creationId xmlns:a16="http://schemas.microsoft.com/office/drawing/2014/main" id="{2DC5EDD5-19CE-5BD3-4FED-A7955C91F28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893149" y="5657114"/>
            <a:ext cx="459642" cy="460211"/>
          </a:xfrm>
          <a:prstGeom prst="rect">
            <a:avLst/>
          </a:prstGeom>
        </p:spPr>
      </p:pic>
      <p:pic>
        <p:nvPicPr>
          <p:cNvPr id="46" name="Graphic 45">
            <a:extLst>
              <a:ext uri="{FF2B5EF4-FFF2-40B4-BE49-F238E27FC236}">
                <a16:creationId xmlns:a16="http://schemas.microsoft.com/office/drawing/2014/main" id="{722E283C-0660-A762-DFEC-8B9C27BA4768}"/>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456604" y="5657256"/>
            <a:ext cx="452587" cy="454567"/>
          </a:xfrm>
          <a:prstGeom prst="rect">
            <a:avLst/>
          </a:prstGeom>
        </p:spPr>
      </p:pic>
      <p:pic>
        <p:nvPicPr>
          <p:cNvPr id="1051" name="Picture 1050" descr="A logo in a circle&#10;&#10;AI-generated content may be incorrect.">
            <a:extLst>
              <a:ext uri="{FF2B5EF4-FFF2-40B4-BE49-F238E27FC236}">
                <a16:creationId xmlns:a16="http://schemas.microsoft.com/office/drawing/2014/main" id="{863FAB28-B67B-934A-D0EB-9FF52B5DE3A7}"/>
              </a:ext>
            </a:extLst>
          </p:cNvPr>
          <p:cNvPicPr>
            <a:picLocks noChangeAspect="1"/>
          </p:cNvPicPr>
          <p:nvPr/>
        </p:nvPicPr>
        <p:blipFill>
          <a:blip r:embed="rId31"/>
          <a:stretch>
            <a:fillRect/>
          </a:stretch>
        </p:blipFill>
        <p:spPr>
          <a:xfrm>
            <a:off x="10995577" y="2001"/>
            <a:ext cx="1190872" cy="1124712"/>
          </a:xfrm>
          <a:prstGeom prst="rect">
            <a:avLst/>
          </a:prstGeom>
        </p:spPr>
      </p:pic>
      <p:grpSp>
        <p:nvGrpSpPr>
          <p:cNvPr id="4" name="Group 3">
            <a:extLst>
              <a:ext uri="{FF2B5EF4-FFF2-40B4-BE49-F238E27FC236}">
                <a16:creationId xmlns:a16="http://schemas.microsoft.com/office/drawing/2014/main" id="{2F02FFFF-0C54-6B2C-2C8C-E0CFCD572F3A}"/>
              </a:ext>
            </a:extLst>
          </p:cNvPr>
          <p:cNvGrpSpPr/>
          <p:nvPr/>
        </p:nvGrpSpPr>
        <p:grpSpPr>
          <a:xfrm>
            <a:off x="890728" y="4670175"/>
            <a:ext cx="11110294" cy="856566"/>
            <a:chOff x="1149128" y="1817944"/>
            <a:chExt cx="5652942" cy="415483"/>
          </a:xfrm>
        </p:grpSpPr>
        <p:sp>
          <p:nvSpPr>
            <p:cNvPr id="6" name="AutoShape 4">
              <a:extLst>
                <a:ext uri="{FF2B5EF4-FFF2-40B4-BE49-F238E27FC236}">
                  <a16:creationId xmlns:a16="http://schemas.microsoft.com/office/drawing/2014/main" id="{4015C8FF-941C-C632-F258-561C8E66AD9E}"/>
                </a:ext>
              </a:extLst>
            </p:cNvPr>
            <p:cNvSpPr>
              <a:spLocks noChangeArrowheads="1"/>
            </p:cNvSpPr>
            <p:nvPr>
              <p:custDataLst>
                <p:tags r:id="rId16"/>
              </p:custDataLst>
            </p:nvPr>
          </p:nvSpPr>
          <p:spPr bwMode="gray">
            <a:xfrm>
              <a:off x="5843421" y="1817944"/>
              <a:ext cx="958649" cy="408427"/>
            </a:xfrm>
            <a:prstGeom prst="chevron">
              <a:avLst>
                <a:gd name="adj" fmla="val 24443"/>
              </a:avLst>
            </a:prstGeom>
            <a:solidFill>
              <a:srgbClr val="0E2841"/>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Reporting &amp; Exceptions</a:t>
              </a:r>
            </a:p>
          </p:txBody>
        </p:sp>
        <p:sp>
          <p:nvSpPr>
            <p:cNvPr id="7" name="AutoShape 5">
              <a:extLst>
                <a:ext uri="{FF2B5EF4-FFF2-40B4-BE49-F238E27FC236}">
                  <a16:creationId xmlns:a16="http://schemas.microsoft.com/office/drawing/2014/main" id="{DA84C6E0-8D4C-1263-6CFC-29DCB9493465}"/>
                </a:ext>
              </a:extLst>
            </p:cNvPr>
            <p:cNvSpPr>
              <a:spLocks noChangeArrowheads="1"/>
            </p:cNvSpPr>
            <p:nvPr>
              <p:custDataLst>
                <p:tags r:id="rId17"/>
              </p:custDataLst>
            </p:nvPr>
          </p:nvSpPr>
          <p:spPr bwMode="gray">
            <a:xfrm>
              <a:off x="4967354" y="1825000"/>
              <a:ext cx="871939" cy="408427"/>
            </a:xfrm>
            <a:prstGeom prst="chevron">
              <a:avLst>
                <a:gd name="adj" fmla="val 23142"/>
              </a:avLst>
            </a:prstGeom>
            <a:solidFill>
              <a:srgbClr val="0E2841"/>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Reconciliation &amp; Exception Resolution</a:t>
              </a:r>
            </a:p>
          </p:txBody>
        </p:sp>
        <p:sp>
          <p:nvSpPr>
            <p:cNvPr id="9" name="AutoShape 6">
              <a:extLst>
                <a:ext uri="{FF2B5EF4-FFF2-40B4-BE49-F238E27FC236}">
                  <a16:creationId xmlns:a16="http://schemas.microsoft.com/office/drawing/2014/main" id="{CCD0BF06-3A7A-D0B7-0A90-F2D327403CB7}"/>
                </a:ext>
              </a:extLst>
            </p:cNvPr>
            <p:cNvSpPr>
              <a:spLocks noChangeArrowheads="1"/>
            </p:cNvSpPr>
            <p:nvPr>
              <p:custDataLst>
                <p:tags r:id="rId18"/>
              </p:custDataLst>
            </p:nvPr>
          </p:nvSpPr>
          <p:spPr bwMode="gray">
            <a:xfrm>
              <a:off x="4077538" y="1825000"/>
              <a:ext cx="892743" cy="408427"/>
            </a:xfrm>
            <a:prstGeom prst="chevron">
              <a:avLst>
                <a:gd name="adj" fmla="val 23142"/>
              </a:avLst>
            </a:prstGeom>
            <a:solidFill>
              <a:srgbClr val="0E2841"/>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Contract &amp; Denial Analysis</a:t>
              </a:r>
            </a:p>
          </p:txBody>
        </p:sp>
        <p:sp>
          <p:nvSpPr>
            <p:cNvPr id="10" name="AutoShape 7">
              <a:extLst>
                <a:ext uri="{FF2B5EF4-FFF2-40B4-BE49-F238E27FC236}">
                  <a16:creationId xmlns:a16="http://schemas.microsoft.com/office/drawing/2014/main" id="{46D803D3-3DA4-49B0-01A0-CBAA3EF2D9AA}"/>
                </a:ext>
              </a:extLst>
            </p:cNvPr>
            <p:cNvSpPr>
              <a:spLocks noChangeArrowheads="1"/>
            </p:cNvSpPr>
            <p:nvPr>
              <p:custDataLst>
                <p:tags r:id="rId19"/>
              </p:custDataLst>
            </p:nvPr>
          </p:nvSpPr>
          <p:spPr bwMode="gray">
            <a:xfrm>
              <a:off x="3049506" y="1824999"/>
              <a:ext cx="1030960" cy="401372"/>
            </a:xfrm>
            <a:prstGeom prst="chevron">
              <a:avLst>
                <a:gd name="adj" fmla="val 23514"/>
              </a:avLst>
            </a:prstGeom>
            <a:solidFill>
              <a:srgbClr val="0E2841"/>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Remittance Processing &amp; Adjustment Decisioning</a:t>
              </a:r>
            </a:p>
          </p:txBody>
        </p:sp>
        <p:sp>
          <p:nvSpPr>
            <p:cNvPr id="11" name="AutoShape 8">
              <a:extLst>
                <a:ext uri="{FF2B5EF4-FFF2-40B4-BE49-F238E27FC236}">
                  <a16:creationId xmlns:a16="http://schemas.microsoft.com/office/drawing/2014/main" id="{A4BF0D0F-A1B4-62F4-827D-0E116B3284CD}"/>
                </a:ext>
              </a:extLst>
            </p:cNvPr>
            <p:cNvSpPr>
              <a:spLocks noChangeArrowheads="1"/>
            </p:cNvSpPr>
            <p:nvPr>
              <p:custDataLst>
                <p:tags r:id="rId20"/>
              </p:custDataLst>
            </p:nvPr>
          </p:nvSpPr>
          <p:spPr bwMode="gray">
            <a:xfrm>
              <a:off x="2114031" y="1824999"/>
              <a:ext cx="924290" cy="401372"/>
            </a:xfrm>
            <a:prstGeom prst="chevron">
              <a:avLst>
                <a:gd name="adj" fmla="val 23174"/>
              </a:avLst>
            </a:prstGeom>
            <a:solidFill>
              <a:srgbClr val="0E2841"/>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Batch Creation / Payment Logging</a:t>
              </a:r>
            </a:p>
          </p:txBody>
        </p:sp>
        <p:sp>
          <p:nvSpPr>
            <p:cNvPr id="12" name="AutoShape 9">
              <a:extLst>
                <a:ext uri="{FF2B5EF4-FFF2-40B4-BE49-F238E27FC236}">
                  <a16:creationId xmlns:a16="http://schemas.microsoft.com/office/drawing/2014/main" id="{C0A2F3DD-6B59-C201-A6BB-B8DDBD37DD63}"/>
                </a:ext>
              </a:extLst>
            </p:cNvPr>
            <p:cNvSpPr>
              <a:spLocks noChangeArrowheads="1"/>
            </p:cNvSpPr>
            <p:nvPr>
              <p:custDataLst>
                <p:tags r:id="rId21"/>
              </p:custDataLst>
            </p:nvPr>
          </p:nvSpPr>
          <p:spPr bwMode="gray">
            <a:xfrm>
              <a:off x="1149128" y="1817944"/>
              <a:ext cx="974885" cy="408427"/>
            </a:xfrm>
            <a:prstGeom prst="chevron">
              <a:avLst>
                <a:gd name="adj" fmla="val 23142"/>
              </a:avLst>
            </a:prstGeom>
            <a:solidFill>
              <a:srgbClr val="0E2841"/>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Payment Receipt &amp; Retrieval</a:t>
              </a:r>
            </a:p>
          </p:txBody>
        </p:sp>
      </p:grpSp>
      <p:grpSp>
        <p:nvGrpSpPr>
          <p:cNvPr id="18" name="Group 17">
            <a:extLst>
              <a:ext uri="{FF2B5EF4-FFF2-40B4-BE49-F238E27FC236}">
                <a16:creationId xmlns:a16="http://schemas.microsoft.com/office/drawing/2014/main" id="{31C8E29C-E4BB-1DEF-6711-4F46CA43CAEF}"/>
              </a:ext>
            </a:extLst>
          </p:cNvPr>
          <p:cNvGrpSpPr/>
          <p:nvPr/>
        </p:nvGrpSpPr>
        <p:grpSpPr>
          <a:xfrm>
            <a:off x="890728" y="3030908"/>
            <a:ext cx="11110294" cy="856566"/>
            <a:chOff x="1149128" y="1817944"/>
            <a:chExt cx="5652942" cy="415483"/>
          </a:xfrm>
        </p:grpSpPr>
        <p:sp>
          <p:nvSpPr>
            <p:cNvPr id="19" name="AutoShape 4">
              <a:extLst>
                <a:ext uri="{FF2B5EF4-FFF2-40B4-BE49-F238E27FC236}">
                  <a16:creationId xmlns:a16="http://schemas.microsoft.com/office/drawing/2014/main" id="{9AC751F7-DC67-A209-2E6F-9CCC0CD0ECD9}"/>
                </a:ext>
              </a:extLst>
            </p:cNvPr>
            <p:cNvSpPr>
              <a:spLocks noChangeArrowheads="1"/>
            </p:cNvSpPr>
            <p:nvPr>
              <p:custDataLst>
                <p:tags r:id="rId10"/>
              </p:custDataLst>
            </p:nvPr>
          </p:nvSpPr>
          <p:spPr bwMode="gray">
            <a:xfrm>
              <a:off x="5843421" y="1817944"/>
              <a:ext cx="958649" cy="408427"/>
            </a:xfrm>
            <a:prstGeom prst="chevron">
              <a:avLst>
                <a:gd name="adj" fmla="val 24443"/>
              </a:avLst>
            </a:prstGeom>
            <a:solidFill>
              <a:srgbClr val="83CBEB"/>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Reporting &amp; Exceptions</a:t>
              </a:r>
            </a:p>
          </p:txBody>
        </p:sp>
        <p:sp>
          <p:nvSpPr>
            <p:cNvPr id="20" name="AutoShape 5">
              <a:extLst>
                <a:ext uri="{FF2B5EF4-FFF2-40B4-BE49-F238E27FC236}">
                  <a16:creationId xmlns:a16="http://schemas.microsoft.com/office/drawing/2014/main" id="{E82FF430-AFC9-FF37-9220-DBA9EFC7BF9A}"/>
                </a:ext>
              </a:extLst>
            </p:cNvPr>
            <p:cNvSpPr>
              <a:spLocks noChangeArrowheads="1"/>
            </p:cNvSpPr>
            <p:nvPr>
              <p:custDataLst>
                <p:tags r:id="rId11"/>
              </p:custDataLst>
            </p:nvPr>
          </p:nvSpPr>
          <p:spPr bwMode="gray">
            <a:xfrm>
              <a:off x="4967354" y="1825000"/>
              <a:ext cx="871939" cy="408427"/>
            </a:xfrm>
            <a:prstGeom prst="chevron">
              <a:avLst>
                <a:gd name="adj" fmla="val 23142"/>
              </a:avLst>
            </a:prstGeom>
            <a:solidFill>
              <a:srgbClr val="83CBEB"/>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Reconciliation &amp; Exception Resolution</a:t>
              </a:r>
            </a:p>
          </p:txBody>
        </p:sp>
        <p:sp>
          <p:nvSpPr>
            <p:cNvPr id="21" name="AutoShape 6">
              <a:extLst>
                <a:ext uri="{FF2B5EF4-FFF2-40B4-BE49-F238E27FC236}">
                  <a16:creationId xmlns:a16="http://schemas.microsoft.com/office/drawing/2014/main" id="{0845354B-5DB7-D242-F656-DFB31151F492}"/>
                </a:ext>
              </a:extLst>
            </p:cNvPr>
            <p:cNvSpPr>
              <a:spLocks noChangeArrowheads="1"/>
            </p:cNvSpPr>
            <p:nvPr>
              <p:custDataLst>
                <p:tags r:id="rId12"/>
              </p:custDataLst>
            </p:nvPr>
          </p:nvSpPr>
          <p:spPr bwMode="gray">
            <a:xfrm>
              <a:off x="4077538" y="1825000"/>
              <a:ext cx="892743" cy="408427"/>
            </a:xfrm>
            <a:prstGeom prst="chevron">
              <a:avLst>
                <a:gd name="adj" fmla="val 23142"/>
              </a:avLst>
            </a:prstGeom>
            <a:noFill/>
            <a:ln w="6350">
              <a:solidFill>
                <a:schemeClr val="bg1">
                  <a:lumMod val="75000"/>
                </a:schemeClr>
              </a:solidFill>
              <a:miter lim="800000"/>
              <a:headEnd/>
              <a:tailEnd/>
            </a:ln>
            <a:effectLst/>
          </p:spPr>
          <p:txBody>
            <a:bodyPr lIns="9140" tIns="9140" rIns="9140" bIns="9140" anchor="ctr"/>
            <a:lstStyle/>
            <a:p>
              <a:pPr lvl="0" algn="ctr"/>
              <a:r>
                <a:rPr lang="en-US" sz="800">
                  <a:latin typeface="Calibri"/>
                  <a:ea typeface="Calibri"/>
                  <a:cs typeface="Calibri"/>
                </a:rPr>
                <a:t>Contract &amp; Denial Analysis</a:t>
              </a:r>
            </a:p>
          </p:txBody>
        </p:sp>
        <p:sp>
          <p:nvSpPr>
            <p:cNvPr id="22" name="AutoShape 7">
              <a:extLst>
                <a:ext uri="{FF2B5EF4-FFF2-40B4-BE49-F238E27FC236}">
                  <a16:creationId xmlns:a16="http://schemas.microsoft.com/office/drawing/2014/main" id="{68F56346-6DEC-ECA9-6CD5-3F56E0B668BB}"/>
                </a:ext>
              </a:extLst>
            </p:cNvPr>
            <p:cNvSpPr>
              <a:spLocks noChangeArrowheads="1"/>
            </p:cNvSpPr>
            <p:nvPr>
              <p:custDataLst>
                <p:tags r:id="rId13"/>
              </p:custDataLst>
            </p:nvPr>
          </p:nvSpPr>
          <p:spPr bwMode="gray">
            <a:xfrm>
              <a:off x="3049506" y="1824999"/>
              <a:ext cx="1030960" cy="401372"/>
            </a:xfrm>
            <a:prstGeom prst="chevron">
              <a:avLst>
                <a:gd name="adj" fmla="val 23514"/>
              </a:avLst>
            </a:prstGeom>
            <a:solidFill>
              <a:srgbClr val="83CBEB"/>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Remittance Processing &amp; Adjustment Decisioning</a:t>
              </a:r>
            </a:p>
          </p:txBody>
        </p:sp>
        <p:sp>
          <p:nvSpPr>
            <p:cNvPr id="23" name="AutoShape 8">
              <a:extLst>
                <a:ext uri="{FF2B5EF4-FFF2-40B4-BE49-F238E27FC236}">
                  <a16:creationId xmlns:a16="http://schemas.microsoft.com/office/drawing/2014/main" id="{61A3A106-6865-45F4-FB9E-635211B103FF}"/>
                </a:ext>
              </a:extLst>
            </p:cNvPr>
            <p:cNvSpPr>
              <a:spLocks noChangeArrowheads="1"/>
            </p:cNvSpPr>
            <p:nvPr>
              <p:custDataLst>
                <p:tags r:id="rId14"/>
              </p:custDataLst>
            </p:nvPr>
          </p:nvSpPr>
          <p:spPr bwMode="gray">
            <a:xfrm>
              <a:off x="2114031" y="1824999"/>
              <a:ext cx="924290" cy="401372"/>
            </a:xfrm>
            <a:prstGeom prst="chevron">
              <a:avLst>
                <a:gd name="adj" fmla="val 23174"/>
              </a:avLst>
            </a:prstGeom>
            <a:solidFill>
              <a:srgbClr val="83CBEB"/>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Batch Creation / Payment Logging</a:t>
              </a:r>
            </a:p>
          </p:txBody>
        </p:sp>
        <p:sp>
          <p:nvSpPr>
            <p:cNvPr id="24" name="AutoShape 9">
              <a:extLst>
                <a:ext uri="{FF2B5EF4-FFF2-40B4-BE49-F238E27FC236}">
                  <a16:creationId xmlns:a16="http://schemas.microsoft.com/office/drawing/2014/main" id="{C9BC590A-FA76-BC73-9CCF-F2F85E64D94B}"/>
                </a:ext>
              </a:extLst>
            </p:cNvPr>
            <p:cNvSpPr>
              <a:spLocks noChangeArrowheads="1"/>
            </p:cNvSpPr>
            <p:nvPr>
              <p:custDataLst>
                <p:tags r:id="rId15"/>
              </p:custDataLst>
            </p:nvPr>
          </p:nvSpPr>
          <p:spPr bwMode="gray">
            <a:xfrm>
              <a:off x="1149128" y="1817944"/>
              <a:ext cx="974885" cy="408427"/>
            </a:xfrm>
            <a:prstGeom prst="chevron">
              <a:avLst>
                <a:gd name="adj" fmla="val 23142"/>
              </a:avLst>
            </a:prstGeom>
            <a:solidFill>
              <a:srgbClr val="83CBEB"/>
            </a:solidFill>
            <a:ln w="6350">
              <a:solidFill>
                <a:schemeClr val="bg1">
                  <a:lumMod val="75000"/>
                </a:schemeClr>
              </a:solidFill>
              <a:miter lim="800000"/>
              <a:headEnd/>
              <a:tailEnd/>
            </a:ln>
            <a:effectLst/>
          </p:spPr>
          <p:txBody>
            <a:bodyPr lIns="9140" tIns="9140" rIns="9140" bIns="9140" anchor="ctr"/>
            <a:lstStyle/>
            <a:p>
              <a:pPr lvl="0" algn="ctr"/>
              <a:r>
                <a:rPr lang="en-US" sz="800">
                  <a:solidFill>
                    <a:schemeClr val="bg1"/>
                  </a:solidFill>
                  <a:latin typeface="Calibri"/>
                  <a:ea typeface="Calibri"/>
                  <a:cs typeface="Calibri"/>
                </a:rPr>
                <a:t>Payment Receipt &amp; Retrieval</a:t>
              </a:r>
            </a:p>
          </p:txBody>
        </p:sp>
      </p:grpSp>
      <p:grpSp>
        <p:nvGrpSpPr>
          <p:cNvPr id="25" name="Group 24">
            <a:extLst>
              <a:ext uri="{FF2B5EF4-FFF2-40B4-BE49-F238E27FC236}">
                <a16:creationId xmlns:a16="http://schemas.microsoft.com/office/drawing/2014/main" id="{A255F8B7-7ABA-1545-07ED-FDBA83538CED}"/>
              </a:ext>
            </a:extLst>
          </p:cNvPr>
          <p:cNvGrpSpPr/>
          <p:nvPr/>
        </p:nvGrpSpPr>
        <p:grpSpPr>
          <a:xfrm>
            <a:off x="890727" y="1355260"/>
            <a:ext cx="11110294" cy="856566"/>
            <a:chOff x="1149128" y="1817944"/>
            <a:chExt cx="5652942" cy="415483"/>
          </a:xfrm>
        </p:grpSpPr>
        <p:sp>
          <p:nvSpPr>
            <p:cNvPr id="26" name="AutoShape 4">
              <a:extLst>
                <a:ext uri="{FF2B5EF4-FFF2-40B4-BE49-F238E27FC236}">
                  <a16:creationId xmlns:a16="http://schemas.microsoft.com/office/drawing/2014/main" id="{5C38DC12-184F-291B-F4B6-AFFC06B5A650}"/>
                </a:ext>
              </a:extLst>
            </p:cNvPr>
            <p:cNvSpPr>
              <a:spLocks noChangeArrowheads="1"/>
            </p:cNvSpPr>
            <p:nvPr>
              <p:custDataLst>
                <p:tags r:id="rId4"/>
              </p:custDataLst>
            </p:nvPr>
          </p:nvSpPr>
          <p:spPr bwMode="gray">
            <a:xfrm>
              <a:off x="5843421" y="1817944"/>
              <a:ext cx="958649" cy="408427"/>
            </a:xfrm>
            <a:prstGeom prst="chevron">
              <a:avLst>
                <a:gd name="adj" fmla="val 24443"/>
              </a:avLst>
            </a:prstGeom>
            <a:noFill/>
            <a:ln w="6350">
              <a:solidFill>
                <a:schemeClr val="bg1">
                  <a:lumMod val="75000"/>
                </a:schemeClr>
              </a:solidFill>
              <a:miter lim="800000"/>
              <a:headEnd/>
              <a:tailEnd/>
            </a:ln>
            <a:effectLst/>
          </p:spPr>
          <p:txBody>
            <a:bodyPr lIns="9140" tIns="9140" rIns="9140" bIns="9140" anchor="ctr"/>
            <a:lstStyle/>
            <a:p>
              <a:pPr lvl="0" algn="ctr"/>
              <a:r>
                <a:rPr lang="en-US" sz="800">
                  <a:latin typeface="Calibri"/>
                  <a:ea typeface="Calibri"/>
                  <a:cs typeface="Calibri"/>
                </a:rPr>
                <a:t>Reporting &amp; Exceptions</a:t>
              </a:r>
            </a:p>
          </p:txBody>
        </p:sp>
        <p:sp>
          <p:nvSpPr>
            <p:cNvPr id="27" name="AutoShape 5">
              <a:extLst>
                <a:ext uri="{FF2B5EF4-FFF2-40B4-BE49-F238E27FC236}">
                  <a16:creationId xmlns:a16="http://schemas.microsoft.com/office/drawing/2014/main" id="{9BB1B43B-DBE9-6708-004D-A1F449900F6A}"/>
                </a:ext>
              </a:extLst>
            </p:cNvPr>
            <p:cNvSpPr>
              <a:spLocks noChangeArrowheads="1"/>
            </p:cNvSpPr>
            <p:nvPr>
              <p:custDataLst>
                <p:tags r:id="rId5"/>
              </p:custDataLst>
            </p:nvPr>
          </p:nvSpPr>
          <p:spPr bwMode="gray">
            <a:xfrm>
              <a:off x="4967354" y="1825000"/>
              <a:ext cx="871939" cy="408427"/>
            </a:xfrm>
            <a:prstGeom prst="chevron">
              <a:avLst>
                <a:gd name="adj" fmla="val 23142"/>
              </a:avLst>
            </a:prstGeom>
            <a:noFill/>
            <a:ln w="6350">
              <a:solidFill>
                <a:schemeClr val="bg1">
                  <a:lumMod val="75000"/>
                </a:schemeClr>
              </a:solidFill>
              <a:miter lim="800000"/>
              <a:headEnd/>
              <a:tailEnd/>
            </a:ln>
            <a:effectLst/>
          </p:spPr>
          <p:txBody>
            <a:bodyPr lIns="9140" tIns="9140" rIns="9140" bIns="9140" anchor="ctr"/>
            <a:lstStyle/>
            <a:p>
              <a:pPr lvl="0" algn="ctr"/>
              <a:r>
                <a:rPr lang="en-US" sz="800">
                  <a:latin typeface="Calibri"/>
                  <a:ea typeface="Calibri"/>
                  <a:cs typeface="Calibri"/>
                </a:rPr>
                <a:t>Reconciliation &amp; Exception Resolution</a:t>
              </a:r>
            </a:p>
          </p:txBody>
        </p:sp>
        <p:sp>
          <p:nvSpPr>
            <p:cNvPr id="28" name="AutoShape 6">
              <a:extLst>
                <a:ext uri="{FF2B5EF4-FFF2-40B4-BE49-F238E27FC236}">
                  <a16:creationId xmlns:a16="http://schemas.microsoft.com/office/drawing/2014/main" id="{8190532A-96E7-D028-052C-89F362087BC6}"/>
                </a:ext>
              </a:extLst>
            </p:cNvPr>
            <p:cNvSpPr>
              <a:spLocks noChangeArrowheads="1"/>
            </p:cNvSpPr>
            <p:nvPr>
              <p:custDataLst>
                <p:tags r:id="rId6"/>
              </p:custDataLst>
            </p:nvPr>
          </p:nvSpPr>
          <p:spPr bwMode="gray">
            <a:xfrm>
              <a:off x="4077538" y="1825000"/>
              <a:ext cx="892743" cy="408427"/>
            </a:xfrm>
            <a:prstGeom prst="chevron">
              <a:avLst>
                <a:gd name="adj" fmla="val 23142"/>
              </a:avLst>
            </a:prstGeom>
            <a:noFill/>
            <a:ln w="6350">
              <a:solidFill>
                <a:schemeClr val="bg1">
                  <a:lumMod val="75000"/>
                </a:schemeClr>
              </a:solidFill>
              <a:miter lim="800000"/>
              <a:headEnd/>
              <a:tailEnd/>
            </a:ln>
            <a:effectLst/>
          </p:spPr>
          <p:txBody>
            <a:bodyPr lIns="9140" tIns="9140" rIns="9140" bIns="9140" anchor="ctr"/>
            <a:lstStyle/>
            <a:p>
              <a:pPr lvl="0" algn="ctr"/>
              <a:r>
                <a:rPr lang="en-US" sz="800">
                  <a:latin typeface="Calibri"/>
                  <a:ea typeface="Calibri"/>
                  <a:cs typeface="Calibri"/>
                </a:rPr>
                <a:t>Contract &amp; Denial Analysis</a:t>
              </a:r>
            </a:p>
          </p:txBody>
        </p:sp>
        <p:sp>
          <p:nvSpPr>
            <p:cNvPr id="29" name="AutoShape 7">
              <a:extLst>
                <a:ext uri="{FF2B5EF4-FFF2-40B4-BE49-F238E27FC236}">
                  <a16:creationId xmlns:a16="http://schemas.microsoft.com/office/drawing/2014/main" id="{03782135-4236-15B4-872D-776FF8DF6560}"/>
                </a:ext>
              </a:extLst>
            </p:cNvPr>
            <p:cNvSpPr>
              <a:spLocks noChangeArrowheads="1"/>
            </p:cNvSpPr>
            <p:nvPr>
              <p:custDataLst>
                <p:tags r:id="rId7"/>
              </p:custDataLst>
            </p:nvPr>
          </p:nvSpPr>
          <p:spPr bwMode="gray">
            <a:xfrm>
              <a:off x="3049506" y="1824999"/>
              <a:ext cx="1030960" cy="401372"/>
            </a:xfrm>
            <a:prstGeom prst="chevron">
              <a:avLst>
                <a:gd name="adj" fmla="val 23514"/>
              </a:avLst>
            </a:prstGeom>
            <a:noFill/>
            <a:ln w="6350">
              <a:solidFill>
                <a:schemeClr val="bg1">
                  <a:lumMod val="75000"/>
                </a:schemeClr>
              </a:solidFill>
              <a:miter lim="800000"/>
              <a:headEnd/>
              <a:tailEnd/>
            </a:ln>
            <a:effectLst/>
          </p:spPr>
          <p:txBody>
            <a:bodyPr lIns="9140" tIns="9140" rIns="9140" bIns="9140" anchor="ctr"/>
            <a:lstStyle/>
            <a:p>
              <a:pPr lvl="0" algn="ctr"/>
              <a:r>
                <a:rPr lang="en-US" sz="800">
                  <a:latin typeface="Calibri"/>
                  <a:ea typeface="Calibri"/>
                  <a:cs typeface="Calibri"/>
                </a:rPr>
                <a:t>Remittance Processing &amp; Adjustment Decisioning</a:t>
              </a:r>
            </a:p>
          </p:txBody>
        </p:sp>
        <p:sp>
          <p:nvSpPr>
            <p:cNvPr id="30" name="AutoShape 8">
              <a:extLst>
                <a:ext uri="{FF2B5EF4-FFF2-40B4-BE49-F238E27FC236}">
                  <a16:creationId xmlns:a16="http://schemas.microsoft.com/office/drawing/2014/main" id="{9323A443-DE39-0D4B-D713-F2FE7B658074}"/>
                </a:ext>
              </a:extLst>
            </p:cNvPr>
            <p:cNvSpPr>
              <a:spLocks noChangeArrowheads="1"/>
            </p:cNvSpPr>
            <p:nvPr>
              <p:custDataLst>
                <p:tags r:id="rId8"/>
              </p:custDataLst>
            </p:nvPr>
          </p:nvSpPr>
          <p:spPr bwMode="gray">
            <a:xfrm>
              <a:off x="2114031" y="1824999"/>
              <a:ext cx="924290" cy="401372"/>
            </a:xfrm>
            <a:prstGeom prst="chevron">
              <a:avLst>
                <a:gd name="adj" fmla="val 23174"/>
              </a:avLst>
            </a:prstGeom>
            <a:noFill/>
            <a:ln w="6350">
              <a:solidFill>
                <a:schemeClr val="bg1">
                  <a:lumMod val="75000"/>
                </a:schemeClr>
              </a:solidFill>
              <a:miter lim="800000"/>
              <a:headEnd/>
              <a:tailEnd/>
            </a:ln>
            <a:effectLst/>
          </p:spPr>
          <p:txBody>
            <a:bodyPr lIns="9140" tIns="9140" rIns="9140" bIns="9140" anchor="ctr"/>
            <a:lstStyle/>
            <a:p>
              <a:pPr lvl="0" algn="ctr"/>
              <a:r>
                <a:rPr lang="en-US" sz="800">
                  <a:latin typeface="Calibri"/>
                  <a:ea typeface="Calibri"/>
                  <a:cs typeface="Calibri"/>
                </a:rPr>
                <a:t>Batch Creation / Payment Logging</a:t>
              </a:r>
            </a:p>
          </p:txBody>
        </p:sp>
        <p:sp>
          <p:nvSpPr>
            <p:cNvPr id="31" name="AutoShape 9">
              <a:extLst>
                <a:ext uri="{FF2B5EF4-FFF2-40B4-BE49-F238E27FC236}">
                  <a16:creationId xmlns:a16="http://schemas.microsoft.com/office/drawing/2014/main" id="{18A7B937-F720-E347-3A80-8EB5D3DC5975}"/>
                </a:ext>
              </a:extLst>
            </p:cNvPr>
            <p:cNvSpPr>
              <a:spLocks noChangeArrowheads="1"/>
            </p:cNvSpPr>
            <p:nvPr>
              <p:custDataLst>
                <p:tags r:id="rId9"/>
              </p:custDataLst>
            </p:nvPr>
          </p:nvSpPr>
          <p:spPr bwMode="gray">
            <a:xfrm>
              <a:off x="1149128" y="1817944"/>
              <a:ext cx="974885" cy="408427"/>
            </a:xfrm>
            <a:prstGeom prst="chevron">
              <a:avLst>
                <a:gd name="adj" fmla="val 23142"/>
              </a:avLst>
            </a:prstGeom>
            <a:noFill/>
            <a:ln w="6350">
              <a:solidFill>
                <a:schemeClr val="bg1">
                  <a:lumMod val="75000"/>
                </a:schemeClr>
              </a:solidFill>
              <a:miter lim="800000"/>
              <a:headEnd/>
              <a:tailEnd/>
            </a:ln>
            <a:effectLst/>
          </p:spPr>
          <p:txBody>
            <a:bodyPr lIns="9140" tIns="9140" rIns="9140" bIns="9140" anchor="ctr"/>
            <a:lstStyle/>
            <a:p>
              <a:pPr lvl="0" algn="ctr"/>
              <a:r>
                <a:rPr lang="en-US" sz="800">
                  <a:latin typeface="Calibri"/>
                  <a:ea typeface="Calibri"/>
                  <a:cs typeface="Calibri"/>
                </a:rPr>
                <a:t>Payment Receipt &amp; Retrieval</a:t>
              </a:r>
            </a:p>
          </p:txBody>
        </p:sp>
      </p:grpSp>
      <p:sp>
        <p:nvSpPr>
          <p:cNvPr id="35" name="TextBox 34">
            <a:extLst>
              <a:ext uri="{FF2B5EF4-FFF2-40B4-BE49-F238E27FC236}">
                <a16:creationId xmlns:a16="http://schemas.microsoft.com/office/drawing/2014/main" id="{F00BD812-7612-0C0F-3325-5DDCD71F5A3A}"/>
              </a:ext>
            </a:extLst>
          </p:cNvPr>
          <p:cNvSpPr txBox="1"/>
          <p:nvPr/>
        </p:nvSpPr>
        <p:spPr>
          <a:xfrm>
            <a:off x="3044939" y="6358260"/>
            <a:ext cx="1255619" cy="430551"/>
          </a:xfrm>
          <a:prstGeom prst="rect">
            <a:avLst/>
          </a:prstGeom>
          <a:noFill/>
        </p:spPr>
        <p:txBody>
          <a:bodyPr wrap="square" lIns="91368" tIns="91368" rIns="91368" bIns="91368" rtlCol="0">
            <a:spAutoFit/>
          </a:bodyPr>
          <a:lstStyle/>
          <a:p>
            <a:pPr defTabSz="913578">
              <a:defRPr/>
            </a:pPr>
            <a:r>
              <a:rPr lang="en-US" sz="800">
                <a:solidFill>
                  <a:srgbClr val="000000"/>
                </a:solidFill>
                <a:latin typeface="Arial"/>
                <a:cs typeface="Arial"/>
              </a:rPr>
              <a:t>Human in the loop for input and validation</a:t>
            </a:r>
          </a:p>
        </p:txBody>
      </p:sp>
      <p:cxnSp>
        <p:nvCxnSpPr>
          <p:cNvPr id="36" name="Straight Connector 35">
            <a:extLst>
              <a:ext uri="{FF2B5EF4-FFF2-40B4-BE49-F238E27FC236}">
                <a16:creationId xmlns:a16="http://schemas.microsoft.com/office/drawing/2014/main" id="{0C3740A8-655D-F5F4-C3F4-8479AAFDB0BF}"/>
              </a:ext>
            </a:extLst>
          </p:cNvPr>
          <p:cNvCxnSpPr/>
          <p:nvPr/>
        </p:nvCxnSpPr>
        <p:spPr>
          <a:xfrm>
            <a:off x="2691762" y="6435891"/>
            <a:ext cx="0" cy="247065"/>
          </a:xfrm>
          <a:prstGeom prst="line">
            <a:avLst/>
          </a:pr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7" name="AutoShape 7">
            <a:extLst>
              <a:ext uri="{FF2B5EF4-FFF2-40B4-BE49-F238E27FC236}">
                <a16:creationId xmlns:a16="http://schemas.microsoft.com/office/drawing/2014/main" id="{7F8D1297-0960-BE6F-21B8-2DA0538A731C}"/>
              </a:ext>
            </a:extLst>
          </p:cNvPr>
          <p:cNvSpPr>
            <a:spLocks noChangeArrowheads="1"/>
          </p:cNvSpPr>
          <p:nvPr>
            <p:custDataLst>
              <p:tags r:id="rId1"/>
            </p:custDataLst>
          </p:nvPr>
        </p:nvSpPr>
        <p:spPr bwMode="gray">
          <a:xfrm>
            <a:off x="265482" y="6428909"/>
            <a:ext cx="798127" cy="261026"/>
          </a:xfrm>
          <a:prstGeom prst="chevron">
            <a:avLst>
              <a:gd name="adj" fmla="val 23514"/>
            </a:avLst>
          </a:prstGeom>
          <a:noFill/>
          <a:ln w="6350">
            <a:solidFill>
              <a:schemeClr val="bg1">
                <a:lumMod val="75000"/>
              </a:schemeClr>
            </a:solidFill>
            <a:miter lim="800000"/>
            <a:headEnd/>
            <a:tailEnd/>
          </a:ln>
          <a:effectLst/>
        </p:spPr>
        <p:txBody>
          <a:bodyPr lIns="9140" tIns="9140" rIns="9140" bIns="9140" anchor="ctr"/>
          <a:lstStyle/>
          <a:p>
            <a:pPr algn="ctr" defTabSz="456926">
              <a:defRPr/>
            </a:pPr>
            <a:r>
              <a:rPr lang="en-US" altLang="ja-JP" sz="700">
                <a:solidFill>
                  <a:srgbClr val="FFFFFF">
                    <a:lumMod val="65000"/>
                  </a:srgbClr>
                </a:solidFill>
                <a:latin typeface="Arial"/>
                <a:ea typeface="メイリオ"/>
                <a:cs typeface="Arial"/>
              </a:rPr>
              <a:t>Manual Work</a:t>
            </a:r>
            <a:endParaRPr lang="ja-JP" altLang="en-US" sz="700">
              <a:solidFill>
                <a:srgbClr val="FFFFFF">
                  <a:lumMod val="65000"/>
                </a:srgbClr>
              </a:solidFill>
              <a:latin typeface="Arial"/>
              <a:ea typeface="メイリオ" panose="020B0604030504040204" pitchFamily="50" charset="-128"/>
              <a:cs typeface="Arial"/>
            </a:endParaRPr>
          </a:p>
        </p:txBody>
      </p:sp>
      <p:sp>
        <p:nvSpPr>
          <p:cNvPr id="44" name="AutoShape 7">
            <a:extLst>
              <a:ext uri="{FF2B5EF4-FFF2-40B4-BE49-F238E27FC236}">
                <a16:creationId xmlns:a16="http://schemas.microsoft.com/office/drawing/2014/main" id="{57CCBB3A-3D41-F771-4FD7-6817AE10ECC6}"/>
              </a:ext>
            </a:extLst>
          </p:cNvPr>
          <p:cNvSpPr>
            <a:spLocks noChangeArrowheads="1"/>
          </p:cNvSpPr>
          <p:nvPr>
            <p:custDataLst>
              <p:tags r:id="rId2"/>
            </p:custDataLst>
          </p:nvPr>
        </p:nvSpPr>
        <p:spPr bwMode="gray">
          <a:xfrm>
            <a:off x="1807220" y="6428909"/>
            <a:ext cx="798127" cy="261026"/>
          </a:xfrm>
          <a:prstGeom prst="chevron">
            <a:avLst>
              <a:gd name="adj" fmla="val 23514"/>
            </a:avLst>
          </a:prstGeom>
          <a:solidFill>
            <a:schemeClr val="tx2"/>
          </a:solidFill>
          <a:ln w="6350">
            <a:solidFill>
              <a:schemeClr val="bg1">
                <a:lumMod val="75000"/>
              </a:schemeClr>
            </a:solidFill>
            <a:miter lim="800000"/>
            <a:headEnd/>
            <a:tailEnd/>
          </a:ln>
          <a:effectLst>
            <a:outerShdw blurRad="63500" dist="38100" dir="2700000">
              <a:srgbClr val="000000">
                <a:alpha val="40000"/>
              </a:srgbClr>
            </a:outerShdw>
          </a:effectLst>
        </p:spPr>
        <p:txBody>
          <a:bodyPr lIns="9140" tIns="9140" rIns="9140" bIns="9140" anchor="ctr"/>
          <a:lstStyle/>
          <a:p>
            <a:pPr algn="ctr" defTabSz="456926">
              <a:defRPr/>
            </a:pPr>
            <a:r>
              <a:rPr lang="en-US" altLang="ja-JP" sz="700">
                <a:solidFill>
                  <a:srgbClr val="FFFFFF"/>
                </a:solidFill>
                <a:latin typeface="Arial"/>
                <a:ea typeface="メイリオ" panose="020B0604030504040204" pitchFamily="50" charset="-128"/>
                <a:cs typeface="Arial"/>
              </a:rPr>
              <a:t>Automation</a:t>
            </a:r>
            <a:endParaRPr lang="ja-JP" altLang="en-US" sz="700">
              <a:solidFill>
                <a:srgbClr val="FFFFFF"/>
              </a:solidFill>
              <a:latin typeface="Arial"/>
              <a:ea typeface="メイリオ" panose="020B0604030504040204" pitchFamily="50" charset="-128"/>
              <a:cs typeface="Arial"/>
            </a:endParaRPr>
          </a:p>
        </p:txBody>
      </p:sp>
      <p:sp>
        <p:nvSpPr>
          <p:cNvPr id="47" name="TextBox 46">
            <a:extLst>
              <a:ext uri="{FF2B5EF4-FFF2-40B4-BE49-F238E27FC236}">
                <a16:creationId xmlns:a16="http://schemas.microsoft.com/office/drawing/2014/main" id="{C2D42820-DC63-8203-6398-1479EFCC1451}"/>
              </a:ext>
            </a:extLst>
          </p:cNvPr>
          <p:cNvSpPr txBox="1"/>
          <p:nvPr/>
        </p:nvSpPr>
        <p:spPr>
          <a:xfrm>
            <a:off x="6271206" y="6358258"/>
            <a:ext cx="1485437" cy="430678"/>
          </a:xfrm>
          <a:prstGeom prst="rect">
            <a:avLst/>
          </a:prstGeom>
          <a:noFill/>
        </p:spPr>
        <p:txBody>
          <a:bodyPr wrap="square" lIns="91368" tIns="91368" rIns="91368" bIns="91368" rtlCol="0">
            <a:spAutoFit/>
          </a:bodyPr>
          <a:lstStyle/>
          <a:p>
            <a:pPr defTabSz="913578">
              <a:defRPr/>
            </a:pPr>
            <a:r>
              <a:rPr lang="en-US" sz="800">
                <a:solidFill>
                  <a:srgbClr val="000000"/>
                </a:solidFill>
                <a:latin typeface="Arial"/>
                <a:cs typeface="Arial"/>
              </a:rPr>
              <a:t>Agent for non-deterministic intelligent automation</a:t>
            </a:r>
          </a:p>
        </p:txBody>
      </p:sp>
      <p:sp>
        <p:nvSpPr>
          <p:cNvPr id="48" name="AutoShape 7">
            <a:extLst>
              <a:ext uri="{FF2B5EF4-FFF2-40B4-BE49-F238E27FC236}">
                <a16:creationId xmlns:a16="http://schemas.microsoft.com/office/drawing/2014/main" id="{E42FF52B-785C-5831-CE66-20DB8EEA42ED}"/>
              </a:ext>
            </a:extLst>
          </p:cNvPr>
          <p:cNvSpPr>
            <a:spLocks noChangeArrowheads="1"/>
          </p:cNvSpPr>
          <p:nvPr>
            <p:custDataLst>
              <p:tags r:id="rId3"/>
            </p:custDataLst>
          </p:nvPr>
        </p:nvSpPr>
        <p:spPr bwMode="gray">
          <a:xfrm>
            <a:off x="1036352" y="6429208"/>
            <a:ext cx="798127" cy="261026"/>
          </a:xfrm>
          <a:prstGeom prst="chevron">
            <a:avLst>
              <a:gd name="adj" fmla="val 23514"/>
            </a:avLst>
          </a:prstGeom>
          <a:solidFill>
            <a:schemeClr val="accent1">
              <a:lumMod val="40000"/>
              <a:lumOff val="60000"/>
            </a:schemeClr>
          </a:solidFill>
          <a:ln w="28575">
            <a:noFill/>
            <a:miter lim="800000"/>
            <a:headEnd/>
            <a:tailEnd/>
          </a:ln>
          <a:effectLst/>
        </p:spPr>
        <p:txBody>
          <a:bodyPr lIns="9140" tIns="9140" rIns="9140" bIns="9140" anchor="ctr"/>
          <a:lstStyle/>
          <a:p>
            <a:pPr algn="ctr" defTabSz="456926">
              <a:defRPr/>
            </a:pPr>
            <a:r>
              <a:rPr lang="en-US" altLang="ja-JP" sz="700">
                <a:solidFill>
                  <a:srgbClr val="FFFFFF"/>
                </a:solidFill>
                <a:latin typeface="Arial"/>
                <a:ea typeface="メイリオ" panose="020B0604030504040204" pitchFamily="50" charset="-128"/>
                <a:cs typeface="Arial"/>
              </a:rPr>
              <a:t>Partial Automation</a:t>
            </a:r>
            <a:endParaRPr lang="ja-JP" altLang="en-US" sz="700">
              <a:solidFill>
                <a:srgbClr val="FFFFFF"/>
              </a:solidFill>
              <a:latin typeface="Arial"/>
              <a:ea typeface="メイリオ" panose="020B0604030504040204" pitchFamily="50" charset="-128"/>
              <a:cs typeface="Arial"/>
            </a:endParaRPr>
          </a:p>
        </p:txBody>
      </p:sp>
      <p:pic>
        <p:nvPicPr>
          <p:cNvPr id="49" name="Graphic 12">
            <a:extLst>
              <a:ext uri="{FF2B5EF4-FFF2-40B4-BE49-F238E27FC236}">
                <a16:creationId xmlns:a16="http://schemas.microsoft.com/office/drawing/2014/main" id="{DC91D863-D56A-5137-8EE8-3FA891CA7FD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819488" y="6462699"/>
            <a:ext cx="229633" cy="227009"/>
          </a:xfrm>
          <a:prstGeom prst="rect">
            <a:avLst/>
          </a:prstGeom>
        </p:spPr>
      </p:pic>
      <p:pic>
        <p:nvPicPr>
          <p:cNvPr id="50" name="Graphic 1090">
            <a:extLst>
              <a:ext uri="{FF2B5EF4-FFF2-40B4-BE49-F238E27FC236}">
                <a16:creationId xmlns:a16="http://schemas.microsoft.com/office/drawing/2014/main" id="{85B6CB52-9AF5-6E52-935A-9E0A25A5CC7C}"/>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040402" y="6444686"/>
            <a:ext cx="229651" cy="231630"/>
          </a:xfrm>
          <a:prstGeom prst="rect">
            <a:avLst/>
          </a:prstGeom>
        </p:spPr>
      </p:pic>
      <p:pic>
        <p:nvPicPr>
          <p:cNvPr id="53" name="Graphic 44">
            <a:extLst>
              <a:ext uri="{FF2B5EF4-FFF2-40B4-BE49-F238E27FC236}">
                <a16:creationId xmlns:a16="http://schemas.microsoft.com/office/drawing/2014/main" id="{7FAFE371-0006-1150-C20D-6CAA383A07E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313204" y="6446180"/>
            <a:ext cx="229631" cy="227378"/>
          </a:xfrm>
          <a:prstGeom prst="rect">
            <a:avLst/>
          </a:prstGeom>
        </p:spPr>
      </p:pic>
      <p:sp>
        <p:nvSpPr>
          <p:cNvPr id="54" name="TextBox 53">
            <a:extLst>
              <a:ext uri="{FF2B5EF4-FFF2-40B4-BE49-F238E27FC236}">
                <a16:creationId xmlns:a16="http://schemas.microsoft.com/office/drawing/2014/main" id="{E2FFA264-0088-DC86-5317-F810C6E1568A}"/>
              </a:ext>
            </a:extLst>
          </p:cNvPr>
          <p:cNvSpPr txBox="1"/>
          <p:nvPr/>
        </p:nvSpPr>
        <p:spPr>
          <a:xfrm>
            <a:off x="4542594" y="6358258"/>
            <a:ext cx="1485437" cy="430742"/>
          </a:xfrm>
          <a:prstGeom prst="rect">
            <a:avLst/>
          </a:prstGeom>
          <a:noFill/>
        </p:spPr>
        <p:txBody>
          <a:bodyPr wrap="square" lIns="91368" tIns="91368" rIns="91368" bIns="91368" rtlCol="0" anchor="t">
            <a:spAutoFit/>
          </a:bodyPr>
          <a:lstStyle/>
          <a:p>
            <a:pPr defTabSz="913578">
              <a:defRPr/>
            </a:pPr>
            <a:r>
              <a:rPr lang="en-US" sz="800">
                <a:solidFill>
                  <a:srgbClr val="000000"/>
                </a:solidFill>
                <a:latin typeface="Arial"/>
                <a:cs typeface="Arial"/>
              </a:rPr>
              <a:t>RPA for repetitive, rule-based decisions</a:t>
            </a:r>
          </a:p>
        </p:txBody>
      </p:sp>
      <p:pic>
        <p:nvPicPr>
          <p:cNvPr id="55" name="Graphic 54">
            <a:extLst>
              <a:ext uri="{FF2B5EF4-FFF2-40B4-BE49-F238E27FC236}">
                <a16:creationId xmlns:a16="http://schemas.microsoft.com/office/drawing/2014/main" id="{2970ED0C-F2B0-DEB8-0C95-B213746C0A4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31041" y="3981563"/>
            <a:ext cx="459642" cy="460211"/>
          </a:xfrm>
          <a:prstGeom prst="rect">
            <a:avLst/>
          </a:prstGeom>
        </p:spPr>
      </p:pic>
      <p:pic>
        <p:nvPicPr>
          <p:cNvPr id="1025" name="Graphic 1024">
            <a:extLst>
              <a:ext uri="{FF2B5EF4-FFF2-40B4-BE49-F238E27FC236}">
                <a16:creationId xmlns:a16="http://schemas.microsoft.com/office/drawing/2014/main" id="{B11AB510-52C7-9005-D40C-EA45E665645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035404" y="3995329"/>
            <a:ext cx="452587" cy="454567"/>
          </a:xfrm>
          <a:prstGeom prst="rect">
            <a:avLst/>
          </a:prstGeom>
        </p:spPr>
      </p:pic>
      <p:pic>
        <p:nvPicPr>
          <p:cNvPr id="1026" name="Graphic 1025">
            <a:extLst>
              <a:ext uri="{FF2B5EF4-FFF2-40B4-BE49-F238E27FC236}">
                <a16:creationId xmlns:a16="http://schemas.microsoft.com/office/drawing/2014/main" id="{24D1C897-EBF6-E940-857C-C93A8B160EC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488156" y="3988618"/>
            <a:ext cx="459642" cy="460211"/>
          </a:xfrm>
          <a:prstGeom prst="rect">
            <a:avLst/>
          </a:prstGeom>
        </p:spPr>
      </p:pic>
      <p:cxnSp>
        <p:nvCxnSpPr>
          <p:cNvPr id="1027" name="Straight Arrow Connector 1026">
            <a:extLst>
              <a:ext uri="{FF2B5EF4-FFF2-40B4-BE49-F238E27FC236}">
                <a16:creationId xmlns:a16="http://schemas.microsoft.com/office/drawing/2014/main" id="{FABA7B56-F320-D22B-5DFC-D2CDD7B90A0B}"/>
              </a:ext>
            </a:extLst>
          </p:cNvPr>
          <p:cNvCxnSpPr>
            <a:cxnSpLocks/>
          </p:cNvCxnSpPr>
          <p:nvPr/>
        </p:nvCxnSpPr>
        <p:spPr>
          <a:xfrm>
            <a:off x="9657264" y="4282517"/>
            <a:ext cx="2149450" cy="78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Arrow: Down 4">
            <a:extLst>
              <a:ext uri="{FF2B5EF4-FFF2-40B4-BE49-F238E27FC236}">
                <a16:creationId xmlns:a16="http://schemas.microsoft.com/office/drawing/2014/main" id="{94846B3E-AFEB-F05E-6DF2-87BE714E11E6}"/>
              </a:ext>
            </a:extLst>
          </p:cNvPr>
          <p:cNvSpPr/>
          <p:nvPr/>
        </p:nvSpPr>
        <p:spPr>
          <a:xfrm>
            <a:off x="332780" y="1444389"/>
            <a:ext cx="462091" cy="4244964"/>
          </a:xfrm>
          <a:prstGeom prst="downArrow">
            <a:avLst/>
          </a:prstGeom>
          <a:solidFill>
            <a:srgbClr val="002482"/>
          </a:solidFill>
          <a:ln>
            <a:no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nchorCtr="0"/>
          <a:lstStyle/>
          <a:p>
            <a:pPr algn="ctr" defTabSz="913578">
              <a:defRPr/>
            </a:pPr>
            <a:r>
              <a:rPr lang="en-US" sz="1000">
                <a:solidFill>
                  <a:srgbClr val="FFFFFF"/>
                </a:solidFill>
                <a:latin typeface="Arial"/>
                <a:cs typeface="Arial"/>
              </a:rPr>
              <a:t>Evolution of Automation</a:t>
            </a:r>
          </a:p>
        </p:txBody>
      </p:sp>
      <p:sp>
        <p:nvSpPr>
          <p:cNvPr id="8" name="テキスト ボックス 43">
            <a:extLst>
              <a:ext uri="{FF2B5EF4-FFF2-40B4-BE49-F238E27FC236}">
                <a16:creationId xmlns:a16="http://schemas.microsoft.com/office/drawing/2014/main" id="{DAD0DE1B-3343-B830-061B-623766DB8C39}"/>
              </a:ext>
            </a:extLst>
          </p:cNvPr>
          <p:cNvSpPr txBox="1"/>
          <p:nvPr/>
        </p:nvSpPr>
        <p:spPr>
          <a:xfrm>
            <a:off x="1819872" y="1103104"/>
            <a:ext cx="2493332" cy="224278"/>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none" lIns="35973" tIns="35973" rIns="35973" bIns="35973" rtlCol="0" anchor="ctr">
            <a:noAutofit/>
          </a:bodyPr>
          <a:lstStyle>
            <a:defPPr>
              <a:defRPr lang="ja-JP">
                <a:uFillTx/>
              </a:defRPr>
            </a:defPPr>
            <a:lvl1pPr marL="0" algn="l" defTabSz="914400" rtl="0" eaLnBrk="1" latinLnBrk="0" hangingPunct="1">
              <a:defRPr kumimoji="1" sz="1800" kern="1200">
                <a:solidFill>
                  <a:schemeClr val="lt1"/>
                </a:solidFill>
                <a:uFillTx/>
                <a:latin typeface="+mn-lt"/>
                <a:ea typeface="+mn-ea"/>
                <a:cs typeface="+mn-cs"/>
              </a:defRPr>
            </a:lvl1pPr>
            <a:lvl2pPr marL="457200" algn="l" defTabSz="914400" rtl="0" eaLnBrk="1" latinLnBrk="0" hangingPunct="1">
              <a:defRPr kumimoji="1" sz="1800" kern="1200">
                <a:solidFill>
                  <a:schemeClr val="lt1"/>
                </a:solidFill>
                <a:uFillTx/>
                <a:latin typeface="+mn-lt"/>
                <a:ea typeface="+mn-ea"/>
                <a:cs typeface="+mn-cs"/>
              </a:defRPr>
            </a:lvl2pPr>
            <a:lvl3pPr marL="914400" algn="l" defTabSz="914400" rtl="0" eaLnBrk="1" latinLnBrk="0" hangingPunct="1">
              <a:defRPr kumimoji="1" sz="1800" kern="1200">
                <a:solidFill>
                  <a:schemeClr val="lt1"/>
                </a:solidFill>
                <a:uFillTx/>
                <a:latin typeface="+mn-lt"/>
                <a:ea typeface="+mn-ea"/>
                <a:cs typeface="+mn-cs"/>
              </a:defRPr>
            </a:lvl3pPr>
            <a:lvl4pPr marL="1371600" algn="l" defTabSz="914400" rtl="0" eaLnBrk="1" latinLnBrk="0" hangingPunct="1">
              <a:defRPr kumimoji="1" sz="1800" kern="1200">
                <a:solidFill>
                  <a:schemeClr val="lt1"/>
                </a:solidFill>
                <a:uFillTx/>
                <a:latin typeface="+mn-lt"/>
                <a:ea typeface="+mn-ea"/>
                <a:cs typeface="+mn-cs"/>
              </a:defRPr>
            </a:lvl4pPr>
            <a:lvl5pPr marL="1828800" algn="l" defTabSz="914400" rtl="0" eaLnBrk="1" latinLnBrk="0" hangingPunct="1">
              <a:defRPr kumimoji="1" sz="1800" kern="1200">
                <a:solidFill>
                  <a:schemeClr val="lt1"/>
                </a:solidFill>
                <a:uFillTx/>
                <a:latin typeface="+mn-lt"/>
                <a:ea typeface="+mn-ea"/>
                <a:cs typeface="+mn-cs"/>
              </a:defRPr>
            </a:lvl5pPr>
            <a:lvl6pPr marL="2286000" algn="l" defTabSz="914400" rtl="0" eaLnBrk="1" latinLnBrk="0" hangingPunct="1">
              <a:defRPr kumimoji="1" sz="1800" kern="1200">
                <a:solidFill>
                  <a:schemeClr val="lt1"/>
                </a:solidFill>
                <a:uFillTx/>
                <a:latin typeface="+mn-lt"/>
                <a:ea typeface="+mn-ea"/>
                <a:cs typeface="+mn-cs"/>
              </a:defRPr>
            </a:lvl6pPr>
            <a:lvl7pPr marL="2743200" algn="l" defTabSz="914400" rtl="0" eaLnBrk="1" latinLnBrk="0" hangingPunct="1">
              <a:defRPr kumimoji="1" sz="1800" kern="1200">
                <a:solidFill>
                  <a:schemeClr val="lt1"/>
                </a:solidFill>
                <a:uFillTx/>
                <a:latin typeface="+mn-lt"/>
                <a:ea typeface="+mn-ea"/>
                <a:cs typeface="+mn-cs"/>
              </a:defRPr>
            </a:lvl7pPr>
            <a:lvl8pPr marL="3200400" algn="l" defTabSz="914400" rtl="0" eaLnBrk="1" latinLnBrk="0" hangingPunct="1">
              <a:defRPr kumimoji="1" sz="1800" kern="1200">
                <a:solidFill>
                  <a:schemeClr val="lt1"/>
                </a:solidFill>
                <a:uFillTx/>
                <a:latin typeface="+mn-lt"/>
                <a:ea typeface="+mn-ea"/>
                <a:cs typeface="+mn-cs"/>
              </a:defRPr>
            </a:lvl8pPr>
            <a:lvl9pPr marL="3657600" algn="l" defTabSz="914400" rtl="0" eaLnBrk="1" latinLnBrk="0" hangingPunct="1">
              <a:defRPr kumimoji="1" sz="1800" kern="1200">
                <a:solidFill>
                  <a:schemeClr val="lt1"/>
                </a:solidFill>
                <a:uFillTx/>
                <a:latin typeface="+mn-lt"/>
                <a:ea typeface="+mn-ea"/>
                <a:cs typeface="+mn-cs"/>
              </a:defRPr>
            </a:lvl9pPr>
          </a:lstStyle>
          <a:p>
            <a:pPr defTabSz="913578">
              <a:defRPr/>
            </a:pPr>
            <a:r>
              <a:rPr lang="ja-JP" altLang="en-US" sz="1000" b="1" dirty="0">
                <a:solidFill>
                  <a:srgbClr val="0751DF"/>
                </a:solidFill>
                <a:latin typeface="Arial"/>
                <a:ea typeface="メイリオ"/>
                <a:cs typeface="Arial"/>
              </a:rPr>
              <a:t>All </a:t>
            </a:r>
            <a:r>
              <a:rPr lang="en-US" altLang="ja-JP" sz="1000" b="1" dirty="0">
                <a:solidFill>
                  <a:srgbClr val="0751DF"/>
                </a:solidFill>
                <a:latin typeface="Arial"/>
                <a:ea typeface="メイリオ"/>
                <a:cs typeface="Arial"/>
              </a:rPr>
              <a:t>M</a:t>
            </a:r>
            <a:r>
              <a:rPr lang="ja-JP" altLang="en-US" sz="1000" b="1" dirty="0">
                <a:solidFill>
                  <a:srgbClr val="0751DF"/>
                </a:solidFill>
                <a:latin typeface="Arial"/>
                <a:ea typeface="メイリオ"/>
                <a:cs typeface="Arial"/>
              </a:rPr>
              <a:t>anual </a:t>
            </a:r>
            <a:r>
              <a:rPr lang="en-US" altLang="ja-JP" sz="1000" b="1" dirty="0">
                <a:solidFill>
                  <a:srgbClr val="0751DF"/>
                </a:solidFill>
                <a:latin typeface="Arial"/>
                <a:ea typeface="メイリオ"/>
                <a:cs typeface="Arial"/>
              </a:rPr>
              <a:t>W</a:t>
            </a:r>
            <a:r>
              <a:rPr lang="ja-JP" altLang="en-US" sz="1000" b="1" dirty="0">
                <a:solidFill>
                  <a:srgbClr val="0751DF"/>
                </a:solidFill>
                <a:latin typeface="Arial"/>
                <a:ea typeface="メイリオ"/>
                <a:cs typeface="Arial"/>
              </a:rPr>
              <a:t>ork</a:t>
            </a:r>
          </a:p>
        </p:txBody>
      </p:sp>
      <p:sp>
        <p:nvSpPr>
          <p:cNvPr id="14" name="テキスト ボックス 43">
            <a:extLst>
              <a:ext uri="{FF2B5EF4-FFF2-40B4-BE49-F238E27FC236}">
                <a16:creationId xmlns:a16="http://schemas.microsoft.com/office/drawing/2014/main" id="{4174D63A-9C64-CCD1-9AC6-08147C81819E}"/>
              </a:ext>
            </a:extLst>
          </p:cNvPr>
          <p:cNvSpPr txBox="1"/>
          <p:nvPr/>
        </p:nvSpPr>
        <p:spPr>
          <a:xfrm>
            <a:off x="1848746" y="2369944"/>
            <a:ext cx="2493332" cy="224278"/>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none" lIns="35973" tIns="35973" rIns="35973" bIns="35973" rtlCol="0" anchor="ctr">
            <a:noAutofit/>
          </a:bodyPr>
          <a:lstStyle>
            <a:defPPr>
              <a:defRPr lang="ja-JP">
                <a:uFillTx/>
              </a:defRPr>
            </a:defPPr>
            <a:lvl1pPr marL="0" algn="l" defTabSz="914400" rtl="0" eaLnBrk="1" latinLnBrk="0" hangingPunct="1">
              <a:defRPr kumimoji="1" sz="1800" kern="1200">
                <a:solidFill>
                  <a:schemeClr val="lt1"/>
                </a:solidFill>
                <a:uFillTx/>
                <a:latin typeface="+mn-lt"/>
                <a:ea typeface="+mn-ea"/>
                <a:cs typeface="+mn-cs"/>
              </a:defRPr>
            </a:lvl1pPr>
            <a:lvl2pPr marL="457200" algn="l" defTabSz="914400" rtl="0" eaLnBrk="1" latinLnBrk="0" hangingPunct="1">
              <a:defRPr kumimoji="1" sz="1800" kern="1200">
                <a:solidFill>
                  <a:schemeClr val="lt1"/>
                </a:solidFill>
                <a:uFillTx/>
                <a:latin typeface="+mn-lt"/>
                <a:ea typeface="+mn-ea"/>
                <a:cs typeface="+mn-cs"/>
              </a:defRPr>
            </a:lvl2pPr>
            <a:lvl3pPr marL="914400" algn="l" defTabSz="914400" rtl="0" eaLnBrk="1" latinLnBrk="0" hangingPunct="1">
              <a:defRPr kumimoji="1" sz="1800" kern="1200">
                <a:solidFill>
                  <a:schemeClr val="lt1"/>
                </a:solidFill>
                <a:uFillTx/>
                <a:latin typeface="+mn-lt"/>
                <a:ea typeface="+mn-ea"/>
                <a:cs typeface="+mn-cs"/>
              </a:defRPr>
            </a:lvl3pPr>
            <a:lvl4pPr marL="1371600" algn="l" defTabSz="914400" rtl="0" eaLnBrk="1" latinLnBrk="0" hangingPunct="1">
              <a:defRPr kumimoji="1" sz="1800" kern="1200">
                <a:solidFill>
                  <a:schemeClr val="lt1"/>
                </a:solidFill>
                <a:uFillTx/>
                <a:latin typeface="+mn-lt"/>
                <a:ea typeface="+mn-ea"/>
                <a:cs typeface="+mn-cs"/>
              </a:defRPr>
            </a:lvl4pPr>
            <a:lvl5pPr marL="1828800" algn="l" defTabSz="914400" rtl="0" eaLnBrk="1" latinLnBrk="0" hangingPunct="1">
              <a:defRPr kumimoji="1" sz="1800" kern="1200">
                <a:solidFill>
                  <a:schemeClr val="lt1"/>
                </a:solidFill>
                <a:uFillTx/>
                <a:latin typeface="+mn-lt"/>
                <a:ea typeface="+mn-ea"/>
                <a:cs typeface="+mn-cs"/>
              </a:defRPr>
            </a:lvl5pPr>
            <a:lvl6pPr marL="2286000" algn="l" defTabSz="914400" rtl="0" eaLnBrk="1" latinLnBrk="0" hangingPunct="1">
              <a:defRPr kumimoji="1" sz="1800" kern="1200">
                <a:solidFill>
                  <a:schemeClr val="lt1"/>
                </a:solidFill>
                <a:uFillTx/>
                <a:latin typeface="+mn-lt"/>
                <a:ea typeface="+mn-ea"/>
                <a:cs typeface="+mn-cs"/>
              </a:defRPr>
            </a:lvl6pPr>
            <a:lvl7pPr marL="2743200" algn="l" defTabSz="914400" rtl="0" eaLnBrk="1" latinLnBrk="0" hangingPunct="1">
              <a:defRPr kumimoji="1" sz="1800" kern="1200">
                <a:solidFill>
                  <a:schemeClr val="lt1"/>
                </a:solidFill>
                <a:uFillTx/>
                <a:latin typeface="+mn-lt"/>
                <a:ea typeface="+mn-ea"/>
                <a:cs typeface="+mn-cs"/>
              </a:defRPr>
            </a:lvl7pPr>
            <a:lvl8pPr marL="3200400" algn="l" defTabSz="914400" rtl="0" eaLnBrk="1" latinLnBrk="0" hangingPunct="1">
              <a:defRPr kumimoji="1" sz="1800" kern="1200">
                <a:solidFill>
                  <a:schemeClr val="lt1"/>
                </a:solidFill>
                <a:uFillTx/>
                <a:latin typeface="+mn-lt"/>
                <a:ea typeface="+mn-ea"/>
                <a:cs typeface="+mn-cs"/>
              </a:defRPr>
            </a:lvl8pPr>
            <a:lvl9pPr marL="3657600" algn="l" defTabSz="914400" rtl="0" eaLnBrk="1" latinLnBrk="0" hangingPunct="1">
              <a:defRPr kumimoji="1" sz="1800" kern="1200">
                <a:solidFill>
                  <a:schemeClr val="lt1"/>
                </a:solidFill>
                <a:uFillTx/>
                <a:latin typeface="+mn-lt"/>
                <a:ea typeface="+mn-ea"/>
                <a:cs typeface="+mn-cs"/>
              </a:defRPr>
            </a:lvl9pPr>
          </a:lstStyle>
          <a:p>
            <a:pPr defTabSz="913578">
              <a:defRPr/>
            </a:pPr>
            <a:r>
              <a:rPr lang="en-US" altLang="ja-JP" sz="1000" b="1" dirty="0">
                <a:solidFill>
                  <a:srgbClr val="0751DF"/>
                </a:solidFill>
                <a:latin typeface="Arial"/>
                <a:ea typeface="メイリオ"/>
                <a:cs typeface="Arial"/>
              </a:rPr>
              <a:t>Utilizing RPA</a:t>
            </a:r>
          </a:p>
        </p:txBody>
      </p:sp>
      <p:sp>
        <p:nvSpPr>
          <p:cNvPr id="15" name="テキスト ボックス 43">
            <a:extLst>
              <a:ext uri="{FF2B5EF4-FFF2-40B4-BE49-F238E27FC236}">
                <a16:creationId xmlns:a16="http://schemas.microsoft.com/office/drawing/2014/main" id="{B69EB4AA-BD5C-503B-961A-121B0E75D465}"/>
              </a:ext>
            </a:extLst>
          </p:cNvPr>
          <p:cNvSpPr txBox="1"/>
          <p:nvPr/>
        </p:nvSpPr>
        <p:spPr>
          <a:xfrm>
            <a:off x="1956602" y="4432600"/>
            <a:ext cx="2493332" cy="224278"/>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none" lIns="35973" tIns="35973" rIns="35973" bIns="35973" rtlCol="0" anchor="ctr">
            <a:noAutofit/>
          </a:bodyPr>
          <a:lstStyle>
            <a:defPPr>
              <a:defRPr lang="ja-JP">
                <a:uFillTx/>
              </a:defRPr>
            </a:defPPr>
            <a:lvl1pPr marL="0" algn="l" defTabSz="914400" rtl="0" eaLnBrk="1" latinLnBrk="0" hangingPunct="1">
              <a:defRPr kumimoji="1" sz="1800" kern="1200">
                <a:solidFill>
                  <a:schemeClr val="lt1"/>
                </a:solidFill>
                <a:uFillTx/>
                <a:latin typeface="+mn-lt"/>
                <a:ea typeface="+mn-ea"/>
                <a:cs typeface="+mn-cs"/>
              </a:defRPr>
            </a:lvl1pPr>
            <a:lvl2pPr marL="457200" algn="l" defTabSz="914400" rtl="0" eaLnBrk="1" latinLnBrk="0" hangingPunct="1">
              <a:defRPr kumimoji="1" sz="1800" kern="1200">
                <a:solidFill>
                  <a:schemeClr val="lt1"/>
                </a:solidFill>
                <a:uFillTx/>
                <a:latin typeface="+mn-lt"/>
                <a:ea typeface="+mn-ea"/>
                <a:cs typeface="+mn-cs"/>
              </a:defRPr>
            </a:lvl2pPr>
            <a:lvl3pPr marL="914400" algn="l" defTabSz="914400" rtl="0" eaLnBrk="1" latinLnBrk="0" hangingPunct="1">
              <a:defRPr kumimoji="1" sz="1800" kern="1200">
                <a:solidFill>
                  <a:schemeClr val="lt1"/>
                </a:solidFill>
                <a:uFillTx/>
                <a:latin typeface="+mn-lt"/>
                <a:ea typeface="+mn-ea"/>
                <a:cs typeface="+mn-cs"/>
              </a:defRPr>
            </a:lvl3pPr>
            <a:lvl4pPr marL="1371600" algn="l" defTabSz="914400" rtl="0" eaLnBrk="1" latinLnBrk="0" hangingPunct="1">
              <a:defRPr kumimoji="1" sz="1800" kern="1200">
                <a:solidFill>
                  <a:schemeClr val="lt1"/>
                </a:solidFill>
                <a:uFillTx/>
                <a:latin typeface="+mn-lt"/>
                <a:ea typeface="+mn-ea"/>
                <a:cs typeface="+mn-cs"/>
              </a:defRPr>
            </a:lvl4pPr>
            <a:lvl5pPr marL="1828800" algn="l" defTabSz="914400" rtl="0" eaLnBrk="1" latinLnBrk="0" hangingPunct="1">
              <a:defRPr kumimoji="1" sz="1800" kern="1200">
                <a:solidFill>
                  <a:schemeClr val="lt1"/>
                </a:solidFill>
                <a:uFillTx/>
                <a:latin typeface="+mn-lt"/>
                <a:ea typeface="+mn-ea"/>
                <a:cs typeface="+mn-cs"/>
              </a:defRPr>
            </a:lvl5pPr>
            <a:lvl6pPr marL="2286000" algn="l" defTabSz="914400" rtl="0" eaLnBrk="1" latinLnBrk="0" hangingPunct="1">
              <a:defRPr kumimoji="1" sz="1800" kern="1200">
                <a:solidFill>
                  <a:schemeClr val="lt1"/>
                </a:solidFill>
                <a:uFillTx/>
                <a:latin typeface="+mn-lt"/>
                <a:ea typeface="+mn-ea"/>
                <a:cs typeface="+mn-cs"/>
              </a:defRPr>
            </a:lvl6pPr>
            <a:lvl7pPr marL="2743200" algn="l" defTabSz="914400" rtl="0" eaLnBrk="1" latinLnBrk="0" hangingPunct="1">
              <a:defRPr kumimoji="1" sz="1800" kern="1200">
                <a:solidFill>
                  <a:schemeClr val="lt1"/>
                </a:solidFill>
                <a:uFillTx/>
                <a:latin typeface="+mn-lt"/>
                <a:ea typeface="+mn-ea"/>
                <a:cs typeface="+mn-cs"/>
              </a:defRPr>
            </a:lvl7pPr>
            <a:lvl8pPr marL="3200400" algn="l" defTabSz="914400" rtl="0" eaLnBrk="1" latinLnBrk="0" hangingPunct="1">
              <a:defRPr kumimoji="1" sz="1800" kern="1200">
                <a:solidFill>
                  <a:schemeClr val="lt1"/>
                </a:solidFill>
                <a:uFillTx/>
                <a:latin typeface="+mn-lt"/>
                <a:ea typeface="+mn-ea"/>
                <a:cs typeface="+mn-cs"/>
              </a:defRPr>
            </a:lvl8pPr>
            <a:lvl9pPr marL="3657600" algn="l" defTabSz="914400" rtl="0" eaLnBrk="1" latinLnBrk="0" hangingPunct="1">
              <a:defRPr kumimoji="1" sz="1800" kern="1200">
                <a:solidFill>
                  <a:schemeClr val="lt1"/>
                </a:solidFill>
                <a:uFillTx/>
                <a:latin typeface="+mn-lt"/>
                <a:ea typeface="+mn-ea"/>
                <a:cs typeface="+mn-cs"/>
              </a:defRPr>
            </a:lvl9pPr>
          </a:lstStyle>
          <a:p>
            <a:pPr defTabSz="913578">
              <a:defRPr/>
            </a:pPr>
            <a:r>
              <a:rPr lang="en-US" altLang="ja-JP" sz="1000" b="1" dirty="0">
                <a:solidFill>
                  <a:srgbClr val="0751DF"/>
                </a:solidFill>
                <a:latin typeface="Arial"/>
                <a:ea typeface="メイリオ"/>
                <a:cs typeface="Arial"/>
              </a:rPr>
              <a:t>Utilizing Agentic Automation</a:t>
            </a:r>
          </a:p>
        </p:txBody>
      </p:sp>
    </p:spTree>
    <p:extLst>
      <p:ext uri="{BB962C8B-B14F-4D97-AF65-F5344CB8AC3E}">
        <p14:creationId xmlns:p14="http://schemas.microsoft.com/office/powerpoint/2010/main" val="275455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2B2C2-F75D-A852-4966-6794DF931D53}"/>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6C8BF0D6-F424-CCB4-B127-7290D8F81126}"/>
              </a:ext>
            </a:extLst>
          </p:cNvPr>
          <p:cNvSpPr/>
          <p:nvPr/>
        </p:nvSpPr>
        <p:spPr>
          <a:xfrm>
            <a:off x="534186" y="458101"/>
            <a:ext cx="10164294" cy="954107"/>
          </a:xfrm>
          <a:prstGeom prst="rect">
            <a:avLst/>
          </a:prstGeom>
          <a:noFill/>
        </p:spPr>
        <p:txBody>
          <a:bodyPr wrap="square" lIns="91440" tIns="45720" rIns="91440" bIns="45720">
            <a:spAutoFit/>
          </a:bodyPr>
          <a:lstStyle/>
          <a:p>
            <a:r>
              <a:rPr lang="en-US" sz="2800" dirty="0">
                <a:solidFill>
                  <a:srgbClr val="FF0000"/>
                </a:solidFill>
                <a:latin typeface="Roboto medium" pitchFamily="2" charset="0"/>
                <a:ea typeface="Roboto medium" pitchFamily="2" charset="0"/>
              </a:rPr>
              <a:t>How AI-Powered Assistance Supports Your Payment Posting Teams</a:t>
            </a:r>
            <a:r>
              <a:rPr lang="en-US" sz="2800" dirty="0">
                <a:solidFill>
                  <a:srgbClr val="FF0000"/>
                </a:solidFill>
                <a:effectLst/>
                <a:latin typeface="Roboto medium" pitchFamily="2" charset="0"/>
                <a:ea typeface="Roboto medium" pitchFamily="2" charset="0"/>
              </a:rPr>
              <a:t>?</a:t>
            </a:r>
            <a:endParaRPr lang="en-US" sz="2800" cap="none" spc="0" dirty="0">
              <a:ln w="0"/>
              <a:solidFill>
                <a:srgbClr val="FF0000"/>
              </a:solidFill>
              <a:effectLst/>
              <a:latin typeface="Roboto medium" pitchFamily="2" charset="0"/>
              <a:ea typeface="Roboto medium" pitchFamily="2" charset="0"/>
            </a:endParaRPr>
          </a:p>
        </p:txBody>
      </p:sp>
      <p:pic>
        <p:nvPicPr>
          <p:cNvPr id="29" name="Picture 28" descr="A logo in a circle&#10;&#10;AI-generated content may be incorrect.">
            <a:extLst>
              <a:ext uri="{FF2B5EF4-FFF2-40B4-BE49-F238E27FC236}">
                <a16:creationId xmlns:a16="http://schemas.microsoft.com/office/drawing/2014/main" id="{43DF0FE0-E65E-30C0-AFCD-001A8AA8BD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25" name="Rectangle 24">
            <a:extLst>
              <a:ext uri="{FF2B5EF4-FFF2-40B4-BE49-F238E27FC236}">
                <a16:creationId xmlns:a16="http://schemas.microsoft.com/office/drawing/2014/main" id="{DE2B0FD3-204F-ED46-3B23-6C0692073617}"/>
              </a:ext>
            </a:extLst>
          </p:cNvPr>
          <p:cNvSpPr/>
          <p:nvPr/>
        </p:nvSpPr>
        <p:spPr>
          <a:xfrm>
            <a:off x="1883978" y="2308036"/>
            <a:ext cx="2005199" cy="584775"/>
          </a:xfrm>
          <a:prstGeom prst="rect">
            <a:avLst/>
          </a:prstGeom>
          <a:noFill/>
        </p:spPr>
        <p:txBody>
          <a:bodyPr wrap="square" lIns="91440" tIns="45720" rIns="91440" bIns="45720">
            <a:spAutoFit/>
          </a:bodyPr>
          <a:lstStyle/>
          <a:p>
            <a:pPr algn="r"/>
            <a:r>
              <a:rPr lang="es-CO" sz="1600" err="1">
                <a:solidFill>
                  <a:srgbClr val="595959"/>
                </a:solidFill>
                <a:latin typeface="Roboto" pitchFamily="2" charset="0"/>
                <a:ea typeface="Roboto" pitchFamily="2" charset="0"/>
              </a:rPr>
              <a:t>Remittance</a:t>
            </a:r>
            <a:r>
              <a:rPr lang="es-CO" sz="1600">
                <a:solidFill>
                  <a:srgbClr val="595959"/>
                </a:solidFill>
                <a:latin typeface="Roboto" pitchFamily="2" charset="0"/>
                <a:ea typeface="Roboto" pitchFamily="2" charset="0"/>
              </a:rPr>
              <a:t> </a:t>
            </a:r>
            <a:r>
              <a:rPr lang="es-CO" sz="1600" err="1">
                <a:solidFill>
                  <a:srgbClr val="595959"/>
                </a:solidFill>
                <a:latin typeface="Roboto" pitchFamily="2" charset="0"/>
                <a:ea typeface="Roboto" pitchFamily="2" charset="0"/>
              </a:rPr>
              <a:t>Intake</a:t>
            </a:r>
            <a:r>
              <a:rPr lang="es-CO" sz="1600">
                <a:solidFill>
                  <a:srgbClr val="595959"/>
                </a:solidFill>
                <a:latin typeface="Roboto" pitchFamily="2" charset="0"/>
                <a:ea typeface="Roboto" pitchFamily="2" charset="0"/>
              </a:rPr>
              <a:t> &amp; </a:t>
            </a:r>
            <a:r>
              <a:rPr lang="es-CO" sz="1600" err="1">
                <a:solidFill>
                  <a:srgbClr val="595959"/>
                </a:solidFill>
                <a:latin typeface="Roboto" pitchFamily="2" charset="0"/>
                <a:ea typeface="Roboto" pitchFamily="2" charset="0"/>
              </a:rPr>
              <a:t>Normalization</a:t>
            </a:r>
            <a:endParaRPr lang="en-US" sz="1600">
              <a:solidFill>
                <a:srgbClr val="595959"/>
              </a:solidFill>
              <a:latin typeface="Roboto" pitchFamily="2" charset="0"/>
              <a:ea typeface="Roboto" pitchFamily="2" charset="0"/>
            </a:endParaRPr>
          </a:p>
        </p:txBody>
      </p:sp>
      <p:sp>
        <p:nvSpPr>
          <p:cNvPr id="10" name="Rectangle 9">
            <a:extLst>
              <a:ext uri="{FF2B5EF4-FFF2-40B4-BE49-F238E27FC236}">
                <a16:creationId xmlns:a16="http://schemas.microsoft.com/office/drawing/2014/main" id="{30D73641-2432-F5D0-F52F-04EC83D95E2B}"/>
              </a:ext>
            </a:extLst>
          </p:cNvPr>
          <p:cNvSpPr/>
          <p:nvPr/>
        </p:nvSpPr>
        <p:spPr>
          <a:xfrm>
            <a:off x="1270164" y="2234868"/>
            <a:ext cx="415536" cy="292388"/>
          </a:xfrm>
          <a:prstGeom prst="rect">
            <a:avLst/>
          </a:prstGeom>
          <a:noFill/>
        </p:spPr>
        <p:txBody>
          <a:bodyPr wrap="square" lIns="91440" tIns="45720" rIns="91440" bIns="45720">
            <a:spAutoFit/>
          </a:bodyPr>
          <a:lstStyle/>
          <a:p>
            <a:r>
              <a:rPr lang="en-US" sz="1300" b="1">
                <a:solidFill>
                  <a:schemeClr val="bg1"/>
                </a:solidFill>
                <a:effectLst/>
                <a:latin typeface="Roboto" pitchFamily="2" charset="0"/>
                <a:ea typeface="Roboto" pitchFamily="2" charset="0"/>
              </a:rPr>
              <a:t>01</a:t>
            </a:r>
            <a:endParaRPr lang="en-US" sz="1300" b="1" cap="none" spc="0">
              <a:ln w="0"/>
              <a:solidFill>
                <a:schemeClr val="bg1"/>
              </a:solidFill>
              <a:effectLst/>
              <a:latin typeface="Roboto" pitchFamily="2" charset="0"/>
              <a:ea typeface="Roboto" pitchFamily="2" charset="0"/>
            </a:endParaRPr>
          </a:p>
        </p:txBody>
      </p:sp>
      <p:sp>
        <p:nvSpPr>
          <p:cNvPr id="30" name="Rectangle 29">
            <a:extLst>
              <a:ext uri="{FF2B5EF4-FFF2-40B4-BE49-F238E27FC236}">
                <a16:creationId xmlns:a16="http://schemas.microsoft.com/office/drawing/2014/main" id="{755AD471-A259-51C1-CC6C-7124FE0D0BEC}"/>
              </a:ext>
            </a:extLst>
          </p:cNvPr>
          <p:cNvSpPr/>
          <p:nvPr/>
        </p:nvSpPr>
        <p:spPr>
          <a:xfrm>
            <a:off x="5505851" y="2173289"/>
            <a:ext cx="2005199" cy="461665"/>
          </a:xfrm>
          <a:prstGeom prst="rect">
            <a:avLst/>
          </a:prstGeom>
          <a:noFill/>
        </p:spPr>
        <p:txBody>
          <a:bodyPr wrap="square" lIns="91440" tIns="45720" rIns="91440" bIns="45720">
            <a:spAutoFit/>
          </a:bodyPr>
          <a:lstStyle/>
          <a:p>
            <a:r>
              <a:rPr lang="en-US" sz="1200">
                <a:solidFill>
                  <a:schemeClr val="bg1"/>
                </a:solidFill>
                <a:effectLst/>
                <a:latin typeface="Roboto medium" pitchFamily="2" charset="0"/>
                <a:ea typeface="Roboto medium" pitchFamily="2" charset="0"/>
              </a:rPr>
              <a:t>Advanced AI &amp; RPA Solutions</a:t>
            </a:r>
            <a:endParaRPr lang="en-US" sz="1200" cap="none" spc="0">
              <a:ln w="0"/>
              <a:solidFill>
                <a:schemeClr val="bg1"/>
              </a:solidFill>
              <a:effectLst/>
              <a:latin typeface="Roboto medium" pitchFamily="2" charset="0"/>
              <a:ea typeface="Roboto medium" pitchFamily="2" charset="0"/>
            </a:endParaRPr>
          </a:p>
        </p:txBody>
      </p:sp>
      <p:sp>
        <p:nvSpPr>
          <p:cNvPr id="31" name="Rectangle 30">
            <a:extLst>
              <a:ext uri="{FF2B5EF4-FFF2-40B4-BE49-F238E27FC236}">
                <a16:creationId xmlns:a16="http://schemas.microsoft.com/office/drawing/2014/main" id="{ADF70DF0-9359-67FB-D389-436A504DDB37}"/>
              </a:ext>
            </a:extLst>
          </p:cNvPr>
          <p:cNvSpPr/>
          <p:nvPr/>
        </p:nvSpPr>
        <p:spPr>
          <a:xfrm>
            <a:off x="4948260" y="2234868"/>
            <a:ext cx="415536" cy="292388"/>
          </a:xfrm>
          <a:prstGeom prst="rect">
            <a:avLst/>
          </a:prstGeom>
          <a:noFill/>
        </p:spPr>
        <p:txBody>
          <a:bodyPr wrap="square" lIns="91440" tIns="45720" rIns="91440" bIns="45720">
            <a:spAutoFit/>
          </a:bodyPr>
          <a:lstStyle/>
          <a:p>
            <a:r>
              <a:rPr lang="en-US" sz="1300" b="1">
                <a:solidFill>
                  <a:schemeClr val="bg1"/>
                </a:solidFill>
                <a:effectLst/>
                <a:latin typeface="Roboto" pitchFamily="2" charset="0"/>
                <a:ea typeface="Roboto" pitchFamily="2" charset="0"/>
              </a:rPr>
              <a:t>02</a:t>
            </a:r>
            <a:endParaRPr lang="en-US" sz="1300" b="1" cap="none" spc="0">
              <a:ln w="0"/>
              <a:solidFill>
                <a:schemeClr val="bg1"/>
              </a:solidFill>
              <a:effectLst/>
              <a:latin typeface="Roboto" pitchFamily="2" charset="0"/>
              <a:ea typeface="Roboto" pitchFamily="2" charset="0"/>
            </a:endParaRPr>
          </a:p>
        </p:txBody>
      </p:sp>
      <p:sp>
        <p:nvSpPr>
          <p:cNvPr id="35" name="Rectangle 34">
            <a:extLst>
              <a:ext uri="{FF2B5EF4-FFF2-40B4-BE49-F238E27FC236}">
                <a16:creationId xmlns:a16="http://schemas.microsoft.com/office/drawing/2014/main" id="{E5A42896-B797-AC8C-2763-55C575242DF4}"/>
              </a:ext>
            </a:extLst>
          </p:cNvPr>
          <p:cNvSpPr/>
          <p:nvPr/>
        </p:nvSpPr>
        <p:spPr>
          <a:xfrm>
            <a:off x="9016397" y="2252790"/>
            <a:ext cx="2005199" cy="276999"/>
          </a:xfrm>
          <a:prstGeom prst="rect">
            <a:avLst/>
          </a:prstGeom>
          <a:noFill/>
        </p:spPr>
        <p:txBody>
          <a:bodyPr wrap="square" lIns="91440" tIns="45720" rIns="91440" bIns="45720">
            <a:spAutoFit/>
          </a:bodyPr>
          <a:lstStyle/>
          <a:p>
            <a:r>
              <a:rPr lang="en-US" sz="1200">
                <a:solidFill>
                  <a:schemeClr val="bg1"/>
                </a:solidFill>
                <a:effectLst/>
                <a:latin typeface="Roboto medium" pitchFamily="2" charset="0"/>
                <a:ea typeface="Roboto medium" pitchFamily="2" charset="0"/>
              </a:rPr>
              <a:t>​Tailored Implementation</a:t>
            </a:r>
            <a:endParaRPr lang="en-US" sz="1200" cap="none" spc="0">
              <a:ln w="0"/>
              <a:solidFill>
                <a:schemeClr val="bg1"/>
              </a:solidFill>
              <a:effectLst/>
              <a:latin typeface="Roboto medium" pitchFamily="2" charset="0"/>
              <a:ea typeface="Roboto medium" pitchFamily="2" charset="0"/>
            </a:endParaRPr>
          </a:p>
        </p:txBody>
      </p:sp>
      <p:sp>
        <p:nvSpPr>
          <p:cNvPr id="36" name="Rectangle 35">
            <a:extLst>
              <a:ext uri="{FF2B5EF4-FFF2-40B4-BE49-F238E27FC236}">
                <a16:creationId xmlns:a16="http://schemas.microsoft.com/office/drawing/2014/main" id="{EBD3D02A-A92B-3FB2-9841-D22EF9D0CE50}"/>
              </a:ext>
            </a:extLst>
          </p:cNvPr>
          <p:cNvSpPr/>
          <p:nvPr/>
        </p:nvSpPr>
        <p:spPr>
          <a:xfrm>
            <a:off x="8542720" y="2234868"/>
            <a:ext cx="415536" cy="292388"/>
          </a:xfrm>
          <a:prstGeom prst="rect">
            <a:avLst/>
          </a:prstGeom>
          <a:noFill/>
        </p:spPr>
        <p:txBody>
          <a:bodyPr wrap="square" lIns="91440" tIns="45720" rIns="91440" bIns="45720">
            <a:spAutoFit/>
          </a:bodyPr>
          <a:lstStyle/>
          <a:p>
            <a:r>
              <a:rPr lang="en-US" sz="1300" b="1">
                <a:solidFill>
                  <a:schemeClr val="bg1"/>
                </a:solidFill>
                <a:effectLst/>
                <a:latin typeface="Roboto" pitchFamily="2" charset="0"/>
                <a:ea typeface="Roboto" pitchFamily="2" charset="0"/>
              </a:rPr>
              <a:t>03</a:t>
            </a:r>
            <a:endParaRPr lang="en-US" sz="1300" b="1" cap="none" spc="0">
              <a:ln w="0"/>
              <a:solidFill>
                <a:schemeClr val="bg1"/>
              </a:solidFill>
              <a:effectLst/>
              <a:latin typeface="Roboto" pitchFamily="2" charset="0"/>
              <a:ea typeface="Roboto" pitchFamily="2" charset="0"/>
            </a:endParaRPr>
          </a:p>
        </p:txBody>
      </p:sp>
      <p:pic>
        <p:nvPicPr>
          <p:cNvPr id="3" name="Picture 2" descr="A blue squares with arrows&#10;&#10;AI-generated content may be incorrect.">
            <a:extLst>
              <a:ext uri="{FF2B5EF4-FFF2-40B4-BE49-F238E27FC236}">
                <a16:creationId xmlns:a16="http://schemas.microsoft.com/office/drawing/2014/main" id="{4CA97C0B-B02D-53B6-0C88-62556B9916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0504" y="2099321"/>
            <a:ext cx="3710936" cy="3268406"/>
          </a:xfrm>
          <a:prstGeom prst="rect">
            <a:avLst/>
          </a:prstGeom>
        </p:spPr>
      </p:pic>
      <p:pic>
        <p:nvPicPr>
          <p:cNvPr id="8" name="Picture 7" descr="A blue person icon on a black background&#10;&#10;AI-generated content may be incorrect.">
            <a:extLst>
              <a:ext uri="{FF2B5EF4-FFF2-40B4-BE49-F238E27FC236}">
                <a16:creationId xmlns:a16="http://schemas.microsoft.com/office/drawing/2014/main" id="{F6F43717-4DDD-8FEC-41A6-F9BB5A61B5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5547" y="2892812"/>
            <a:ext cx="1053493" cy="247341"/>
          </a:xfrm>
          <a:prstGeom prst="rect">
            <a:avLst/>
          </a:prstGeom>
        </p:spPr>
      </p:pic>
      <p:pic>
        <p:nvPicPr>
          <p:cNvPr id="9" name="Picture 8" descr="A blue person icon on a black background&#10;&#10;AI-generated content may be incorrect.">
            <a:extLst>
              <a:ext uri="{FF2B5EF4-FFF2-40B4-BE49-F238E27FC236}">
                <a16:creationId xmlns:a16="http://schemas.microsoft.com/office/drawing/2014/main" id="{9C13C7C2-454D-857A-3969-CBA228AD45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2904" y="2892812"/>
            <a:ext cx="1053493" cy="247341"/>
          </a:xfrm>
          <a:prstGeom prst="rect">
            <a:avLst/>
          </a:prstGeom>
        </p:spPr>
      </p:pic>
      <p:pic>
        <p:nvPicPr>
          <p:cNvPr id="11" name="Picture 10" descr="A blue person icon on a black background&#10;&#10;AI-generated content may be incorrect.">
            <a:extLst>
              <a:ext uri="{FF2B5EF4-FFF2-40B4-BE49-F238E27FC236}">
                <a16:creationId xmlns:a16="http://schemas.microsoft.com/office/drawing/2014/main" id="{4D80FE0F-6A80-1C99-27E5-7D3CA77337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2904" y="4821317"/>
            <a:ext cx="1053493" cy="247341"/>
          </a:xfrm>
          <a:prstGeom prst="rect">
            <a:avLst/>
          </a:prstGeom>
        </p:spPr>
      </p:pic>
      <p:pic>
        <p:nvPicPr>
          <p:cNvPr id="13" name="Picture 12" descr="A blue person icon on a black background&#10;&#10;AI-generated content may be incorrect.">
            <a:extLst>
              <a:ext uri="{FF2B5EF4-FFF2-40B4-BE49-F238E27FC236}">
                <a16:creationId xmlns:a16="http://schemas.microsoft.com/office/drawing/2014/main" id="{E55F3AD7-4C69-2085-D3A1-5B3C4D4A00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5547" y="4821317"/>
            <a:ext cx="1053493" cy="247341"/>
          </a:xfrm>
          <a:prstGeom prst="rect">
            <a:avLst/>
          </a:prstGeom>
        </p:spPr>
      </p:pic>
      <p:sp>
        <p:nvSpPr>
          <p:cNvPr id="16" name="Rectangle 15">
            <a:extLst>
              <a:ext uri="{FF2B5EF4-FFF2-40B4-BE49-F238E27FC236}">
                <a16:creationId xmlns:a16="http://schemas.microsoft.com/office/drawing/2014/main" id="{FBEA2EB2-A25E-0747-A0B5-AC620625274E}"/>
              </a:ext>
            </a:extLst>
          </p:cNvPr>
          <p:cNvSpPr/>
          <p:nvPr/>
        </p:nvSpPr>
        <p:spPr>
          <a:xfrm>
            <a:off x="881379" y="6088102"/>
            <a:ext cx="7007870" cy="369332"/>
          </a:xfrm>
          <a:prstGeom prst="rect">
            <a:avLst/>
          </a:prstGeom>
          <a:noFill/>
        </p:spPr>
        <p:txBody>
          <a:bodyPr wrap="square" lIns="91440" tIns="45720" rIns="91440" bIns="45720">
            <a:spAutoFit/>
          </a:bodyPr>
          <a:lstStyle/>
          <a:p>
            <a:r>
              <a:rPr lang="en-US" i="1">
                <a:solidFill>
                  <a:srgbClr val="0751DF"/>
                </a:solidFill>
                <a:effectLst/>
                <a:latin typeface="Roboto" pitchFamily="2" charset="0"/>
                <a:ea typeface="Roboto" pitchFamily="2" charset="0"/>
              </a:rPr>
              <a:t>What tasks in your revenue cycle could benefit from automation? </a:t>
            </a:r>
            <a:endParaRPr lang="en-US" i="1" cap="none" spc="0">
              <a:ln w="0"/>
              <a:solidFill>
                <a:srgbClr val="0751DF"/>
              </a:solidFill>
              <a:effectLst/>
              <a:latin typeface="Roboto" pitchFamily="2" charset="0"/>
              <a:ea typeface="Roboto" pitchFamily="2" charset="0"/>
            </a:endParaRPr>
          </a:p>
        </p:txBody>
      </p:sp>
      <p:sp>
        <p:nvSpPr>
          <p:cNvPr id="18" name="Rectangle 17">
            <a:extLst>
              <a:ext uri="{FF2B5EF4-FFF2-40B4-BE49-F238E27FC236}">
                <a16:creationId xmlns:a16="http://schemas.microsoft.com/office/drawing/2014/main" id="{26E43B2D-2075-0984-2724-C17A4DDEEA32}"/>
              </a:ext>
            </a:extLst>
          </p:cNvPr>
          <p:cNvSpPr/>
          <p:nvPr/>
        </p:nvSpPr>
        <p:spPr>
          <a:xfrm>
            <a:off x="7889248" y="2308036"/>
            <a:ext cx="2641694" cy="584775"/>
          </a:xfrm>
          <a:prstGeom prst="rect">
            <a:avLst/>
          </a:prstGeom>
          <a:noFill/>
        </p:spPr>
        <p:txBody>
          <a:bodyPr wrap="square" lIns="91440" tIns="45720" rIns="91440" bIns="45720">
            <a:spAutoFit/>
          </a:bodyPr>
          <a:lstStyle/>
          <a:p>
            <a:r>
              <a:rPr lang="es-CO" sz="1600" err="1">
                <a:solidFill>
                  <a:srgbClr val="595959"/>
                </a:solidFill>
                <a:latin typeface="Roboto" pitchFamily="2" charset="0"/>
                <a:ea typeface="Roboto" pitchFamily="2" charset="0"/>
              </a:rPr>
              <a:t>Posting</a:t>
            </a:r>
            <a:r>
              <a:rPr lang="es-CO" sz="1600">
                <a:solidFill>
                  <a:srgbClr val="595959"/>
                </a:solidFill>
                <a:latin typeface="Roboto" pitchFamily="2" charset="0"/>
                <a:ea typeface="Roboto" pitchFamily="2" charset="0"/>
              </a:rPr>
              <a:t> &amp; </a:t>
            </a:r>
            <a:r>
              <a:rPr lang="es-CO" sz="1600" err="1">
                <a:solidFill>
                  <a:srgbClr val="595959"/>
                </a:solidFill>
                <a:latin typeface="Roboto" pitchFamily="2" charset="0"/>
                <a:ea typeface="Roboto" pitchFamily="2" charset="0"/>
              </a:rPr>
              <a:t>Adjustment</a:t>
            </a:r>
            <a:r>
              <a:rPr lang="es-CO" sz="1600">
                <a:solidFill>
                  <a:srgbClr val="595959"/>
                </a:solidFill>
                <a:latin typeface="Roboto" pitchFamily="2" charset="0"/>
                <a:ea typeface="Roboto" pitchFamily="2" charset="0"/>
              </a:rPr>
              <a:t> </a:t>
            </a:r>
            <a:r>
              <a:rPr lang="es-CO" sz="1600" err="1">
                <a:solidFill>
                  <a:srgbClr val="595959"/>
                </a:solidFill>
                <a:latin typeface="Roboto" pitchFamily="2" charset="0"/>
                <a:ea typeface="Roboto" pitchFamily="2" charset="0"/>
              </a:rPr>
              <a:t>Decisioning</a:t>
            </a:r>
            <a:endParaRPr lang="en-US" sz="1600" cap="none" spc="0">
              <a:ln w="0"/>
              <a:solidFill>
                <a:srgbClr val="595959"/>
              </a:solidFill>
              <a:effectLst/>
              <a:latin typeface="Roboto" pitchFamily="2" charset="0"/>
              <a:ea typeface="Roboto" pitchFamily="2" charset="0"/>
            </a:endParaRPr>
          </a:p>
        </p:txBody>
      </p:sp>
      <p:sp>
        <p:nvSpPr>
          <p:cNvPr id="20" name="Rectangle 19">
            <a:extLst>
              <a:ext uri="{FF2B5EF4-FFF2-40B4-BE49-F238E27FC236}">
                <a16:creationId xmlns:a16="http://schemas.microsoft.com/office/drawing/2014/main" id="{7D09CF57-3BF2-C2C6-88F0-693BB2DA64F1}"/>
              </a:ext>
            </a:extLst>
          </p:cNvPr>
          <p:cNvSpPr/>
          <p:nvPr/>
        </p:nvSpPr>
        <p:spPr>
          <a:xfrm>
            <a:off x="7889248" y="4191495"/>
            <a:ext cx="2005199" cy="584775"/>
          </a:xfrm>
          <a:prstGeom prst="rect">
            <a:avLst/>
          </a:prstGeom>
          <a:noFill/>
        </p:spPr>
        <p:txBody>
          <a:bodyPr wrap="square" lIns="91440" tIns="45720" rIns="91440" bIns="45720">
            <a:spAutoFit/>
          </a:bodyPr>
          <a:lstStyle/>
          <a:p>
            <a:r>
              <a:rPr lang="es-CO" sz="1600" err="1">
                <a:solidFill>
                  <a:srgbClr val="595959"/>
                </a:solidFill>
                <a:latin typeface="Roboto" pitchFamily="2" charset="0"/>
                <a:ea typeface="Roboto" pitchFamily="2" charset="0"/>
              </a:rPr>
              <a:t>Contract</a:t>
            </a:r>
            <a:r>
              <a:rPr lang="es-CO" sz="1600">
                <a:solidFill>
                  <a:srgbClr val="595959"/>
                </a:solidFill>
                <a:latin typeface="Roboto" pitchFamily="2" charset="0"/>
                <a:ea typeface="Roboto" pitchFamily="2" charset="0"/>
              </a:rPr>
              <a:t> &amp; </a:t>
            </a:r>
            <a:r>
              <a:rPr lang="es-CO" sz="1600" err="1">
                <a:solidFill>
                  <a:srgbClr val="595959"/>
                </a:solidFill>
                <a:latin typeface="Roboto" pitchFamily="2" charset="0"/>
                <a:ea typeface="Roboto" pitchFamily="2" charset="0"/>
              </a:rPr>
              <a:t>Denial</a:t>
            </a:r>
            <a:r>
              <a:rPr lang="es-CO" sz="1600">
                <a:solidFill>
                  <a:srgbClr val="595959"/>
                </a:solidFill>
                <a:latin typeface="Roboto" pitchFamily="2" charset="0"/>
                <a:ea typeface="Roboto" pitchFamily="2" charset="0"/>
              </a:rPr>
              <a:t> </a:t>
            </a:r>
            <a:r>
              <a:rPr lang="es-CO" sz="1600" err="1">
                <a:solidFill>
                  <a:srgbClr val="595959"/>
                </a:solidFill>
                <a:latin typeface="Roboto" pitchFamily="2" charset="0"/>
                <a:ea typeface="Roboto" pitchFamily="2" charset="0"/>
              </a:rPr>
              <a:t>Analysis</a:t>
            </a:r>
            <a:endParaRPr lang="en-US" sz="1600">
              <a:solidFill>
                <a:srgbClr val="595959"/>
              </a:solidFill>
              <a:latin typeface="Roboto" pitchFamily="2" charset="0"/>
              <a:ea typeface="Roboto" pitchFamily="2" charset="0"/>
            </a:endParaRPr>
          </a:p>
        </p:txBody>
      </p:sp>
      <p:pic>
        <p:nvPicPr>
          <p:cNvPr id="23" name="Picture 22" descr="A blue text on a black background&#10;&#10;AI-generated content may be incorrect.">
            <a:extLst>
              <a:ext uri="{FF2B5EF4-FFF2-40B4-BE49-F238E27FC236}">
                <a16:creationId xmlns:a16="http://schemas.microsoft.com/office/drawing/2014/main" id="{D23F7CAF-E7F5-27D2-8617-B3DEA37160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5105" y="3488472"/>
            <a:ext cx="844707" cy="412968"/>
          </a:xfrm>
          <a:prstGeom prst="rect">
            <a:avLst/>
          </a:prstGeom>
        </p:spPr>
      </p:pic>
      <p:cxnSp>
        <p:nvCxnSpPr>
          <p:cNvPr id="52" name="Straight Connector 51">
            <a:extLst>
              <a:ext uri="{FF2B5EF4-FFF2-40B4-BE49-F238E27FC236}">
                <a16:creationId xmlns:a16="http://schemas.microsoft.com/office/drawing/2014/main" id="{14DCC796-0514-439C-3CB6-A8E81A0F3328}"/>
              </a:ext>
            </a:extLst>
          </p:cNvPr>
          <p:cNvCxnSpPr/>
          <p:nvPr/>
        </p:nvCxnSpPr>
        <p:spPr>
          <a:xfrm>
            <a:off x="7962904" y="6294803"/>
            <a:ext cx="1343656" cy="0"/>
          </a:xfrm>
          <a:prstGeom prst="line">
            <a:avLst/>
          </a:prstGeom>
          <a:ln>
            <a:solidFill>
              <a:schemeClr val="bg1">
                <a:lumMod val="75000"/>
              </a:schemeClr>
            </a:solidFill>
            <a:prstDash val="sysDash"/>
          </a:ln>
        </p:spPr>
        <p:style>
          <a:lnRef idx="2">
            <a:schemeClr val="accent1"/>
          </a:lnRef>
          <a:fillRef idx="0">
            <a:schemeClr val="accent1"/>
          </a:fillRef>
          <a:effectRef idx="1">
            <a:schemeClr val="accent1"/>
          </a:effectRef>
          <a:fontRef idx="minor">
            <a:schemeClr val="tx1"/>
          </a:fontRef>
        </p:style>
      </p:cxnSp>
      <p:pic>
        <p:nvPicPr>
          <p:cNvPr id="56" name="Picture 55" descr="A red square with white dots&#10;&#10;AI-generated content may be incorrect.">
            <a:extLst>
              <a:ext uri="{FF2B5EF4-FFF2-40B4-BE49-F238E27FC236}">
                <a16:creationId xmlns:a16="http://schemas.microsoft.com/office/drawing/2014/main" id="{7E0A13C3-4640-50AF-DB00-905DFACD03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98953" y="6071362"/>
            <a:ext cx="1384526" cy="386070"/>
          </a:xfrm>
          <a:prstGeom prst="rect">
            <a:avLst/>
          </a:prstGeom>
        </p:spPr>
      </p:pic>
      <p:sp>
        <p:nvSpPr>
          <p:cNvPr id="57" name="Rectangle 56">
            <a:extLst>
              <a:ext uri="{FF2B5EF4-FFF2-40B4-BE49-F238E27FC236}">
                <a16:creationId xmlns:a16="http://schemas.microsoft.com/office/drawing/2014/main" id="{DE3EF6B3-E8F8-5395-C204-27F626B4483A}"/>
              </a:ext>
            </a:extLst>
          </p:cNvPr>
          <p:cNvSpPr/>
          <p:nvPr/>
        </p:nvSpPr>
        <p:spPr>
          <a:xfrm>
            <a:off x="9738462" y="6097522"/>
            <a:ext cx="2005199" cy="307777"/>
          </a:xfrm>
          <a:prstGeom prst="rect">
            <a:avLst/>
          </a:prstGeom>
          <a:noFill/>
        </p:spPr>
        <p:txBody>
          <a:bodyPr wrap="square" lIns="91440" tIns="45720" rIns="91440" bIns="45720">
            <a:spAutoFit/>
          </a:bodyPr>
          <a:lstStyle/>
          <a:p>
            <a:r>
              <a:rPr lang="en-US" sz="1400">
                <a:solidFill>
                  <a:schemeClr val="bg1"/>
                </a:solidFill>
                <a:effectLst/>
                <a:latin typeface="Roboto" pitchFamily="2" charset="0"/>
                <a:ea typeface="Roboto" pitchFamily="2" charset="0"/>
              </a:rPr>
              <a:t>Let's discuss!</a:t>
            </a:r>
            <a:endParaRPr lang="en-US" sz="1400" cap="none" spc="0">
              <a:ln w="0"/>
              <a:solidFill>
                <a:schemeClr val="bg1"/>
              </a:solidFill>
              <a:effectLst/>
              <a:latin typeface="Roboto" pitchFamily="2" charset="0"/>
              <a:ea typeface="Roboto" pitchFamily="2" charset="0"/>
            </a:endParaRPr>
          </a:p>
        </p:txBody>
      </p:sp>
      <p:sp>
        <p:nvSpPr>
          <p:cNvPr id="61" name="Freeform: Shape 60">
            <a:extLst>
              <a:ext uri="{FF2B5EF4-FFF2-40B4-BE49-F238E27FC236}">
                <a16:creationId xmlns:a16="http://schemas.microsoft.com/office/drawing/2014/main" id="{7D49540A-ED20-D9D7-212E-A70F397B7D67}"/>
              </a:ext>
            </a:extLst>
          </p:cNvPr>
          <p:cNvSpPr/>
          <p:nvPr/>
        </p:nvSpPr>
        <p:spPr>
          <a:xfrm>
            <a:off x="4419771" y="2431652"/>
            <a:ext cx="554049" cy="660836"/>
          </a:xfrm>
          <a:custGeom>
            <a:avLst/>
            <a:gdLst>
              <a:gd name="connsiteX0" fmla="*/ 597477 w 737597"/>
              <a:gd name="connsiteY0" fmla="*/ 719473 h 879761"/>
              <a:gd name="connsiteX1" fmla="*/ 641976 w 737597"/>
              <a:gd name="connsiteY1" fmla="*/ 719473 h 879761"/>
              <a:gd name="connsiteX2" fmla="*/ 692727 w 737597"/>
              <a:gd name="connsiteY2" fmla="*/ 698377 h 879761"/>
              <a:gd name="connsiteX3" fmla="*/ 713823 w 737597"/>
              <a:gd name="connsiteY3" fmla="*/ 647664 h 879761"/>
              <a:gd name="connsiteX4" fmla="*/ 713823 w 737597"/>
              <a:gd name="connsiteY4" fmla="*/ 145334 h 879761"/>
              <a:gd name="connsiteX5" fmla="*/ 604209 w 737597"/>
              <a:gd name="connsiteY5" fmla="*/ 145334 h 879761"/>
              <a:gd name="connsiteX6" fmla="*/ 592303 w 737597"/>
              <a:gd name="connsiteY6" fmla="*/ 133428 h 879761"/>
              <a:gd name="connsiteX7" fmla="*/ 592303 w 737597"/>
              <a:gd name="connsiteY7" fmla="*/ 23814 h 879761"/>
              <a:gd name="connsiteX8" fmla="*/ 235782 w 737597"/>
              <a:gd name="connsiteY8" fmla="*/ 23814 h 879761"/>
              <a:gd name="connsiteX9" fmla="*/ 185032 w 737597"/>
              <a:gd name="connsiteY9" fmla="*/ 44910 h 879761"/>
              <a:gd name="connsiteX10" fmla="*/ 163936 w 737597"/>
              <a:gd name="connsiteY10" fmla="*/ 95623 h 879761"/>
              <a:gd name="connsiteX11" fmla="*/ 163936 w 737597"/>
              <a:gd name="connsiteY11" fmla="*/ 136477 h 879761"/>
              <a:gd name="connsiteX12" fmla="*/ 464049 w 737597"/>
              <a:gd name="connsiteY12" fmla="*/ 136477 h 879761"/>
              <a:gd name="connsiteX13" fmla="*/ 472458 w 737597"/>
              <a:gd name="connsiteY13" fmla="*/ 139975 h 879761"/>
              <a:gd name="connsiteX14" fmla="*/ 593978 w 737597"/>
              <a:gd name="connsiteY14" fmla="*/ 261495 h 879761"/>
              <a:gd name="connsiteX15" fmla="*/ 597476 w 737597"/>
              <a:gd name="connsiteY15" fmla="*/ 269903 h 879761"/>
              <a:gd name="connsiteX16" fmla="*/ 641976 w 737597"/>
              <a:gd name="connsiteY16" fmla="*/ 743285 h 879761"/>
              <a:gd name="connsiteX17" fmla="*/ 597477 w 737597"/>
              <a:gd name="connsiteY17" fmla="*/ 743285 h 879761"/>
              <a:gd name="connsiteX18" fmla="*/ 597477 w 737597"/>
              <a:gd name="connsiteY18" fmla="*/ 784139 h 879761"/>
              <a:gd name="connsiteX19" fmla="*/ 569423 w 737597"/>
              <a:gd name="connsiteY19" fmla="*/ 851707 h 879761"/>
              <a:gd name="connsiteX20" fmla="*/ 501854 w 737597"/>
              <a:gd name="connsiteY20" fmla="*/ 879761 h 879761"/>
              <a:gd name="connsiteX21" fmla="*/ 95632 w 737597"/>
              <a:gd name="connsiteY21" fmla="*/ 879761 h 879761"/>
              <a:gd name="connsiteX22" fmla="*/ 28064 w 737597"/>
              <a:gd name="connsiteY22" fmla="*/ 851707 h 879761"/>
              <a:gd name="connsiteX23" fmla="*/ 10 w 737597"/>
              <a:gd name="connsiteY23" fmla="*/ 784139 h 879761"/>
              <a:gd name="connsiteX24" fmla="*/ 10 w 737597"/>
              <a:gd name="connsiteY24" fmla="*/ 371659 h 879761"/>
              <a:gd name="connsiteX25" fmla="*/ 11916 w 737597"/>
              <a:gd name="connsiteY25" fmla="*/ 359753 h 879761"/>
              <a:gd name="connsiteX26" fmla="*/ 23822 w 737597"/>
              <a:gd name="connsiteY26" fmla="*/ 371659 h 879761"/>
              <a:gd name="connsiteX27" fmla="*/ 23822 w 737597"/>
              <a:gd name="connsiteY27" fmla="*/ 784139 h 879761"/>
              <a:gd name="connsiteX28" fmla="*/ 44918 w 737597"/>
              <a:gd name="connsiteY28" fmla="*/ 834852 h 879761"/>
              <a:gd name="connsiteX29" fmla="*/ 95631 w 737597"/>
              <a:gd name="connsiteY29" fmla="*/ 855948 h 879761"/>
              <a:gd name="connsiteX30" fmla="*/ 501853 w 737597"/>
              <a:gd name="connsiteY30" fmla="*/ 855948 h 879761"/>
              <a:gd name="connsiteX31" fmla="*/ 552566 w 737597"/>
              <a:gd name="connsiteY31" fmla="*/ 834852 h 879761"/>
              <a:gd name="connsiteX32" fmla="*/ 573662 w 737597"/>
              <a:gd name="connsiteY32" fmla="*/ 784139 h 879761"/>
              <a:gd name="connsiteX33" fmla="*/ 573662 w 737597"/>
              <a:gd name="connsiteY33" fmla="*/ 281810 h 879761"/>
              <a:gd name="connsiteX34" fmla="*/ 464049 w 737597"/>
              <a:gd name="connsiteY34" fmla="*/ 281810 h 879761"/>
              <a:gd name="connsiteX35" fmla="*/ 452142 w 737597"/>
              <a:gd name="connsiteY35" fmla="*/ 269903 h 879761"/>
              <a:gd name="connsiteX36" fmla="*/ 452142 w 737597"/>
              <a:gd name="connsiteY36" fmla="*/ 160290 h 879761"/>
              <a:gd name="connsiteX37" fmla="*/ 95621 w 737597"/>
              <a:gd name="connsiteY37" fmla="*/ 160290 h 879761"/>
              <a:gd name="connsiteX38" fmla="*/ 44908 w 737597"/>
              <a:gd name="connsiteY38" fmla="*/ 181386 h 879761"/>
              <a:gd name="connsiteX39" fmla="*/ 23813 w 737597"/>
              <a:gd name="connsiteY39" fmla="*/ 232099 h 879761"/>
              <a:gd name="connsiteX40" fmla="*/ 23813 w 737597"/>
              <a:gd name="connsiteY40" fmla="*/ 268487 h 879761"/>
              <a:gd name="connsiteX41" fmla="*/ 11906 w 737597"/>
              <a:gd name="connsiteY41" fmla="*/ 280393 h 879761"/>
              <a:gd name="connsiteX42" fmla="*/ 0 w 737597"/>
              <a:gd name="connsiteY42" fmla="*/ 268487 h 879761"/>
              <a:gd name="connsiteX43" fmla="*/ 0 w 737597"/>
              <a:gd name="connsiteY43" fmla="*/ 232099 h 879761"/>
              <a:gd name="connsiteX44" fmla="*/ 28054 w 737597"/>
              <a:gd name="connsiteY44" fmla="*/ 164530 h 879761"/>
              <a:gd name="connsiteX45" fmla="*/ 95622 w 737597"/>
              <a:gd name="connsiteY45" fmla="*/ 136476 h 879761"/>
              <a:gd name="connsiteX46" fmla="*/ 140122 w 737597"/>
              <a:gd name="connsiteY46" fmla="*/ 136476 h 879761"/>
              <a:gd name="connsiteX47" fmla="*/ 140122 w 737597"/>
              <a:gd name="connsiteY47" fmla="*/ 95622 h 879761"/>
              <a:gd name="connsiteX48" fmla="*/ 168176 w 737597"/>
              <a:gd name="connsiteY48" fmla="*/ 28054 h 879761"/>
              <a:gd name="connsiteX49" fmla="*/ 235745 w 737597"/>
              <a:gd name="connsiteY49" fmla="*/ 0 h 879761"/>
              <a:gd name="connsiteX50" fmla="*/ 604172 w 737597"/>
              <a:gd name="connsiteY50" fmla="*/ 0 h 879761"/>
              <a:gd name="connsiteX51" fmla="*/ 612581 w 737597"/>
              <a:gd name="connsiteY51" fmla="*/ 3497 h 879761"/>
              <a:gd name="connsiteX52" fmla="*/ 734100 w 737597"/>
              <a:gd name="connsiteY52" fmla="*/ 125017 h 879761"/>
              <a:gd name="connsiteX53" fmla="*/ 737598 w 737597"/>
              <a:gd name="connsiteY53" fmla="*/ 133426 h 879761"/>
              <a:gd name="connsiteX54" fmla="*/ 737598 w 737597"/>
              <a:gd name="connsiteY54" fmla="*/ 647624 h 879761"/>
              <a:gd name="connsiteX55" fmla="*/ 709544 w 737597"/>
              <a:gd name="connsiteY55" fmla="*/ 715192 h 879761"/>
              <a:gd name="connsiteX56" fmla="*/ 641976 w 737597"/>
              <a:gd name="connsiteY56" fmla="*/ 743246 h 879761"/>
              <a:gd name="connsiteX57" fmla="*/ 696968 w 737597"/>
              <a:gd name="connsiteY57" fmla="*/ 121560 h 879761"/>
              <a:gd name="connsiteX58" fmla="*/ 616080 w 737597"/>
              <a:gd name="connsiteY58" fmla="*/ 40672 h 879761"/>
              <a:gd name="connsiteX59" fmla="*/ 616080 w 737597"/>
              <a:gd name="connsiteY59" fmla="*/ 121560 h 879761"/>
              <a:gd name="connsiteX60" fmla="*/ 556846 w 737597"/>
              <a:gd name="connsiteY60" fmla="*/ 258034 h 879761"/>
              <a:gd name="connsiteX61" fmla="*/ 475995 w 737597"/>
              <a:gd name="connsiteY61" fmla="*/ 177146 h 879761"/>
              <a:gd name="connsiteX62" fmla="*/ 475995 w 737597"/>
              <a:gd name="connsiteY62" fmla="*/ 258034 h 879761"/>
              <a:gd name="connsiteX63" fmla="*/ 43 w 737597"/>
              <a:gd name="connsiteY63" fmla="*/ 317528 h 879761"/>
              <a:gd name="connsiteX64" fmla="*/ 11949 w 737597"/>
              <a:gd name="connsiteY64" fmla="*/ 305622 h 879761"/>
              <a:gd name="connsiteX65" fmla="*/ 23855 w 737597"/>
              <a:gd name="connsiteY65" fmla="*/ 317528 h 879761"/>
              <a:gd name="connsiteX66" fmla="*/ 23855 w 737597"/>
              <a:gd name="connsiteY66" fmla="*/ 322626 h 879761"/>
              <a:gd name="connsiteX67" fmla="*/ 11949 w 737597"/>
              <a:gd name="connsiteY67" fmla="*/ 334532 h 879761"/>
              <a:gd name="connsiteX68" fmla="*/ 43 w 737597"/>
              <a:gd name="connsiteY68" fmla="*/ 322626 h 879761"/>
              <a:gd name="connsiteX69" fmla="*/ 298775 w 737597"/>
              <a:gd name="connsiteY69" fmla="*/ 407383 h 879761"/>
              <a:gd name="connsiteX70" fmla="*/ 227524 w 737597"/>
              <a:gd name="connsiteY70" fmla="*/ 436852 h 879761"/>
              <a:gd name="connsiteX71" fmla="*/ 198055 w 737597"/>
              <a:gd name="connsiteY71" fmla="*/ 508104 h 879761"/>
              <a:gd name="connsiteX72" fmla="*/ 226816 w 737597"/>
              <a:gd name="connsiteY72" fmla="*/ 578648 h 879761"/>
              <a:gd name="connsiteX73" fmla="*/ 228230 w 737597"/>
              <a:gd name="connsiteY73" fmla="*/ 580062 h 879761"/>
              <a:gd name="connsiteX74" fmla="*/ 298774 w 737597"/>
              <a:gd name="connsiteY74" fmla="*/ 608822 h 879761"/>
              <a:gd name="connsiteX75" fmla="*/ 370026 w 737597"/>
              <a:gd name="connsiteY75" fmla="*/ 579354 h 879761"/>
              <a:gd name="connsiteX76" fmla="*/ 399494 w 737597"/>
              <a:gd name="connsiteY76" fmla="*/ 508102 h 879761"/>
              <a:gd name="connsiteX77" fmla="*/ 369989 w 737597"/>
              <a:gd name="connsiteY77" fmla="*/ 436850 h 879761"/>
              <a:gd name="connsiteX78" fmla="*/ 369430 w 737597"/>
              <a:gd name="connsiteY78" fmla="*/ 436292 h 879761"/>
              <a:gd name="connsiteX79" fmla="*/ 298737 w 737597"/>
              <a:gd name="connsiteY79" fmla="*/ 407382 h 879761"/>
              <a:gd name="connsiteX80" fmla="*/ 210744 w 737597"/>
              <a:gd name="connsiteY80" fmla="*/ 420071 h 879761"/>
              <a:gd name="connsiteX81" fmla="*/ 298775 w 737597"/>
              <a:gd name="connsiteY81" fmla="*/ 383571 h 879761"/>
              <a:gd name="connsiteX82" fmla="*/ 386138 w 737597"/>
              <a:gd name="connsiteY82" fmla="*/ 419401 h 879761"/>
              <a:gd name="connsiteX83" fmla="*/ 386808 w 737597"/>
              <a:gd name="connsiteY83" fmla="*/ 420034 h 879761"/>
              <a:gd name="connsiteX84" fmla="*/ 423270 w 737597"/>
              <a:gd name="connsiteY84" fmla="*/ 508103 h 879761"/>
              <a:gd name="connsiteX85" fmla="*/ 386808 w 737597"/>
              <a:gd name="connsiteY85" fmla="*/ 596097 h 879761"/>
              <a:gd name="connsiteX86" fmla="*/ 298738 w 737597"/>
              <a:gd name="connsiteY86" fmla="*/ 632634 h 879761"/>
              <a:gd name="connsiteX87" fmla="*/ 219525 w 737597"/>
              <a:gd name="connsiteY87" fmla="*/ 604134 h 879761"/>
              <a:gd name="connsiteX88" fmla="*/ 150580 w 737597"/>
              <a:gd name="connsiteY88" fmla="*/ 673041 h 879761"/>
              <a:gd name="connsiteX89" fmla="*/ 133763 w 737597"/>
              <a:gd name="connsiteY89" fmla="*/ 673041 h 879761"/>
              <a:gd name="connsiteX90" fmla="*/ 133763 w 737597"/>
              <a:gd name="connsiteY90" fmla="*/ 656224 h 879761"/>
              <a:gd name="connsiteX91" fmla="*/ 202707 w 737597"/>
              <a:gd name="connsiteY91" fmla="*/ 587316 h 879761"/>
              <a:gd name="connsiteX92" fmla="*/ 174207 w 737597"/>
              <a:gd name="connsiteY92" fmla="*/ 508103 h 879761"/>
              <a:gd name="connsiteX93" fmla="*/ 210706 w 737597"/>
              <a:gd name="connsiteY93" fmla="*/ 420071 h 87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737597" h="879761">
                <a:moveTo>
                  <a:pt x="597477" y="719473"/>
                </a:moveTo>
                <a:lnTo>
                  <a:pt x="641976" y="719473"/>
                </a:lnTo>
                <a:cubicBezTo>
                  <a:pt x="661733" y="719473"/>
                  <a:pt x="679704" y="711399"/>
                  <a:pt x="692727" y="698377"/>
                </a:cubicBezTo>
                <a:cubicBezTo>
                  <a:pt x="705712" y="685391"/>
                  <a:pt x="713823" y="667383"/>
                  <a:pt x="713823" y="647664"/>
                </a:cubicBezTo>
                <a:lnTo>
                  <a:pt x="713823" y="145334"/>
                </a:lnTo>
                <a:lnTo>
                  <a:pt x="604209" y="145334"/>
                </a:lnTo>
                <a:cubicBezTo>
                  <a:pt x="597623" y="145334"/>
                  <a:pt x="592303" y="139977"/>
                  <a:pt x="592303" y="133428"/>
                </a:cubicBezTo>
                <a:lnTo>
                  <a:pt x="592303" y="23814"/>
                </a:lnTo>
                <a:lnTo>
                  <a:pt x="235782" y="23814"/>
                </a:lnTo>
                <a:cubicBezTo>
                  <a:pt x="216025" y="23814"/>
                  <a:pt x="198054" y="31888"/>
                  <a:pt x="185032" y="44910"/>
                </a:cubicBezTo>
                <a:cubicBezTo>
                  <a:pt x="172046" y="57896"/>
                  <a:pt x="163936" y="75904"/>
                  <a:pt x="163936" y="95623"/>
                </a:cubicBezTo>
                <a:lnTo>
                  <a:pt x="163936" y="136477"/>
                </a:lnTo>
                <a:lnTo>
                  <a:pt x="464049" y="136477"/>
                </a:lnTo>
                <a:cubicBezTo>
                  <a:pt x="467100" y="136477"/>
                  <a:pt x="470151" y="137630"/>
                  <a:pt x="472458" y="139975"/>
                </a:cubicBezTo>
                <a:lnTo>
                  <a:pt x="593978" y="261495"/>
                </a:lnTo>
                <a:cubicBezTo>
                  <a:pt x="596136" y="263652"/>
                  <a:pt x="597476" y="266629"/>
                  <a:pt x="597476" y="269903"/>
                </a:cubicBezTo>
                <a:close/>
                <a:moveTo>
                  <a:pt x="641976" y="743285"/>
                </a:moveTo>
                <a:lnTo>
                  <a:pt x="597477" y="743285"/>
                </a:lnTo>
                <a:lnTo>
                  <a:pt x="597477" y="784139"/>
                </a:lnTo>
                <a:cubicBezTo>
                  <a:pt x="597477" y="810481"/>
                  <a:pt x="586724" y="834405"/>
                  <a:pt x="569423" y="851707"/>
                </a:cubicBezTo>
                <a:cubicBezTo>
                  <a:pt x="552121" y="869009"/>
                  <a:pt x="528197" y="879761"/>
                  <a:pt x="501854" y="879761"/>
                </a:cubicBezTo>
                <a:lnTo>
                  <a:pt x="95632" y="879761"/>
                </a:lnTo>
                <a:cubicBezTo>
                  <a:pt x="69290" y="879761"/>
                  <a:pt x="45366" y="869009"/>
                  <a:pt x="28064" y="851707"/>
                </a:cubicBezTo>
                <a:cubicBezTo>
                  <a:pt x="10762" y="834406"/>
                  <a:pt x="10" y="810482"/>
                  <a:pt x="10" y="784139"/>
                </a:cubicBezTo>
                <a:lnTo>
                  <a:pt x="10" y="371659"/>
                </a:lnTo>
                <a:cubicBezTo>
                  <a:pt x="10" y="365073"/>
                  <a:pt x="5367" y="359753"/>
                  <a:pt x="11916" y="359753"/>
                </a:cubicBezTo>
                <a:cubicBezTo>
                  <a:pt x="18501" y="359753"/>
                  <a:pt x="23822" y="365110"/>
                  <a:pt x="23822" y="371659"/>
                </a:cubicBezTo>
                <a:lnTo>
                  <a:pt x="23822" y="784139"/>
                </a:lnTo>
                <a:cubicBezTo>
                  <a:pt x="23822" y="803896"/>
                  <a:pt x="31896" y="821867"/>
                  <a:pt x="44918" y="834852"/>
                </a:cubicBezTo>
                <a:cubicBezTo>
                  <a:pt x="57903" y="847837"/>
                  <a:pt x="75911" y="855948"/>
                  <a:pt x="95631" y="855948"/>
                </a:cubicBezTo>
                <a:lnTo>
                  <a:pt x="501853" y="855948"/>
                </a:lnTo>
                <a:cubicBezTo>
                  <a:pt x="521610" y="855948"/>
                  <a:pt x="539581" y="847874"/>
                  <a:pt x="552566" y="834852"/>
                </a:cubicBezTo>
                <a:cubicBezTo>
                  <a:pt x="565552" y="821867"/>
                  <a:pt x="573662" y="803859"/>
                  <a:pt x="573662" y="784139"/>
                </a:cubicBezTo>
                <a:lnTo>
                  <a:pt x="573662" y="281810"/>
                </a:lnTo>
                <a:lnTo>
                  <a:pt x="464049" y="281810"/>
                </a:lnTo>
                <a:cubicBezTo>
                  <a:pt x="457463" y="281810"/>
                  <a:pt x="452142" y="276452"/>
                  <a:pt x="452142" y="269903"/>
                </a:cubicBezTo>
                <a:lnTo>
                  <a:pt x="452142" y="160290"/>
                </a:lnTo>
                <a:lnTo>
                  <a:pt x="95621" y="160290"/>
                </a:lnTo>
                <a:cubicBezTo>
                  <a:pt x="75865" y="160290"/>
                  <a:pt x="57894" y="168364"/>
                  <a:pt x="44908" y="181386"/>
                </a:cubicBezTo>
                <a:cubicBezTo>
                  <a:pt x="31923" y="194371"/>
                  <a:pt x="23813" y="212379"/>
                  <a:pt x="23813" y="232099"/>
                </a:cubicBezTo>
                <a:lnTo>
                  <a:pt x="23813" y="268487"/>
                </a:lnTo>
                <a:cubicBezTo>
                  <a:pt x="23813" y="275073"/>
                  <a:pt x="18455" y="280393"/>
                  <a:pt x="11906" y="280393"/>
                </a:cubicBezTo>
                <a:cubicBezTo>
                  <a:pt x="5321" y="280393"/>
                  <a:pt x="0" y="275035"/>
                  <a:pt x="0" y="268487"/>
                </a:cubicBezTo>
                <a:lnTo>
                  <a:pt x="0" y="232099"/>
                </a:lnTo>
                <a:cubicBezTo>
                  <a:pt x="0" y="205756"/>
                  <a:pt x="10753" y="181832"/>
                  <a:pt x="28054" y="164530"/>
                </a:cubicBezTo>
                <a:cubicBezTo>
                  <a:pt x="45355" y="147229"/>
                  <a:pt x="69279" y="136476"/>
                  <a:pt x="95622" y="136476"/>
                </a:cubicBezTo>
                <a:lnTo>
                  <a:pt x="140122" y="136476"/>
                </a:lnTo>
                <a:lnTo>
                  <a:pt x="140122" y="95622"/>
                </a:lnTo>
                <a:cubicBezTo>
                  <a:pt x="140122" y="69280"/>
                  <a:pt x="150875" y="45356"/>
                  <a:pt x="168176" y="28054"/>
                </a:cubicBezTo>
                <a:cubicBezTo>
                  <a:pt x="185477" y="10752"/>
                  <a:pt x="209401" y="0"/>
                  <a:pt x="235745" y="0"/>
                </a:cubicBezTo>
                <a:lnTo>
                  <a:pt x="604172" y="0"/>
                </a:lnTo>
                <a:cubicBezTo>
                  <a:pt x="607223" y="0"/>
                  <a:pt x="610274" y="1153"/>
                  <a:pt x="612581" y="3497"/>
                </a:cubicBezTo>
                <a:lnTo>
                  <a:pt x="734100" y="125017"/>
                </a:lnTo>
                <a:cubicBezTo>
                  <a:pt x="736258" y="127175"/>
                  <a:pt x="737598" y="130152"/>
                  <a:pt x="737598" y="133426"/>
                </a:cubicBezTo>
                <a:lnTo>
                  <a:pt x="737598" y="647624"/>
                </a:lnTo>
                <a:cubicBezTo>
                  <a:pt x="737598" y="673966"/>
                  <a:pt x="726845" y="697890"/>
                  <a:pt x="709544" y="715192"/>
                </a:cubicBezTo>
                <a:cubicBezTo>
                  <a:pt x="692243" y="732493"/>
                  <a:pt x="668319" y="743246"/>
                  <a:pt x="641976" y="743246"/>
                </a:cubicBezTo>
                <a:close/>
                <a:moveTo>
                  <a:pt x="696968" y="121560"/>
                </a:moveTo>
                <a:lnTo>
                  <a:pt x="616080" y="40672"/>
                </a:lnTo>
                <a:lnTo>
                  <a:pt x="616080" y="121560"/>
                </a:lnTo>
                <a:close/>
                <a:moveTo>
                  <a:pt x="556846" y="258034"/>
                </a:moveTo>
                <a:lnTo>
                  <a:pt x="475995" y="177146"/>
                </a:lnTo>
                <a:lnTo>
                  <a:pt x="475995" y="258034"/>
                </a:lnTo>
                <a:close/>
                <a:moveTo>
                  <a:pt x="43" y="317528"/>
                </a:moveTo>
                <a:cubicBezTo>
                  <a:pt x="43" y="310943"/>
                  <a:pt x="5401" y="305622"/>
                  <a:pt x="11949" y="305622"/>
                </a:cubicBezTo>
                <a:cubicBezTo>
                  <a:pt x="18535" y="305622"/>
                  <a:pt x="23855" y="310980"/>
                  <a:pt x="23855" y="317528"/>
                </a:cubicBezTo>
                <a:lnTo>
                  <a:pt x="23855" y="322626"/>
                </a:lnTo>
                <a:cubicBezTo>
                  <a:pt x="23855" y="329211"/>
                  <a:pt x="18498" y="334532"/>
                  <a:pt x="11949" y="334532"/>
                </a:cubicBezTo>
                <a:cubicBezTo>
                  <a:pt x="5363" y="334532"/>
                  <a:pt x="43" y="329174"/>
                  <a:pt x="43" y="322626"/>
                </a:cubicBezTo>
                <a:close/>
                <a:moveTo>
                  <a:pt x="298775" y="407383"/>
                </a:moveTo>
                <a:cubicBezTo>
                  <a:pt x="270944" y="407383"/>
                  <a:pt x="245756" y="418657"/>
                  <a:pt x="227524" y="436852"/>
                </a:cubicBezTo>
                <a:cubicBezTo>
                  <a:pt x="209329" y="455084"/>
                  <a:pt x="198055" y="480272"/>
                  <a:pt x="198055" y="508104"/>
                </a:cubicBezTo>
                <a:cubicBezTo>
                  <a:pt x="198055" y="535562"/>
                  <a:pt x="209068" y="560491"/>
                  <a:pt x="226816" y="578648"/>
                </a:cubicBezTo>
                <a:lnTo>
                  <a:pt x="228230" y="580062"/>
                </a:lnTo>
                <a:cubicBezTo>
                  <a:pt x="246386" y="597847"/>
                  <a:pt x="271278" y="608822"/>
                  <a:pt x="298774" y="608822"/>
                </a:cubicBezTo>
                <a:cubicBezTo>
                  <a:pt x="326605" y="608822"/>
                  <a:pt x="351794" y="597548"/>
                  <a:pt x="370026" y="579354"/>
                </a:cubicBezTo>
                <a:cubicBezTo>
                  <a:pt x="388220" y="561122"/>
                  <a:pt x="399494" y="535933"/>
                  <a:pt x="399494" y="508102"/>
                </a:cubicBezTo>
                <a:cubicBezTo>
                  <a:pt x="399494" y="480271"/>
                  <a:pt x="388220" y="455082"/>
                  <a:pt x="369989" y="436850"/>
                </a:cubicBezTo>
                <a:lnTo>
                  <a:pt x="369430" y="436292"/>
                </a:lnTo>
                <a:cubicBezTo>
                  <a:pt x="351274" y="418396"/>
                  <a:pt x="326271" y="407382"/>
                  <a:pt x="298737" y="407382"/>
                </a:cubicBezTo>
                <a:close/>
                <a:moveTo>
                  <a:pt x="210744" y="420071"/>
                </a:moveTo>
                <a:cubicBezTo>
                  <a:pt x="233291" y="397523"/>
                  <a:pt x="264433" y="383571"/>
                  <a:pt x="298775" y="383571"/>
                </a:cubicBezTo>
                <a:cubicBezTo>
                  <a:pt x="332820" y="383571"/>
                  <a:pt x="363665" y="397263"/>
                  <a:pt x="386138" y="419401"/>
                </a:cubicBezTo>
                <a:lnTo>
                  <a:pt x="386808" y="420034"/>
                </a:lnTo>
                <a:cubicBezTo>
                  <a:pt x="409355" y="442581"/>
                  <a:pt x="423270" y="473723"/>
                  <a:pt x="423270" y="508103"/>
                </a:cubicBezTo>
                <a:cubicBezTo>
                  <a:pt x="423270" y="542445"/>
                  <a:pt x="409280" y="573587"/>
                  <a:pt x="386808" y="596097"/>
                </a:cubicBezTo>
                <a:cubicBezTo>
                  <a:pt x="364223" y="618645"/>
                  <a:pt x="333081" y="632634"/>
                  <a:pt x="298738" y="632634"/>
                </a:cubicBezTo>
                <a:cubicBezTo>
                  <a:pt x="268638" y="632634"/>
                  <a:pt x="241030" y="621919"/>
                  <a:pt x="219525" y="604134"/>
                </a:cubicBezTo>
                <a:lnTo>
                  <a:pt x="150580" y="673041"/>
                </a:lnTo>
                <a:cubicBezTo>
                  <a:pt x="145929" y="677692"/>
                  <a:pt x="138414" y="677692"/>
                  <a:pt x="133763" y="673041"/>
                </a:cubicBezTo>
                <a:cubicBezTo>
                  <a:pt x="129112" y="668390"/>
                  <a:pt x="129112" y="660875"/>
                  <a:pt x="133763" y="656224"/>
                </a:cubicBezTo>
                <a:lnTo>
                  <a:pt x="202707" y="587316"/>
                </a:lnTo>
                <a:cubicBezTo>
                  <a:pt x="184922" y="565774"/>
                  <a:pt x="174207" y="538165"/>
                  <a:pt x="174207" y="508103"/>
                </a:cubicBezTo>
                <a:cubicBezTo>
                  <a:pt x="174207" y="473760"/>
                  <a:pt x="188197" y="442618"/>
                  <a:pt x="210706" y="420071"/>
                </a:cubicBezTo>
                <a:close/>
              </a:path>
            </a:pathLst>
          </a:custGeom>
          <a:solidFill>
            <a:schemeClr val="bg1"/>
          </a:solidFill>
          <a:ln w="9525" cap="flat">
            <a:noFill/>
            <a:prstDash val="solid"/>
            <a:miter/>
          </a:ln>
        </p:spPr>
        <p:txBody>
          <a:bodyPr rtlCol="0" anchor="ctr"/>
          <a:lstStyle/>
          <a:p>
            <a:endParaRPr lang="en-IN"/>
          </a:p>
        </p:txBody>
      </p:sp>
      <p:sp>
        <p:nvSpPr>
          <p:cNvPr id="67" name="Freeform: Shape 66">
            <a:extLst>
              <a:ext uri="{FF2B5EF4-FFF2-40B4-BE49-F238E27FC236}">
                <a16:creationId xmlns:a16="http://schemas.microsoft.com/office/drawing/2014/main" id="{37AA9CB6-EF9E-0BEA-51AA-F881AEAA678C}"/>
              </a:ext>
            </a:extLst>
          </p:cNvPr>
          <p:cNvSpPr/>
          <p:nvPr/>
        </p:nvSpPr>
        <p:spPr>
          <a:xfrm>
            <a:off x="6629510" y="2431652"/>
            <a:ext cx="661269" cy="660836"/>
          </a:xfrm>
          <a:custGeom>
            <a:avLst/>
            <a:gdLst>
              <a:gd name="connsiteX0" fmla="*/ 799067 w 804129"/>
              <a:gd name="connsiteY0" fmla="*/ 390604 h 803603"/>
              <a:gd name="connsiteX1" fmla="*/ 635351 w 804129"/>
              <a:gd name="connsiteY1" fmla="*/ 241776 h 803603"/>
              <a:gd name="connsiteX2" fmla="*/ 619278 w 804129"/>
              <a:gd name="connsiteY2" fmla="*/ 239246 h 803603"/>
              <a:gd name="connsiteX3" fmla="*/ 610348 w 804129"/>
              <a:gd name="connsiteY3" fmla="*/ 252790 h 803603"/>
              <a:gd name="connsiteX4" fmla="*/ 610348 w 804129"/>
              <a:gd name="connsiteY4" fmla="*/ 315297 h 803603"/>
              <a:gd name="connsiteX5" fmla="*/ 491286 w 804129"/>
              <a:gd name="connsiteY5" fmla="*/ 361285 h 803603"/>
              <a:gd name="connsiteX6" fmla="*/ 491286 w 804129"/>
              <a:gd name="connsiteY6" fmla="*/ 193407 h 803603"/>
              <a:gd name="connsiteX7" fmla="*/ 550817 w 804129"/>
              <a:gd name="connsiteY7" fmla="*/ 193407 h 803603"/>
              <a:gd name="connsiteX8" fmla="*/ 564361 w 804129"/>
              <a:gd name="connsiteY8" fmla="*/ 184477 h 803603"/>
              <a:gd name="connsiteX9" fmla="*/ 561831 w 804129"/>
              <a:gd name="connsiteY9" fmla="*/ 168404 h 803603"/>
              <a:gd name="connsiteX10" fmla="*/ 413003 w 804129"/>
              <a:gd name="connsiteY10" fmla="*/ 4688 h 803603"/>
              <a:gd name="connsiteX11" fmla="*/ 390976 w 804129"/>
              <a:gd name="connsiteY11" fmla="*/ 4688 h 803603"/>
              <a:gd name="connsiteX12" fmla="*/ 242148 w 804129"/>
              <a:gd name="connsiteY12" fmla="*/ 168404 h 803603"/>
              <a:gd name="connsiteX13" fmla="*/ 239618 w 804129"/>
              <a:gd name="connsiteY13" fmla="*/ 184477 h 803603"/>
              <a:gd name="connsiteX14" fmla="*/ 253161 w 804129"/>
              <a:gd name="connsiteY14" fmla="*/ 193407 h 803603"/>
              <a:gd name="connsiteX15" fmla="*/ 312693 w 804129"/>
              <a:gd name="connsiteY15" fmla="*/ 193407 h 803603"/>
              <a:gd name="connsiteX16" fmla="*/ 312693 w 804129"/>
              <a:gd name="connsiteY16" fmla="*/ 361285 h 803603"/>
              <a:gd name="connsiteX17" fmla="*/ 193630 w 804129"/>
              <a:gd name="connsiteY17" fmla="*/ 315297 h 803603"/>
              <a:gd name="connsiteX18" fmla="*/ 193630 w 804129"/>
              <a:gd name="connsiteY18" fmla="*/ 252790 h 803603"/>
              <a:gd name="connsiteX19" fmla="*/ 184700 w 804129"/>
              <a:gd name="connsiteY19" fmla="*/ 239246 h 803603"/>
              <a:gd name="connsiteX20" fmla="*/ 168627 w 804129"/>
              <a:gd name="connsiteY20" fmla="*/ 241776 h 803603"/>
              <a:gd name="connsiteX21" fmla="*/ 4911 w 804129"/>
              <a:gd name="connsiteY21" fmla="*/ 390604 h 803603"/>
              <a:gd name="connsiteX22" fmla="*/ 0 w 804129"/>
              <a:gd name="connsiteY22" fmla="*/ 401617 h 803603"/>
              <a:gd name="connsiteX23" fmla="*/ 4911 w 804129"/>
              <a:gd name="connsiteY23" fmla="*/ 412630 h 803603"/>
              <a:gd name="connsiteX24" fmla="*/ 168627 w 804129"/>
              <a:gd name="connsiteY24" fmla="*/ 561458 h 803603"/>
              <a:gd name="connsiteX25" fmla="*/ 184700 w 804129"/>
              <a:gd name="connsiteY25" fmla="*/ 563988 h 803603"/>
              <a:gd name="connsiteX26" fmla="*/ 193630 w 804129"/>
              <a:gd name="connsiteY26" fmla="*/ 550444 h 803603"/>
              <a:gd name="connsiteX27" fmla="*/ 193630 w 804129"/>
              <a:gd name="connsiteY27" fmla="*/ 493741 h 803603"/>
              <a:gd name="connsiteX28" fmla="*/ 312693 w 804129"/>
              <a:gd name="connsiteY28" fmla="*/ 645398 h 803603"/>
              <a:gd name="connsiteX29" fmla="*/ 312693 w 804129"/>
              <a:gd name="connsiteY29" fmla="*/ 788721 h 803603"/>
              <a:gd name="connsiteX30" fmla="*/ 327575 w 804129"/>
              <a:gd name="connsiteY30" fmla="*/ 803604 h 803603"/>
              <a:gd name="connsiteX31" fmla="*/ 342458 w 804129"/>
              <a:gd name="connsiteY31" fmla="*/ 788721 h 803603"/>
              <a:gd name="connsiteX32" fmla="*/ 342458 w 804129"/>
              <a:gd name="connsiteY32" fmla="*/ 645398 h 803603"/>
              <a:gd name="connsiteX33" fmla="*/ 186934 w 804129"/>
              <a:gd name="connsiteY33" fmla="*/ 462194 h 803603"/>
              <a:gd name="connsiteX34" fmla="*/ 180534 w 804129"/>
              <a:gd name="connsiteY34" fmla="*/ 461301 h 803603"/>
              <a:gd name="connsiteX35" fmla="*/ 168925 w 804129"/>
              <a:gd name="connsiteY35" fmla="*/ 465022 h 803603"/>
              <a:gd name="connsiteX36" fmla="*/ 164014 w 804129"/>
              <a:gd name="connsiteY36" fmla="*/ 476184 h 803603"/>
              <a:gd name="connsiteX37" fmla="*/ 164014 w 804129"/>
              <a:gd name="connsiteY37" fmla="*/ 516963 h 803603"/>
              <a:gd name="connsiteX38" fmla="*/ 37360 w 804129"/>
              <a:gd name="connsiteY38" fmla="*/ 401767 h 803603"/>
              <a:gd name="connsiteX39" fmla="*/ 164014 w 804129"/>
              <a:gd name="connsiteY39" fmla="*/ 286572 h 803603"/>
              <a:gd name="connsiteX40" fmla="*/ 164014 w 804129"/>
              <a:gd name="connsiteY40" fmla="*/ 327350 h 803603"/>
              <a:gd name="connsiteX41" fmla="*/ 176069 w 804129"/>
              <a:gd name="connsiteY41" fmla="*/ 341935 h 803603"/>
              <a:gd name="connsiteX42" fmla="*/ 319839 w 804129"/>
              <a:gd name="connsiteY42" fmla="*/ 399680 h 803603"/>
              <a:gd name="connsiteX43" fmla="*/ 321625 w 804129"/>
              <a:gd name="connsiteY43" fmla="*/ 400722 h 803603"/>
              <a:gd name="connsiteX44" fmla="*/ 461671 w 804129"/>
              <a:gd name="connsiteY44" fmla="*/ 652687 h 803603"/>
              <a:gd name="connsiteX45" fmla="*/ 461671 w 804129"/>
              <a:gd name="connsiteY45" fmla="*/ 788714 h 803603"/>
              <a:gd name="connsiteX46" fmla="*/ 476554 w 804129"/>
              <a:gd name="connsiteY46" fmla="*/ 803596 h 803603"/>
              <a:gd name="connsiteX47" fmla="*/ 491437 w 804129"/>
              <a:gd name="connsiteY47" fmla="*/ 788714 h 803603"/>
              <a:gd name="connsiteX48" fmla="*/ 491437 w 804129"/>
              <a:gd name="connsiteY48" fmla="*/ 645391 h 803603"/>
              <a:gd name="connsiteX49" fmla="*/ 610499 w 804129"/>
              <a:gd name="connsiteY49" fmla="*/ 493734 h 803603"/>
              <a:gd name="connsiteX50" fmla="*/ 610499 w 804129"/>
              <a:gd name="connsiteY50" fmla="*/ 550587 h 803603"/>
              <a:gd name="connsiteX51" fmla="*/ 619429 w 804129"/>
              <a:gd name="connsiteY51" fmla="*/ 564130 h 803603"/>
              <a:gd name="connsiteX52" fmla="*/ 635503 w 804129"/>
              <a:gd name="connsiteY52" fmla="*/ 561600 h 803603"/>
              <a:gd name="connsiteX53" fmla="*/ 799218 w 804129"/>
              <a:gd name="connsiteY53" fmla="*/ 412772 h 803603"/>
              <a:gd name="connsiteX54" fmla="*/ 804130 w 804129"/>
              <a:gd name="connsiteY54" fmla="*/ 401759 h 803603"/>
              <a:gd name="connsiteX55" fmla="*/ 799218 w 804129"/>
              <a:gd name="connsiteY55" fmla="*/ 390747 h 803603"/>
              <a:gd name="connsiteX56" fmla="*/ 640266 w 804129"/>
              <a:gd name="connsiteY56" fmla="*/ 516810 h 803603"/>
              <a:gd name="connsiteX57" fmla="*/ 640266 w 804129"/>
              <a:gd name="connsiteY57" fmla="*/ 476032 h 803603"/>
              <a:gd name="connsiteX58" fmla="*/ 635355 w 804129"/>
              <a:gd name="connsiteY58" fmla="*/ 465019 h 803603"/>
              <a:gd name="connsiteX59" fmla="*/ 623746 w 804129"/>
              <a:gd name="connsiteY59" fmla="*/ 461299 h 803603"/>
              <a:gd name="connsiteX60" fmla="*/ 617198 w 804129"/>
              <a:gd name="connsiteY60" fmla="*/ 462191 h 803603"/>
              <a:gd name="connsiteX61" fmla="*/ 479676 w 804129"/>
              <a:gd name="connsiteY61" fmla="*/ 565776 h 803603"/>
              <a:gd name="connsiteX62" fmla="*/ 342601 w 804129"/>
              <a:gd name="connsiteY62" fmla="*/ 379000 h 803603"/>
              <a:gd name="connsiteX63" fmla="*/ 342601 w 804129"/>
              <a:gd name="connsiteY63" fmla="*/ 178527 h 803603"/>
              <a:gd name="connsiteX64" fmla="*/ 327719 w 804129"/>
              <a:gd name="connsiteY64" fmla="*/ 163645 h 803603"/>
              <a:gd name="connsiteX65" fmla="*/ 286940 w 804129"/>
              <a:gd name="connsiteY65" fmla="*/ 163645 h 803603"/>
              <a:gd name="connsiteX66" fmla="*/ 402135 w 804129"/>
              <a:gd name="connsiteY66" fmla="*/ 36991 h 803603"/>
              <a:gd name="connsiteX67" fmla="*/ 517331 w 804129"/>
              <a:gd name="connsiteY67" fmla="*/ 163645 h 803603"/>
              <a:gd name="connsiteX68" fmla="*/ 476552 w 804129"/>
              <a:gd name="connsiteY68" fmla="*/ 163645 h 803603"/>
              <a:gd name="connsiteX69" fmla="*/ 461670 w 804129"/>
              <a:gd name="connsiteY69" fmla="*/ 178527 h 803603"/>
              <a:gd name="connsiteX70" fmla="*/ 461670 w 804129"/>
              <a:gd name="connsiteY70" fmla="*/ 387039 h 803603"/>
              <a:gd name="connsiteX71" fmla="*/ 461818 w 804129"/>
              <a:gd name="connsiteY71" fmla="*/ 388081 h 803603"/>
              <a:gd name="connsiteX72" fmla="*/ 462414 w 804129"/>
              <a:gd name="connsiteY72" fmla="*/ 391058 h 803603"/>
              <a:gd name="connsiteX73" fmla="*/ 463455 w 804129"/>
              <a:gd name="connsiteY73" fmla="*/ 393885 h 803603"/>
              <a:gd name="connsiteX74" fmla="*/ 463902 w 804129"/>
              <a:gd name="connsiteY74" fmla="*/ 394927 h 803603"/>
              <a:gd name="connsiteX75" fmla="*/ 465093 w 804129"/>
              <a:gd name="connsiteY75" fmla="*/ 396118 h 803603"/>
              <a:gd name="connsiteX76" fmla="*/ 467176 w 804129"/>
              <a:gd name="connsiteY76" fmla="*/ 398350 h 803603"/>
              <a:gd name="connsiteX77" fmla="*/ 469409 w 804129"/>
              <a:gd name="connsiteY77" fmla="*/ 399839 h 803603"/>
              <a:gd name="connsiteX78" fmla="*/ 472088 w 804129"/>
              <a:gd name="connsiteY78" fmla="*/ 401029 h 803603"/>
              <a:gd name="connsiteX79" fmla="*/ 474915 w 804129"/>
              <a:gd name="connsiteY79" fmla="*/ 401625 h 803603"/>
              <a:gd name="connsiteX80" fmla="*/ 476701 w 804129"/>
              <a:gd name="connsiteY80" fmla="*/ 401922 h 803603"/>
              <a:gd name="connsiteX81" fmla="*/ 477892 w 804129"/>
              <a:gd name="connsiteY81" fmla="*/ 401625 h 803603"/>
              <a:gd name="connsiteX82" fmla="*/ 480720 w 804129"/>
              <a:gd name="connsiteY82" fmla="*/ 401029 h 803603"/>
              <a:gd name="connsiteX83" fmla="*/ 483548 w 804129"/>
              <a:gd name="connsiteY83" fmla="*/ 399987 h 803603"/>
              <a:gd name="connsiteX84" fmla="*/ 484589 w 804129"/>
              <a:gd name="connsiteY84" fmla="*/ 399690 h 803603"/>
              <a:gd name="connsiteX85" fmla="*/ 628360 w 804129"/>
              <a:gd name="connsiteY85" fmla="*/ 341944 h 803603"/>
              <a:gd name="connsiteX86" fmla="*/ 640415 w 804129"/>
              <a:gd name="connsiteY86" fmla="*/ 327360 h 803603"/>
              <a:gd name="connsiteX87" fmla="*/ 640415 w 804129"/>
              <a:gd name="connsiteY87" fmla="*/ 286581 h 803603"/>
              <a:gd name="connsiteX88" fmla="*/ 767068 w 804129"/>
              <a:gd name="connsiteY88" fmla="*/ 401777 h 803603"/>
              <a:gd name="connsiteX89" fmla="*/ 640415 w 804129"/>
              <a:gd name="connsiteY89" fmla="*/ 516972 h 80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804129" h="803603">
                <a:moveTo>
                  <a:pt x="799067" y="390604"/>
                </a:moveTo>
                <a:lnTo>
                  <a:pt x="635351" y="241776"/>
                </a:lnTo>
                <a:cubicBezTo>
                  <a:pt x="631036" y="237758"/>
                  <a:pt x="624636" y="236716"/>
                  <a:pt x="619278" y="239246"/>
                </a:cubicBezTo>
                <a:cubicBezTo>
                  <a:pt x="613920" y="241627"/>
                  <a:pt x="610348" y="246985"/>
                  <a:pt x="610348" y="252790"/>
                </a:cubicBezTo>
                <a:lnTo>
                  <a:pt x="610348" y="315297"/>
                </a:lnTo>
                <a:cubicBezTo>
                  <a:pt x="588620" y="320506"/>
                  <a:pt x="542185" y="333752"/>
                  <a:pt x="491286" y="361285"/>
                </a:cubicBezTo>
                <a:lnTo>
                  <a:pt x="491286" y="193407"/>
                </a:lnTo>
                <a:lnTo>
                  <a:pt x="550817" y="193407"/>
                </a:lnTo>
                <a:cubicBezTo>
                  <a:pt x="556770" y="193407"/>
                  <a:pt x="561979" y="189984"/>
                  <a:pt x="564361" y="184477"/>
                </a:cubicBezTo>
                <a:cubicBezTo>
                  <a:pt x="566742" y="179119"/>
                  <a:pt x="565700" y="172868"/>
                  <a:pt x="561831" y="168404"/>
                </a:cubicBezTo>
                <a:lnTo>
                  <a:pt x="413003" y="4688"/>
                </a:lnTo>
                <a:cubicBezTo>
                  <a:pt x="407347" y="-1563"/>
                  <a:pt x="396631" y="-1563"/>
                  <a:pt x="390976" y="4688"/>
                </a:cubicBezTo>
                <a:lnTo>
                  <a:pt x="242148" y="168404"/>
                </a:lnTo>
                <a:cubicBezTo>
                  <a:pt x="238129" y="172720"/>
                  <a:pt x="237237" y="179119"/>
                  <a:pt x="239618" y="184477"/>
                </a:cubicBezTo>
                <a:cubicBezTo>
                  <a:pt x="241999" y="189835"/>
                  <a:pt x="247357" y="193407"/>
                  <a:pt x="253161" y="193407"/>
                </a:cubicBezTo>
                <a:lnTo>
                  <a:pt x="312693" y="193407"/>
                </a:lnTo>
                <a:lnTo>
                  <a:pt x="312693" y="361285"/>
                </a:lnTo>
                <a:cubicBezTo>
                  <a:pt x="261793" y="333901"/>
                  <a:pt x="215357" y="320507"/>
                  <a:pt x="193630" y="315297"/>
                </a:cubicBezTo>
                <a:lnTo>
                  <a:pt x="193630" y="252790"/>
                </a:lnTo>
                <a:cubicBezTo>
                  <a:pt x="193630" y="246836"/>
                  <a:pt x="190207" y="241627"/>
                  <a:pt x="184700" y="239246"/>
                </a:cubicBezTo>
                <a:cubicBezTo>
                  <a:pt x="179343" y="236865"/>
                  <a:pt x="172943" y="237907"/>
                  <a:pt x="168627" y="241776"/>
                </a:cubicBezTo>
                <a:lnTo>
                  <a:pt x="4911" y="390604"/>
                </a:lnTo>
                <a:cubicBezTo>
                  <a:pt x="1786" y="393432"/>
                  <a:pt x="0" y="397450"/>
                  <a:pt x="0" y="401617"/>
                </a:cubicBezTo>
                <a:cubicBezTo>
                  <a:pt x="0" y="405784"/>
                  <a:pt x="1786" y="409803"/>
                  <a:pt x="4911" y="412630"/>
                </a:cubicBezTo>
                <a:lnTo>
                  <a:pt x="168627" y="561458"/>
                </a:lnTo>
                <a:cubicBezTo>
                  <a:pt x="172943" y="565476"/>
                  <a:pt x="179194" y="566369"/>
                  <a:pt x="184700" y="563988"/>
                </a:cubicBezTo>
                <a:cubicBezTo>
                  <a:pt x="190207" y="561607"/>
                  <a:pt x="193630" y="556249"/>
                  <a:pt x="193630" y="550444"/>
                </a:cubicBezTo>
                <a:lnTo>
                  <a:pt x="193630" y="493741"/>
                </a:lnTo>
                <a:cubicBezTo>
                  <a:pt x="262240" y="509666"/>
                  <a:pt x="312693" y="572918"/>
                  <a:pt x="312693" y="645398"/>
                </a:cubicBezTo>
                <a:lnTo>
                  <a:pt x="312693" y="788721"/>
                </a:lnTo>
                <a:cubicBezTo>
                  <a:pt x="312693" y="796906"/>
                  <a:pt x="319390" y="803604"/>
                  <a:pt x="327575" y="803604"/>
                </a:cubicBezTo>
                <a:cubicBezTo>
                  <a:pt x="335761" y="803604"/>
                  <a:pt x="342458" y="796906"/>
                  <a:pt x="342458" y="788721"/>
                </a:cubicBezTo>
                <a:lnTo>
                  <a:pt x="342458" y="645398"/>
                </a:lnTo>
                <a:cubicBezTo>
                  <a:pt x="342458" y="554613"/>
                  <a:pt x="275635" y="475739"/>
                  <a:pt x="186934" y="462194"/>
                </a:cubicBezTo>
                <a:cubicBezTo>
                  <a:pt x="184106" y="461748"/>
                  <a:pt x="181874" y="461450"/>
                  <a:pt x="180534" y="461301"/>
                </a:cubicBezTo>
                <a:cubicBezTo>
                  <a:pt x="176218" y="460855"/>
                  <a:pt x="172051" y="462194"/>
                  <a:pt x="168925" y="465022"/>
                </a:cubicBezTo>
                <a:cubicBezTo>
                  <a:pt x="165799" y="467850"/>
                  <a:pt x="164014" y="471868"/>
                  <a:pt x="164014" y="476184"/>
                </a:cubicBezTo>
                <a:lnTo>
                  <a:pt x="164014" y="516963"/>
                </a:lnTo>
                <a:lnTo>
                  <a:pt x="37360" y="401767"/>
                </a:lnTo>
                <a:lnTo>
                  <a:pt x="164014" y="286572"/>
                </a:lnTo>
                <a:lnTo>
                  <a:pt x="164014" y="327350"/>
                </a:lnTo>
                <a:cubicBezTo>
                  <a:pt x="164014" y="334494"/>
                  <a:pt x="169074" y="340596"/>
                  <a:pt x="176069" y="341935"/>
                </a:cubicBezTo>
                <a:cubicBezTo>
                  <a:pt x="183510" y="343275"/>
                  <a:pt x="250036" y="356818"/>
                  <a:pt x="319839" y="399680"/>
                </a:cubicBezTo>
                <a:lnTo>
                  <a:pt x="321625" y="400722"/>
                </a:lnTo>
                <a:cubicBezTo>
                  <a:pt x="409285" y="455194"/>
                  <a:pt x="461671" y="549398"/>
                  <a:pt x="461671" y="652687"/>
                </a:cubicBezTo>
                <a:lnTo>
                  <a:pt x="461671" y="788714"/>
                </a:lnTo>
                <a:cubicBezTo>
                  <a:pt x="461671" y="796899"/>
                  <a:pt x="468368" y="803596"/>
                  <a:pt x="476554" y="803596"/>
                </a:cubicBezTo>
                <a:cubicBezTo>
                  <a:pt x="484740" y="803596"/>
                  <a:pt x="491437" y="796899"/>
                  <a:pt x="491437" y="788714"/>
                </a:cubicBezTo>
                <a:lnTo>
                  <a:pt x="491437" y="645391"/>
                </a:lnTo>
                <a:cubicBezTo>
                  <a:pt x="491437" y="572763"/>
                  <a:pt x="542187" y="509364"/>
                  <a:pt x="610499" y="493734"/>
                </a:cubicBezTo>
                <a:lnTo>
                  <a:pt x="610499" y="550587"/>
                </a:lnTo>
                <a:cubicBezTo>
                  <a:pt x="610499" y="556540"/>
                  <a:pt x="613922" y="561749"/>
                  <a:pt x="619429" y="564130"/>
                </a:cubicBezTo>
                <a:cubicBezTo>
                  <a:pt x="624787" y="566512"/>
                  <a:pt x="631187" y="565470"/>
                  <a:pt x="635503" y="561600"/>
                </a:cubicBezTo>
                <a:lnTo>
                  <a:pt x="799218" y="412772"/>
                </a:lnTo>
                <a:cubicBezTo>
                  <a:pt x="802344" y="409944"/>
                  <a:pt x="804130" y="405926"/>
                  <a:pt x="804130" y="401759"/>
                </a:cubicBezTo>
                <a:cubicBezTo>
                  <a:pt x="804130" y="397593"/>
                  <a:pt x="802344" y="393574"/>
                  <a:pt x="799218" y="390747"/>
                </a:cubicBezTo>
                <a:close/>
                <a:moveTo>
                  <a:pt x="640266" y="516810"/>
                </a:moveTo>
                <a:lnTo>
                  <a:pt x="640266" y="476032"/>
                </a:lnTo>
                <a:cubicBezTo>
                  <a:pt x="640266" y="471865"/>
                  <a:pt x="638480" y="467846"/>
                  <a:pt x="635355" y="465019"/>
                </a:cubicBezTo>
                <a:cubicBezTo>
                  <a:pt x="632230" y="462192"/>
                  <a:pt x="627914" y="460852"/>
                  <a:pt x="623746" y="461299"/>
                </a:cubicBezTo>
                <a:lnTo>
                  <a:pt x="617198" y="462191"/>
                </a:lnTo>
                <a:cubicBezTo>
                  <a:pt x="556179" y="471568"/>
                  <a:pt x="505431" y="511901"/>
                  <a:pt x="479676" y="565776"/>
                </a:cubicBezTo>
                <a:cubicBezTo>
                  <a:pt x="458840" y="489576"/>
                  <a:pt x="410768" y="423196"/>
                  <a:pt x="342601" y="379000"/>
                </a:cubicBezTo>
                <a:lnTo>
                  <a:pt x="342601" y="178527"/>
                </a:lnTo>
                <a:cubicBezTo>
                  <a:pt x="342601" y="170342"/>
                  <a:pt x="335904" y="163645"/>
                  <a:pt x="327719" y="163645"/>
                </a:cubicBezTo>
                <a:lnTo>
                  <a:pt x="286940" y="163645"/>
                </a:lnTo>
                <a:lnTo>
                  <a:pt x="402135" y="36991"/>
                </a:lnTo>
                <a:lnTo>
                  <a:pt x="517331" y="163645"/>
                </a:lnTo>
                <a:lnTo>
                  <a:pt x="476552" y="163645"/>
                </a:lnTo>
                <a:cubicBezTo>
                  <a:pt x="468367" y="163645"/>
                  <a:pt x="461670" y="170342"/>
                  <a:pt x="461670" y="178527"/>
                </a:cubicBezTo>
                <a:lnTo>
                  <a:pt x="461670" y="387039"/>
                </a:lnTo>
                <a:cubicBezTo>
                  <a:pt x="461670" y="387039"/>
                  <a:pt x="461818" y="387783"/>
                  <a:pt x="461818" y="388081"/>
                </a:cubicBezTo>
                <a:cubicBezTo>
                  <a:pt x="461818" y="389123"/>
                  <a:pt x="462116" y="390016"/>
                  <a:pt x="462414" y="391058"/>
                </a:cubicBezTo>
                <a:cubicBezTo>
                  <a:pt x="462711" y="392099"/>
                  <a:pt x="463009" y="392992"/>
                  <a:pt x="463455" y="393885"/>
                </a:cubicBezTo>
                <a:cubicBezTo>
                  <a:pt x="463604" y="394183"/>
                  <a:pt x="463604" y="394630"/>
                  <a:pt x="463902" y="394927"/>
                </a:cubicBezTo>
                <a:cubicBezTo>
                  <a:pt x="464200" y="395374"/>
                  <a:pt x="464646" y="395671"/>
                  <a:pt x="465093" y="396118"/>
                </a:cubicBezTo>
                <a:cubicBezTo>
                  <a:pt x="465688" y="397011"/>
                  <a:pt x="466432" y="397755"/>
                  <a:pt x="467176" y="398350"/>
                </a:cubicBezTo>
                <a:cubicBezTo>
                  <a:pt x="467920" y="398946"/>
                  <a:pt x="468664" y="399392"/>
                  <a:pt x="469409" y="399839"/>
                </a:cubicBezTo>
                <a:cubicBezTo>
                  <a:pt x="470302" y="400285"/>
                  <a:pt x="471046" y="400732"/>
                  <a:pt x="472088" y="401029"/>
                </a:cubicBezTo>
                <a:cubicBezTo>
                  <a:pt x="472981" y="401327"/>
                  <a:pt x="474022" y="401476"/>
                  <a:pt x="474915" y="401625"/>
                </a:cubicBezTo>
                <a:cubicBezTo>
                  <a:pt x="475511" y="401625"/>
                  <a:pt x="475957" y="401922"/>
                  <a:pt x="476701" y="401922"/>
                </a:cubicBezTo>
                <a:cubicBezTo>
                  <a:pt x="477148" y="401922"/>
                  <a:pt x="477445" y="401773"/>
                  <a:pt x="477892" y="401625"/>
                </a:cubicBezTo>
                <a:cubicBezTo>
                  <a:pt x="478785" y="401625"/>
                  <a:pt x="479678" y="401327"/>
                  <a:pt x="480720" y="401029"/>
                </a:cubicBezTo>
                <a:cubicBezTo>
                  <a:pt x="481762" y="400732"/>
                  <a:pt x="482654" y="400434"/>
                  <a:pt x="483548" y="399987"/>
                </a:cubicBezTo>
                <a:cubicBezTo>
                  <a:pt x="483845" y="399839"/>
                  <a:pt x="484292" y="399839"/>
                  <a:pt x="484589" y="399690"/>
                </a:cubicBezTo>
                <a:cubicBezTo>
                  <a:pt x="554390" y="356827"/>
                  <a:pt x="621064" y="343284"/>
                  <a:pt x="628360" y="341944"/>
                </a:cubicBezTo>
                <a:cubicBezTo>
                  <a:pt x="635355" y="340605"/>
                  <a:pt x="640415" y="334503"/>
                  <a:pt x="640415" y="327360"/>
                </a:cubicBezTo>
                <a:lnTo>
                  <a:pt x="640415" y="286581"/>
                </a:lnTo>
                <a:lnTo>
                  <a:pt x="767068" y="401777"/>
                </a:lnTo>
                <a:lnTo>
                  <a:pt x="640415" y="516972"/>
                </a:lnTo>
                <a:close/>
              </a:path>
            </a:pathLst>
          </a:custGeom>
          <a:solidFill>
            <a:schemeClr val="bg1"/>
          </a:solidFill>
          <a:ln w="9525" cap="flat">
            <a:noFill/>
            <a:prstDash val="solid"/>
            <a:miter/>
          </a:ln>
        </p:spPr>
        <p:txBody>
          <a:bodyPr rtlCol="0" anchor="ctr"/>
          <a:lstStyle/>
          <a:p>
            <a:endParaRPr lang="en-IN"/>
          </a:p>
        </p:txBody>
      </p:sp>
      <p:sp>
        <p:nvSpPr>
          <p:cNvPr id="70" name="Rectangle 69">
            <a:extLst>
              <a:ext uri="{FF2B5EF4-FFF2-40B4-BE49-F238E27FC236}">
                <a16:creationId xmlns:a16="http://schemas.microsoft.com/office/drawing/2014/main" id="{9120DA1F-B324-5505-799D-887F59F0A932}"/>
              </a:ext>
            </a:extLst>
          </p:cNvPr>
          <p:cNvSpPr/>
          <p:nvPr/>
        </p:nvSpPr>
        <p:spPr>
          <a:xfrm>
            <a:off x="1883978" y="4167217"/>
            <a:ext cx="2005199" cy="584775"/>
          </a:xfrm>
          <a:prstGeom prst="rect">
            <a:avLst/>
          </a:prstGeom>
          <a:noFill/>
        </p:spPr>
        <p:txBody>
          <a:bodyPr wrap="square" lIns="91440" tIns="45720" rIns="91440" bIns="45720">
            <a:spAutoFit/>
          </a:bodyPr>
          <a:lstStyle/>
          <a:p>
            <a:pPr algn="r"/>
            <a:r>
              <a:rPr lang="es-CO" sz="1600" err="1">
                <a:solidFill>
                  <a:srgbClr val="595959"/>
                </a:solidFill>
                <a:latin typeface="Roboto" pitchFamily="2" charset="0"/>
                <a:ea typeface="Roboto" pitchFamily="2" charset="0"/>
              </a:rPr>
              <a:t>Reconciliation</a:t>
            </a:r>
            <a:r>
              <a:rPr lang="es-CO" sz="1600">
                <a:solidFill>
                  <a:srgbClr val="595959"/>
                </a:solidFill>
                <a:latin typeface="Roboto" pitchFamily="2" charset="0"/>
                <a:ea typeface="Roboto" pitchFamily="2" charset="0"/>
              </a:rPr>
              <a:t> &amp; </a:t>
            </a:r>
            <a:r>
              <a:rPr lang="es-CO" sz="1600" err="1">
                <a:solidFill>
                  <a:srgbClr val="595959"/>
                </a:solidFill>
                <a:latin typeface="Roboto" pitchFamily="2" charset="0"/>
                <a:ea typeface="Roboto" pitchFamily="2" charset="0"/>
              </a:rPr>
              <a:t>Resolution</a:t>
            </a:r>
            <a:r>
              <a:rPr lang="es-CO" sz="1600">
                <a:solidFill>
                  <a:srgbClr val="595959"/>
                </a:solidFill>
                <a:latin typeface="Roboto" pitchFamily="2" charset="0"/>
                <a:ea typeface="Roboto" pitchFamily="2" charset="0"/>
              </a:rPr>
              <a:t>: </a:t>
            </a:r>
            <a:endParaRPr lang="en-US" sz="1600">
              <a:solidFill>
                <a:srgbClr val="595959"/>
              </a:solidFill>
              <a:latin typeface="Roboto" pitchFamily="2" charset="0"/>
              <a:ea typeface="Roboto" pitchFamily="2" charset="0"/>
            </a:endParaRPr>
          </a:p>
        </p:txBody>
      </p:sp>
      <p:grpSp>
        <p:nvGrpSpPr>
          <p:cNvPr id="91" name="Group 90">
            <a:extLst>
              <a:ext uri="{FF2B5EF4-FFF2-40B4-BE49-F238E27FC236}">
                <a16:creationId xmlns:a16="http://schemas.microsoft.com/office/drawing/2014/main" id="{A6C31731-E4D0-2A1E-E824-91D91D3D1B99}"/>
              </a:ext>
            </a:extLst>
          </p:cNvPr>
          <p:cNvGrpSpPr/>
          <p:nvPr/>
        </p:nvGrpSpPr>
        <p:grpSpPr>
          <a:xfrm>
            <a:off x="4479742" y="4459604"/>
            <a:ext cx="494078" cy="494122"/>
            <a:chOff x="5601922" y="2815826"/>
            <a:chExt cx="892932" cy="893011"/>
          </a:xfrm>
          <a:solidFill>
            <a:schemeClr val="bg1"/>
          </a:solidFill>
        </p:grpSpPr>
        <p:sp>
          <p:nvSpPr>
            <p:cNvPr id="74" name="Freeform: Shape 73">
              <a:extLst>
                <a:ext uri="{FF2B5EF4-FFF2-40B4-BE49-F238E27FC236}">
                  <a16:creationId xmlns:a16="http://schemas.microsoft.com/office/drawing/2014/main" id="{D026C573-61DA-7913-DD15-5A555373CF36}"/>
                </a:ext>
              </a:extLst>
            </p:cNvPr>
            <p:cNvSpPr/>
            <p:nvPr/>
          </p:nvSpPr>
          <p:spPr>
            <a:xfrm>
              <a:off x="5601925" y="2815826"/>
              <a:ext cx="454225" cy="454336"/>
            </a:xfrm>
            <a:custGeom>
              <a:avLst/>
              <a:gdLst>
                <a:gd name="connsiteX0" fmla="*/ 390452 w 454225"/>
                <a:gd name="connsiteY0" fmla="*/ 313135 h 454336"/>
                <a:gd name="connsiteX1" fmla="*/ 403474 w 454225"/>
                <a:gd name="connsiteY1" fmla="*/ 281770 h 454336"/>
                <a:gd name="connsiteX2" fmla="*/ 443733 w 454225"/>
                <a:gd name="connsiteY2" fmla="*/ 270533 h 454336"/>
                <a:gd name="connsiteX3" fmla="*/ 454225 w 454225"/>
                <a:gd name="connsiteY3" fmla="*/ 256692 h 454336"/>
                <a:gd name="connsiteX4" fmla="*/ 454225 w 454225"/>
                <a:gd name="connsiteY4" fmla="*/ 197608 h 454336"/>
                <a:gd name="connsiteX5" fmla="*/ 443733 w 454225"/>
                <a:gd name="connsiteY5" fmla="*/ 183767 h 454336"/>
                <a:gd name="connsiteX6" fmla="*/ 403474 w 454225"/>
                <a:gd name="connsiteY6" fmla="*/ 172530 h 454336"/>
                <a:gd name="connsiteX7" fmla="*/ 390452 w 454225"/>
                <a:gd name="connsiteY7" fmla="*/ 141164 h 454336"/>
                <a:gd name="connsiteX8" fmla="*/ 410952 w 454225"/>
                <a:gd name="connsiteY8" fmla="*/ 104702 h 454336"/>
                <a:gd name="connsiteX9" fmla="*/ 408571 w 454225"/>
                <a:gd name="connsiteY9" fmla="*/ 87475 h 454336"/>
                <a:gd name="connsiteX10" fmla="*/ 366751 w 454225"/>
                <a:gd name="connsiteY10" fmla="*/ 45654 h 454336"/>
                <a:gd name="connsiteX11" fmla="*/ 349524 w 454225"/>
                <a:gd name="connsiteY11" fmla="*/ 43273 h 454336"/>
                <a:gd name="connsiteX12" fmla="*/ 313061 w 454225"/>
                <a:gd name="connsiteY12" fmla="*/ 63774 h 454336"/>
                <a:gd name="connsiteX13" fmla="*/ 281695 w 454225"/>
                <a:gd name="connsiteY13" fmla="*/ 50751 h 454336"/>
                <a:gd name="connsiteX14" fmla="*/ 270459 w 454225"/>
                <a:gd name="connsiteY14" fmla="*/ 10493 h 454336"/>
                <a:gd name="connsiteX15" fmla="*/ 256618 w 454225"/>
                <a:gd name="connsiteY15" fmla="*/ 0 h 454336"/>
                <a:gd name="connsiteX16" fmla="*/ 197533 w 454225"/>
                <a:gd name="connsiteY16" fmla="*/ 0 h 454336"/>
                <a:gd name="connsiteX17" fmla="*/ 183692 w 454225"/>
                <a:gd name="connsiteY17" fmla="*/ 10493 h 454336"/>
                <a:gd name="connsiteX18" fmla="*/ 172419 w 454225"/>
                <a:gd name="connsiteY18" fmla="*/ 50788 h 454336"/>
                <a:gd name="connsiteX19" fmla="*/ 141053 w 454225"/>
                <a:gd name="connsiteY19" fmla="*/ 63811 h 454336"/>
                <a:gd name="connsiteX20" fmla="*/ 104590 w 454225"/>
                <a:gd name="connsiteY20" fmla="*/ 43310 h 454336"/>
                <a:gd name="connsiteX21" fmla="*/ 87363 w 454225"/>
                <a:gd name="connsiteY21" fmla="*/ 45691 h 454336"/>
                <a:gd name="connsiteX22" fmla="*/ 45580 w 454225"/>
                <a:gd name="connsiteY22" fmla="*/ 87438 h 454336"/>
                <a:gd name="connsiteX23" fmla="*/ 43199 w 454225"/>
                <a:gd name="connsiteY23" fmla="*/ 104702 h 454336"/>
                <a:gd name="connsiteX24" fmla="*/ 63737 w 454225"/>
                <a:gd name="connsiteY24" fmla="*/ 141164 h 454336"/>
                <a:gd name="connsiteX25" fmla="*/ 50751 w 454225"/>
                <a:gd name="connsiteY25" fmla="*/ 172530 h 454336"/>
                <a:gd name="connsiteX26" fmla="*/ 10493 w 454225"/>
                <a:gd name="connsiteY26" fmla="*/ 183767 h 454336"/>
                <a:gd name="connsiteX27" fmla="*/ 0 w 454225"/>
                <a:gd name="connsiteY27" fmla="*/ 197608 h 454336"/>
                <a:gd name="connsiteX28" fmla="*/ 0 w 454225"/>
                <a:gd name="connsiteY28" fmla="*/ 256692 h 454336"/>
                <a:gd name="connsiteX29" fmla="*/ 10493 w 454225"/>
                <a:gd name="connsiteY29" fmla="*/ 270533 h 454336"/>
                <a:gd name="connsiteX30" fmla="*/ 50751 w 454225"/>
                <a:gd name="connsiteY30" fmla="*/ 281770 h 454336"/>
                <a:gd name="connsiteX31" fmla="*/ 63737 w 454225"/>
                <a:gd name="connsiteY31" fmla="*/ 313135 h 454336"/>
                <a:gd name="connsiteX32" fmla="*/ 43199 w 454225"/>
                <a:gd name="connsiteY32" fmla="*/ 349598 h 454336"/>
                <a:gd name="connsiteX33" fmla="*/ 45580 w 454225"/>
                <a:gd name="connsiteY33" fmla="*/ 366862 h 454336"/>
                <a:gd name="connsiteX34" fmla="*/ 87400 w 454225"/>
                <a:gd name="connsiteY34" fmla="*/ 408683 h 454336"/>
                <a:gd name="connsiteX35" fmla="*/ 104627 w 454225"/>
                <a:gd name="connsiteY35" fmla="*/ 411064 h 454336"/>
                <a:gd name="connsiteX36" fmla="*/ 141090 w 454225"/>
                <a:gd name="connsiteY36" fmla="*/ 390563 h 454336"/>
                <a:gd name="connsiteX37" fmla="*/ 172456 w 454225"/>
                <a:gd name="connsiteY37" fmla="*/ 403586 h 454336"/>
                <a:gd name="connsiteX38" fmla="*/ 183692 w 454225"/>
                <a:gd name="connsiteY38" fmla="*/ 443844 h 454336"/>
                <a:gd name="connsiteX39" fmla="*/ 197533 w 454225"/>
                <a:gd name="connsiteY39" fmla="*/ 454337 h 454336"/>
                <a:gd name="connsiteX40" fmla="*/ 256618 w 454225"/>
                <a:gd name="connsiteY40" fmla="*/ 454337 h 454336"/>
                <a:gd name="connsiteX41" fmla="*/ 270459 w 454225"/>
                <a:gd name="connsiteY41" fmla="*/ 443844 h 454336"/>
                <a:gd name="connsiteX42" fmla="*/ 281695 w 454225"/>
                <a:gd name="connsiteY42" fmla="*/ 403586 h 454336"/>
                <a:gd name="connsiteX43" fmla="*/ 313061 w 454225"/>
                <a:gd name="connsiteY43" fmla="*/ 390600 h 454336"/>
                <a:gd name="connsiteX44" fmla="*/ 349524 w 454225"/>
                <a:gd name="connsiteY44" fmla="*/ 411101 h 454336"/>
                <a:gd name="connsiteX45" fmla="*/ 366751 w 454225"/>
                <a:gd name="connsiteY45" fmla="*/ 408720 h 454336"/>
                <a:gd name="connsiteX46" fmla="*/ 408571 w 454225"/>
                <a:gd name="connsiteY46" fmla="*/ 366899 h 454336"/>
                <a:gd name="connsiteX47" fmla="*/ 410952 w 454225"/>
                <a:gd name="connsiteY47" fmla="*/ 349672 h 454336"/>
                <a:gd name="connsiteX48" fmla="*/ 377913 w 454225"/>
                <a:gd name="connsiteY48" fmla="*/ 266478 h 454336"/>
                <a:gd name="connsiteX49" fmla="*/ 361580 w 454225"/>
                <a:gd name="connsiteY49" fmla="*/ 305917 h 454336"/>
                <a:gd name="connsiteX50" fmla="*/ 361431 w 454225"/>
                <a:gd name="connsiteY50" fmla="*/ 320242 h 454336"/>
                <a:gd name="connsiteX51" fmla="*/ 380555 w 454225"/>
                <a:gd name="connsiteY51" fmla="*/ 354212 h 454336"/>
                <a:gd name="connsiteX52" fmla="*/ 354213 w 454225"/>
                <a:gd name="connsiteY52" fmla="*/ 380554 h 454336"/>
                <a:gd name="connsiteX53" fmla="*/ 320243 w 454225"/>
                <a:gd name="connsiteY53" fmla="*/ 361467 h 454336"/>
                <a:gd name="connsiteX54" fmla="*/ 305881 w 454225"/>
                <a:gd name="connsiteY54" fmla="*/ 361616 h 454336"/>
                <a:gd name="connsiteX55" fmla="*/ 266442 w 454225"/>
                <a:gd name="connsiteY55" fmla="*/ 377949 h 454336"/>
                <a:gd name="connsiteX56" fmla="*/ 256247 w 454225"/>
                <a:gd name="connsiteY56" fmla="*/ 387995 h 454336"/>
                <a:gd name="connsiteX57" fmla="*/ 245754 w 454225"/>
                <a:gd name="connsiteY57" fmla="*/ 425500 h 454336"/>
                <a:gd name="connsiteX58" fmla="*/ 208472 w 454225"/>
                <a:gd name="connsiteY58" fmla="*/ 425500 h 454336"/>
                <a:gd name="connsiteX59" fmla="*/ 197980 w 454225"/>
                <a:gd name="connsiteY59" fmla="*/ 387995 h 454336"/>
                <a:gd name="connsiteX60" fmla="*/ 187748 w 454225"/>
                <a:gd name="connsiteY60" fmla="*/ 377949 h 454336"/>
                <a:gd name="connsiteX61" fmla="*/ 148309 w 454225"/>
                <a:gd name="connsiteY61" fmla="*/ 361616 h 454336"/>
                <a:gd name="connsiteX62" fmla="*/ 133984 w 454225"/>
                <a:gd name="connsiteY62" fmla="*/ 361467 h 454336"/>
                <a:gd name="connsiteX63" fmla="*/ 100014 w 454225"/>
                <a:gd name="connsiteY63" fmla="*/ 380554 h 454336"/>
                <a:gd name="connsiteX64" fmla="*/ 73672 w 454225"/>
                <a:gd name="connsiteY64" fmla="*/ 354212 h 454336"/>
                <a:gd name="connsiteX65" fmla="*/ 92796 w 454225"/>
                <a:gd name="connsiteY65" fmla="*/ 320242 h 454336"/>
                <a:gd name="connsiteX66" fmla="*/ 92647 w 454225"/>
                <a:gd name="connsiteY66" fmla="*/ 305843 h 454336"/>
                <a:gd name="connsiteX67" fmla="*/ 76351 w 454225"/>
                <a:gd name="connsiteY67" fmla="*/ 266478 h 454336"/>
                <a:gd name="connsiteX68" fmla="*/ 66305 w 454225"/>
                <a:gd name="connsiteY68" fmla="*/ 256246 h 454336"/>
                <a:gd name="connsiteX69" fmla="*/ 28800 w 454225"/>
                <a:gd name="connsiteY69" fmla="*/ 245754 h 454336"/>
                <a:gd name="connsiteX70" fmla="*/ 28800 w 454225"/>
                <a:gd name="connsiteY70" fmla="*/ 208472 h 454336"/>
                <a:gd name="connsiteX71" fmla="*/ 66305 w 454225"/>
                <a:gd name="connsiteY71" fmla="*/ 197979 h 454336"/>
                <a:gd name="connsiteX72" fmla="*/ 76351 w 454225"/>
                <a:gd name="connsiteY72" fmla="*/ 187747 h 454336"/>
                <a:gd name="connsiteX73" fmla="*/ 92647 w 454225"/>
                <a:gd name="connsiteY73" fmla="*/ 148382 h 454336"/>
                <a:gd name="connsiteX74" fmla="*/ 92796 w 454225"/>
                <a:gd name="connsiteY74" fmla="*/ 133983 h 454336"/>
                <a:gd name="connsiteX75" fmla="*/ 73672 w 454225"/>
                <a:gd name="connsiteY75" fmla="*/ 100088 h 454336"/>
                <a:gd name="connsiteX76" fmla="*/ 100014 w 454225"/>
                <a:gd name="connsiteY76" fmla="*/ 73745 h 454336"/>
                <a:gd name="connsiteX77" fmla="*/ 133984 w 454225"/>
                <a:gd name="connsiteY77" fmla="*/ 92870 h 454336"/>
                <a:gd name="connsiteX78" fmla="*/ 148309 w 454225"/>
                <a:gd name="connsiteY78" fmla="*/ 92721 h 454336"/>
                <a:gd name="connsiteX79" fmla="*/ 187748 w 454225"/>
                <a:gd name="connsiteY79" fmla="*/ 76387 h 454336"/>
                <a:gd name="connsiteX80" fmla="*/ 197980 w 454225"/>
                <a:gd name="connsiteY80" fmla="*/ 66341 h 454336"/>
                <a:gd name="connsiteX81" fmla="*/ 208472 w 454225"/>
                <a:gd name="connsiteY81" fmla="*/ 28837 h 454336"/>
                <a:gd name="connsiteX82" fmla="*/ 245754 w 454225"/>
                <a:gd name="connsiteY82" fmla="*/ 28837 h 454336"/>
                <a:gd name="connsiteX83" fmla="*/ 256247 w 454225"/>
                <a:gd name="connsiteY83" fmla="*/ 66341 h 454336"/>
                <a:gd name="connsiteX84" fmla="*/ 266479 w 454225"/>
                <a:gd name="connsiteY84" fmla="*/ 76387 h 454336"/>
                <a:gd name="connsiteX85" fmla="*/ 305844 w 454225"/>
                <a:gd name="connsiteY85" fmla="*/ 92721 h 454336"/>
                <a:gd name="connsiteX86" fmla="*/ 320206 w 454225"/>
                <a:gd name="connsiteY86" fmla="*/ 92870 h 454336"/>
                <a:gd name="connsiteX87" fmla="*/ 354175 w 454225"/>
                <a:gd name="connsiteY87" fmla="*/ 73745 h 454336"/>
                <a:gd name="connsiteX88" fmla="*/ 380518 w 454225"/>
                <a:gd name="connsiteY88" fmla="*/ 100088 h 454336"/>
                <a:gd name="connsiteX89" fmla="*/ 361394 w 454225"/>
                <a:gd name="connsiteY89" fmla="*/ 134058 h 454336"/>
                <a:gd name="connsiteX90" fmla="*/ 361542 w 454225"/>
                <a:gd name="connsiteY90" fmla="*/ 148420 h 454336"/>
                <a:gd name="connsiteX91" fmla="*/ 377876 w 454225"/>
                <a:gd name="connsiteY91" fmla="*/ 187822 h 454336"/>
                <a:gd name="connsiteX92" fmla="*/ 387922 w 454225"/>
                <a:gd name="connsiteY92" fmla="*/ 198053 h 454336"/>
                <a:gd name="connsiteX93" fmla="*/ 425427 w 454225"/>
                <a:gd name="connsiteY93" fmla="*/ 208546 h 454336"/>
                <a:gd name="connsiteX94" fmla="*/ 425427 w 454225"/>
                <a:gd name="connsiteY94" fmla="*/ 245828 h 454336"/>
                <a:gd name="connsiteX95" fmla="*/ 387922 w 454225"/>
                <a:gd name="connsiteY95" fmla="*/ 256321 h 454336"/>
                <a:gd name="connsiteX96" fmla="*/ 377913 w 454225"/>
                <a:gd name="connsiteY96" fmla="*/ 266478 h 45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454225" h="454336">
                  <a:moveTo>
                    <a:pt x="390452" y="313135"/>
                  </a:moveTo>
                  <a:cubicBezTo>
                    <a:pt x="395735" y="303089"/>
                    <a:pt x="400125" y="292598"/>
                    <a:pt x="403474" y="281770"/>
                  </a:cubicBezTo>
                  <a:lnTo>
                    <a:pt x="443733" y="270533"/>
                  </a:lnTo>
                  <a:cubicBezTo>
                    <a:pt x="449946" y="268821"/>
                    <a:pt x="454225" y="263129"/>
                    <a:pt x="454225" y="256692"/>
                  </a:cubicBezTo>
                  <a:lnTo>
                    <a:pt x="454225" y="197608"/>
                  </a:lnTo>
                  <a:cubicBezTo>
                    <a:pt x="454225" y="191134"/>
                    <a:pt x="449909" y="185478"/>
                    <a:pt x="443733" y="183767"/>
                  </a:cubicBezTo>
                  <a:lnTo>
                    <a:pt x="403474" y="172530"/>
                  </a:lnTo>
                  <a:cubicBezTo>
                    <a:pt x="400126" y="161703"/>
                    <a:pt x="395772" y="151210"/>
                    <a:pt x="390452" y="141164"/>
                  </a:cubicBezTo>
                  <a:lnTo>
                    <a:pt x="410952" y="104702"/>
                  </a:lnTo>
                  <a:cubicBezTo>
                    <a:pt x="414115" y="99083"/>
                    <a:pt x="413148" y="92052"/>
                    <a:pt x="408571" y="87475"/>
                  </a:cubicBezTo>
                  <a:lnTo>
                    <a:pt x="366751" y="45654"/>
                  </a:lnTo>
                  <a:cubicBezTo>
                    <a:pt x="362174" y="41078"/>
                    <a:pt x="355142" y="40148"/>
                    <a:pt x="349524" y="43273"/>
                  </a:cubicBezTo>
                  <a:lnTo>
                    <a:pt x="313061" y="63774"/>
                  </a:lnTo>
                  <a:cubicBezTo>
                    <a:pt x="303015" y="58490"/>
                    <a:pt x="292523" y="54100"/>
                    <a:pt x="281695" y="50751"/>
                  </a:cubicBezTo>
                  <a:lnTo>
                    <a:pt x="270459" y="10493"/>
                  </a:lnTo>
                  <a:cubicBezTo>
                    <a:pt x="268747" y="4279"/>
                    <a:pt x="263054" y="0"/>
                    <a:pt x="256618" y="0"/>
                  </a:cubicBezTo>
                  <a:lnTo>
                    <a:pt x="197533" y="0"/>
                  </a:lnTo>
                  <a:cubicBezTo>
                    <a:pt x="191059" y="0"/>
                    <a:pt x="185404" y="4316"/>
                    <a:pt x="183692" y="10493"/>
                  </a:cubicBezTo>
                  <a:lnTo>
                    <a:pt x="172419" y="50788"/>
                  </a:lnTo>
                  <a:cubicBezTo>
                    <a:pt x="161629" y="54137"/>
                    <a:pt x="151136" y="58490"/>
                    <a:pt x="141053" y="63811"/>
                  </a:cubicBezTo>
                  <a:lnTo>
                    <a:pt x="104590" y="43310"/>
                  </a:lnTo>
                  <a:cubicBezTo>
                    <a:pt x="98972" y="40148"/>
                    <a:pt x="91940" y="41115"/>
                    <a:pt x="87363" y="45691"/>
                  </a:cubicBezTo>
                  <a:lnTo>
                    <a:pt x="45580" y="87438"/>
                  </a:lnTo>
                  <a:cubicBezTo>
                    <a:pt x="41004" y="92014"/>
                    <a:pt x="40073" y="99047"/>
                    <a:pt x="43199" y="104702"/>
                  </a:cubicBezTo>
                  <a:lnTo>
                    <a:pt x="63737" y="141164"/>
                  </a:lnTo>
                  <a:cubicBezTo>
                    <a:pt x="58453" y="151136"/>
                    <a:pt x="54137" y="161628"/>
                    <a:pt x="50751" y="172530"/>
                  </a:cubicBezTo>
                  <a:lnTo>
                    <a:pt x="10493" y="183767"/>
                  </a:lnTo>
                  <a:cubicBezTo>
                    <a:pt x="4279" y="185478"/>
                    <a:pt x="0" y="191171"/>
                    <a:pt x="0" y="197608"/>
                  </a:cubicBezTo>
                  <a:lnTo>
                    <a:pt x="0" y="256692"/>
                  </a:lnTo>
                  <a:cubicBezTo>
                    <a:pt x="0" y="263166"/>
                    <a:pt x="4316" y="268821"/>
                    <a:pt x="10493" y="270533"/>
                  </a:cubicBezTo>
                  <a:lnTo>
                    <a:pt x="50751" y="281770"/>
                  </a:lnTo>
                  <a:cubicBezTo>
                    <a:pt x="54100" y="292671"/>
                    <a:pt x="58490" y="303164"/>
                    <a:pt x="63737" y="313135"/>
                  </a:cubicBezTo>
                  <a:lnTo>
                    <a:pt x="43199" y="349598"/>
                  </a:lnTo>
                  <a:cubicBezTo>
                    <a:pt x="40036" y="355216"/>
                    <a:pt x="41004" y="362248"/>
                    <a:pt x="45580" y="366862"/>
                  </a:cubicBezTo>
                  <a:lnTo>
                    <a:pt x="87400" y="408683"/>
                  </a:lnTo>
                  <a:cubicBezTo>
                    <a:pt x="91977" y="413259"/>
                    <a:pt x="99010" y="414226"/>
                    <a:pt x="104627" y="411064"/>
                  </a:cubicBezTo>
                  <a:lnTo>
                    <a:pt x="141090" y="390563"/>
                  </a:lnTo>
                  <a:cubicBezTo>
                    <a:pt x="151136" y="395847"/>
                    <a:pt x="161628" y="400237"/>
                    <a:pt x="172456" y="403586"/>
                  </a:cubicBezTo>
                  <a:lnTo>
                    <a:pt x="183692" y="443844"/>
                  </a:lnTo>
                  <a:cubicBezTo>
                    <a:pt x="185404" y="450058"/>
                    <a:pt x="191097" y="454337"/>
                    <a:pt x="197533" y="454337"/>
                  </a:cubicBezTo>
                  <a:lnTo>
                    <a:pt x="256618" y="454337"/>
                  </a:lnTo>
                  <a:cubicBezTo>
                    <a:pt x="263092" y="454337"/>
                    <a:pt x="268747" y="450021"/>
                    <a:pt x="270459" y="443844"/>
                  </a:cubicBezTo>
                  <a:lnTo>
                    <a:pt x="281695" y="403586"/>
                  </a:lnTo>
                  <a:cubicBezTo>
                    <a:pt x="292597" y="400200"/>
                    <a:pt x="303089" y="395847"/>
                    <a:pt x="313061" y="390600"/>
                  </a:cubicBezTo>
                  <a:lnTo>
                    <a:pt x="349524" y="411101"/>
                  </a:lnTo>
                  <a:cubicBezTo>
                    <a:pt x="355179" y="414264"/>
                    <a:pt x="362174" y="413296"/>
                    <a:pt x="366751" y="408720"/>
                  </a:cubicBezTo>
                  <a:lnTo>
                    <a:pt x="408571" y="366899"/>
                  </a:lnTo>
                  <a:cubicBezTo>
                    <a:pt x="413148" y="362323"/>
                    <a:pt x="414078" y="355290"/>
                    <a:pt x="410952" y="349672"/>
                  </a:cubicBezTo>
                  <a:close/>
                  <a:moveTo>
                    <a:pt x="377913" y="266478"/>
                  </a:moveTo>
                  <a:cubicBezTo>
                    <a:pt x="374341" y="280245"/>
                    <a:pt x="368834" y="293490"/>
                    <a:pt x="361580" y="305917"/>
                  </a:cubicBezTo>
                  <a:cubicBezTo>
                    <a:pt x="358975" y="310308"/>
                    <a:pt x="358938" y="315815"/>
                    <a:pt x="361431" y="320242"/>
                  </a:cubicBezTo>
                  <a:lnTo>
                    <a:pt x="380555" y="354212"/>
                  </a:lnTo>
                  <a:lnTo>
                    <a:pt x="354213" y="380554"/>
                  </a:lnTo>
                  <a:lnTo>
                    <a:pt x="320243" y="361467"/>
                  </a:lnTo>
                  <a:cubicBezTo>
                    <a:pt x="315778" y="358937"/>
                    <a:pt x="310308" y="359011"/>
                    <a:pt x="305881" y="361616"/>
                  </a:cubicBezTo>
                  <a:cubicBezTo>
                    <a:pt x="293715" y="368760"/>
                    <a:pt x="280431" y="374266"/>
                    <a:pt x="266442" y="377949"/>
                  </a:cubicBezTo>
                  <a:cubicBezTo>
                    <a:pt x="261493" y="379252"/>
                    <a:pt x="257624" y="383084"/>
                    <a:pt x="256247" y="387995"/>
                  </a:cubicBezTo>
                  <a:lnTo>
                    <a:pt x="245754" y="425500"/>
                  </a:lnTo>
                  <a:lnTo>
                    <a:pt x="208472" y="425500"/>
                  </a:lnTo>
                  <a:lnTo>
                    <a:pt x="197980" y="387995"/>
                  </a:lnTo>
                  <a:cubicBezTo>
                    <a:pt x="196603" y="383084"/>
                    <a:pt x="192696" y="379215"/>
                    <a:pt x="187748" y="377949"/>
                  </a:cubicBezTo>
                  <a:cubicBezTo>
                    <a:pt x="173982" y="374378"/>
                    <a:pt x="160736" y="368871"/>
                    <a:pt x="148309" y="361616"/>
                  </a:cubicBezTo>
                  <a:cubicBezTo>
                    <a:pt x="143918" y="359011"/>
                    <a:pt x="138448" y="358974"/>
                    <a:pt x="133984" y="361467"/>
                  </a:cubicBezTo>
                  <a:lnTo>
                    <a:pt x="100014" y="380554"/>
                  </a:lnTo>
                  <a:lnTo>
                    <a:pt x="73672" y="354212"/>
                  </a:lnTo>
                  <a:lnTo>
                    <a:pt x="92796" y="320242"/>
                  </a:lnTo>
                  <a:cubicBezTo>
                    <a:pt x="95326" y="315777"/>
                    <a:pt x="95252" y="310270"/>
                    <a:pt x="92647" y="305843"/>
                  </a:cubicBezTo>
                  <a:cubicBezTo>
                    <a:pt x="85429" y="293714"/>
                    <a:pt x="79960" y="280467"/>
                    <a:pt x="76351" y="266478"/>
                  </a:cubicBezTo>
                  <a:cubicBezTo>
                    <a:pt x="75086" y="261492"/>
                    <a:pt x="71216" y="257623"/>
                    <a:pt x="66305" y="256246"/>
                  </a:cubicBezTo>
                  <a:lnTo>
                    <a:pt x="28800" y="245754"/>
                  </a:lnTo>
                  <a:lnTo>
                    <a:pt x="28800" y="208472"/>
                  </a:lnTo>
                  <a:lnTo>
                    <a:pt x="66305" y="197979"/>
                  </a:lnTo>
                  <a:cubicBezTo>
                    <a:pt x="71216" y="196602"/>
                    <a:pt x="75086" y="192696"/>
                    <a:pt x="76351" y="187747"/>
                  </a:cubicBezTo>
                  <a:cubicBezTo>
                    <a:pt x="79997" y="173757"/>
                    <a:pt x="85467" y="160511"/>
                    <a:pt x="92647" y="148382"/>
                  </a:cubicBezTo>
                  <a:cubicBezTo>
                    <a:pt x="95252" y="143955"/>
                    <a:pt x="95326" y="138485"/>
                    <a:pt x="92796" y="133983"/>
                  </a:cubicBezTo>
                  <a:lnTo>
                    <a:pt x="73672" y="100088"/>
                  </a:lnTo>
                  <a:lnTo>
                    <a:pt x="100014" y="73745"/>
                  </a:lnTo>
                  <a:lnTo>
                    <a:pt x="133984" y="92870"/>
                  </a:lnTo>
                  <a:cubicBezTo>
                    <a:pt x="138449" y="95400"/>
                    <a:pt x="143882" y="95325"/>
                    <a:pt x="148309" y="92721"/>
                  </a:cubicBezTo>
                  <a:cubicBezTo>
                    <a:pt x="160736" y="85428"/>
                    <a:pt x="173982" y="79921"/>
                    <a:pt x="187748" y="76387"/>
                  </a:cubicBezTo>
                  <a:cubicBezTo>
                    <a:pt x="192734" y="75122"/>
                    <a:pt x="196603" y="71253"/>
                    <a:pt x="197980" y="66341"/>
                  </a:cubicBezTo>
                  <a:lnTo>
                    <a:pt x="208472" y="28837"/>
                  </a:lnTo>
                  <a:lnTo>
                    <a:pt x="245754" y="28837"/>
                  </a:lnTo>
                  <a:lnTo>
                    <a:pt x="256247" y="66341"/>
                  </a:lnTo>
                  <a:cubicBezTo>
                    <a:pt x="257624" y="71253"/>
                    <a:pt x="261530" y="75122"/>
                    <a:pt x="266479" y="76387"/>
                  </a:cubicBezTo>
                  <a:cubicBezTo>
                    <a:pt x="280320" y="79959"/>
                    <a:pt x="293566" y="85466"/>
                    <a:pt x="305844" y="92721"/>
                  </a:cubicBezTo>
                  <a:cubicBezTo>
                    <a:pt x="310234" y="95325"/>
                    <a:pt x="315741" y="95400"/>
                    <a:pt x="320206" y="92870"/>
                  </a:cubicBezTo>
                  <a:lnTo>
                    <a:pt x="354175" y="73745"/>
                  </a:lnTo>
                  <a:lnTo>
                    <a:pt x="380518" y="100088"/>
                  </a:lnTo>
                  <a:lnTo>
                    <a:pt x="361394" y="134058"/>
                  </a:lnTo>
                  <a:cubicBezTo>
                    <a:pt x="358863" y="138523"/>
                    <a:pt x="358938" y="143992"/>
                    <a:pt x="361542" y="148420"/>
                  </a:cubicBezTo>
                  <a:cubicBezTo>
                    <a:pt x="368761" y="160735"/>
                    <a:pt x="374267" y="173981"/>
                    <a:pt x="377876" y="187822"/>
                  </a:cubicBezTo>
                  <a:cubicBezTo>
                    <a:pt x="379141" y="192807"/>
                    <a:pt x="383010" y="196677"/>
                    <a:pt x="387922" y="198053"/>
                  </a:cubicBezTo>
                  <a:lnTo>
                    <a:pt x="425427" y="208546"/>
                  </a:lnTo>
                  <a:lnTo>
                    <a:pt x="425427" y="245828"/>
                  </a:lnTo>
                  <a:lnTo>
                    <a:pt x="387922" y="256321"/>
                  </a:lnTo>
                  <a:cubicBezTo>
                    <a:pt x="383011" y="257623"/>
                    <a:pt x="379178" y="261530"/>
                    <a:pt x="377913" y="266478"/>
                  </a:cubicBezTo>
                  <a:close/>
                </a:path>
              </a:pathLst>
            </a:custGeom>
            <a:grpFill/>
            <a:ln w="9525" cap="flat">
              <a:noFill/>
              <a:prstDash val="solid"/>
              <a:miter/>
            </a:ln>
          </p:spPr>
          <p:txBody>
            <a:bodyPr rtlCol="0" anchor="ctr"/>
            <a:lstStyle/>
            <a:p>
              <a:endParaRPr lang="en-IN"/>
            </a:p>
          </p:txBody>
        </p:sp>
        <p:sp>
          <p:nvSpPr>
            <p:cNvPr id="75" name="Freeform: Shape 74">
              <a:extLst>
                <a:ext uri="{FF2B5EF4-FFF2-40B4-BE49-F238E27FC236}">
                  <a16:creationId xmlns:a16="http://schemas.microsoft.com/office/drawing/2014/main" id="{23A440B0-FB85-82CC-2C69-1A57140036B3}"/>
                </a:ext>
              </a:extLst>
            </p:cNvPr>
            <p:cNvSpPr/>
            <p:nvPr/>
          </p:nvSpPr>
          <p:spPr>
            <a:xfrm>
              <a:off x="5718943" y="2932918"/>
              <a:ext cx="220122" cy="220122"/>
            </a:xfrm>
            <a:custGeom>
              <a:avLst/>
              <a:gdLst>
                <a:gd name="connsiteX0" fmla="*/ 110061 w 220122"/>
                <a:gd name="connsiteY0" fmla="*/ 0 h 220122"/>
                <a:gd name="connsiteX1" fmla="*/ 0 w 220122"/>
                <a:gd name="connsiteY1" fmla="*/ 110061 h 220122"/>
                <a:gd name="connsiteX2" fmla="*/ 110061 w 220122"/>
                <a:gd name="connsiteY2" fmla="*/ 220123 h 220122"/>
                <a:gd name="connsiteX3" fmla="*/ 220123 w 220122"/>
                <a:gd name="connsiteY3" fmla="*/ 110061 h 220122"/>
                <a:gd name="connsiteX4" fmla="*/ 110061 w 220122"/>
                <a:gd name="connsiteY4" fmla="*/ 0 h 220122"/>
                <a:gd name="connsiteX5" fmla="*/ 110061 w 220122"/>
                <a:gd name="connsiteY5" fmla="*/ 191357 h 220122"/>
                <a:gd name="connsiteX6" fmla="*/ 28764 w 220122"/>
                <a:gd name="connsiteY6" fmla="*/ 110059 h 220122"/>
                <a:gd name="connsiteX7" fmla="*/ 110061 w 220122"/>
                <a:gd name="connsiteY7" fmla="*/ 28762 h 220122"/>
                <a:gd name="connsiteX8" fmla="*/ 191359 w 220122"/>
                <a:gd name="connsiteY8" fmla="*/ 110059 h 220122"/>
                <a:gd name="connsiteX9" fmla="*/ 110061 w 220122"/>
                <a:gd name="connsiteY9" fmla="*/ 191357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122" h="220122">
                  <a:moveTo>
                    <a:pt x="110061" y="0"/>
                  </a:moveTo>
                  <a:cubicBezTo>
                    <a:pt x="49340" y="0"/>
                    <a:pt x="0" y="49374"/>
                    <a:pt x="0" y="110061"/>
                  </a:cubicBezTo>
                  <a:cubicBezTo>
                    <a:pt x="0" y="170783"/>
                    <a:pt x="49374" y="220123"/>
                    <a:pt x="110061" y="220123"/>
                  </a:cubicBezTo>
                  <a:cubicBezTo>
                    <a:pt x="170749" y="220123"/>
                    <a:pt x="220123" y="170749"/>
                    <a:pt x="220123" y="110061"/>
                  </a:cubicBezTo>
                  <a:cubicBezTo>
                    <a:pt x="220123" y="49374"/>
                    <a:pt x="170786" y="0"/>
                    <a:pt x="110061" y="0"/>
                  </a:cubicBezTo>
                  <a:close/>
                  <a:moveTo>
                    <a:pt x="110061" y="191357"/>
                  </a:moveTo>
                  <a:cubicBezTo>
                    <a:pt x="65227" y="191357"/>
                    <a:pt x="28764" y="154895"/>
                    <a:pt x="28764" y="110059"/>
                  </a:cubicBezTo>
                  <a:cubicBezTo>
                    <a:pt x="28764" y="65225"/>
                    <a:pt x="65226" y="28762"/>
                    <a:pt x="110061" y="28762"/>
                  </a:cubicBezTo>
                  <a:cubicBezTo>
                    <a:pt x="154897" y="28762"/>
                    <a:pt x="191359" y="65224"/>
                    <a:pt x="191359" y="110059"/>
                  </a:cubicBezTo>
                  <a:cubicBezTo>
                    <a:pt x="191359" y="154894"/>
                    <a:pt x="154897" y="191357"/>
                    <a:pt x="110061" y="191357"/>
                  </a:cubicBezTo>
                  <a:close/>
                </a:path>
              </a:pathLst>
            </a:custGeom>
            <a:grpFill/>
            <a:ln w="9525" cap="flat">
              <a:noFill/>
              <a:prstDash val="solid"/>
              <a:miter/>
            </a:ln>
          </p:spPr>
          <p:txBody>
            <a:bodyPr rtlCol="0" anchor="ctr"/>
            <a:lstStyle/>
            <a:p>
              <a:endParaRPr lang="en-IN"/>
            </a:p>
          </p:txBody>
        </p:sp>
        <p:sp>
          <p:nvSpPr>
            <p:cNvPr id="76" name="Freeform: Shape 75">
              <a:extLst>
                <a:ext uri="{FF2B5EF4-FFF2-40B4-BE49-F238E27FC236}">
                  <a16:creationId xmlns:a16="http://schemas.microsoft.com/office/drawing/2014/main" id="{AB3E23A8-844D-EA9F-3431-6B208E327F8F}"/>
                </a:ext>
              </a:extLst>
            </p:cNvPr>
            <p:cNvSpPr/>
            <p:nvPr/>
          </p:nvSpPr>
          <p:spPr>
            <a:xfrm>
              <a:off x="5601922" y="3477929"/>
              <a:ext cx="178626" cy="230908"/>
            </a:xfrm>
            <a:custGeom>
              <a:avLst/>
              <a:gdLst>
                <a:gd name="connsiteX0" fmla="*/ 164199 w 178626"/>
                <a:gd name="connsiteY0" fmla="*/ 0 h 230908"/>
                <a:gd name="connsiteX1" fmla="*/ 14399 w 178626"/>
                <a:gd name="connsiteY1" fmla="*/ 0 h 230908"/>
                <a:gd name="connsiteX2" fmla="*/ 0 w 178626"/>
                <a:gd name="connsiteY2" fmla="*/ 14399 h 230908"/>
                <a:gd name="connsiteX3" fmla="*/ 0 w 178626"/>
                <a:gd name="connsiteY3" fmla="*/ 216510 h 230908"/>
                <a:gd name="connsiteX4" fmla="*/ 14399 w 178626"/>
                <a:gd name="connsiteY4" fmla="*/ 230909 h 230908"/>
                <a:gd name="connsiteX5" fmla="*/ 164227 w 178626"/>
                <a:gd name="connsiteY5" fmla="*/ 230909 h 230908"/>
                <a:gd name="connsiteX6" fmla="*/ 178626 w 178626"/>
                <a:gd name="connsiteY6" fmla="*/ 216510 h 230908"/>
                <a:gd name="connsiteX7" fmla="*/ 178626 w 178626"/>
                <a:gd name="connsiteY7" fmla="*/ 14399 h 230908"/>
                <a:gd name="connsiteX8" fmla="*/ 164190 w 178626"/>
                <a:gd name="connsiteY8" fmla="*/ 0 h 230908"/>
                <a:gd name="connsiteX9" fmla="*/ 149837 w 178626"/>
                <a:gd name="connsiteY9" fmla="*/ 202073 h 230908"/>
                <a:gd name="connsiteX10" fmla="*/ 28765 w 178626"/>
                <a:gd name="connsiteY10" fmla="*/ 202073 h 230908"/>
                <a:gd name="connsiteX11" fmla="*/ 28765 w 178626"/>
                <a:gd name="connsiteY11" fmla="*/ 28765 h 230908"/>
                <a:gd name="connsiteX12" fmla="*/ 149799 w 178626"/>
                <a:gd name="connsiteY12" fmla="*/ 28765 h 23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26" h="230908">
                  <a:moveTo>
                    <a:pt x="164199" y="0"/>
                  </a:moveTo>
                  <a:lnTo>
                    <a:pt x="14399" y="0"/>
                  </a:lnTo>
                  <a:cubicBezTo>
                    <a:pt x="6474" y="0"/>
                    <a:pt x="0" y="6437"/>
                    <a:pt x="0" y="14399"/>
                  </a:cubicBezTo>
                  <a:lnTo>
                    <a:pt x="0" y="216510"/>
                  </a:lnTo>
                  <a:cubicBezTo>
                    <a:pt x="0" y="224435"/>
                    <a:pt x="6437" y="230909"/>
                    <a:pt x="14399" y="230909"/>
                  </a:cubicBezTo>
                  <a:lnTo>
                    <a:pt x="164227" y="230909"/>
                  </a:lnTo>
                  <a:cubicBezTo>
                    <a:pt x="172152" y="230909"/>
                    <a:pt x="178626" y="224472"/>
                    <a:pt x="178626" y="216510"/>
                  </a:cubicBezTo>
                  <a:lnTo>
                    <a:pt x="178626" y="14399"/>
                  </a:lnTo>
                  <a:cubicBezTo>
                    <a:pt x="178589" y="6437"/>
                    <a:pt x="172152" y="0"/>
                    <a:pt x="164190" y="0"/>
                  </a:cubicBezTo>
                  <a:close/>
                  <a:moveTo>
                    <a:pt x="149837" y="202073"/>
                  </a:moveTo>
                  <a:lnTo>
                    <a:pt x="28765" y="202073"/>
                  </a:lnTo>
                  <a:lnTo>
                    <a:pt x="28765" y="28765"/>
                  </a:lnTo>
                  <a:lnTo>
                    <a:pt x="149799" y="28765"/>
                  </a:lnTo>
                  <a:close/>
                </a:path>
              </a:pathLst>
            </a:custGeom>
            <a:grpFill/>
            <a:ln w="9525" cap="flat">
              <a:noFill/>
              <a:prstDash val="solid"/>
              <a:miter/>
            </a:ln>
          </p:spPr>
          <p:txBody>
            <a:bodyPr rtlCol="0" anchor="ctr"/>
            <a:lstStyle/>
            <a:p>
              <a:endParaRPr lang="en-IN"/>
            </a:p>
          </p:txBody>
        </p:sp>
        <p:sp>
          <p:nvSpPr>
            <p:cNvPr id="77" name="Freeform: Shape 76">
              <a:extLst>
                <a:ext uri="{FF2B5EF4-FFF2-40B4-BE49-F238E27FC236}">
                  <a16:creationId xmlns:a16="http://schemas.microsoft.com/office/drawing/2014/main" id="{0833BFF2-B525-CAEC-341F-23CFD71B36BD}"/>
                </a:ext>
              </a:extLst>
            </p:cNvPr>
            <p:cNvSpPr/>
            <p:nvPr/>
          </p:nvSpPr>
          <p:spPr>
            <a:xfrm>
              <a:off x="5814605" y="3354656"/>
              <a:ext cx="178701" cy="354133"/>
            </a:xfrm>
            <a:custGeom>
              <a:avLst/>
              <a:gdLst>
                <a:gd name="connsiteX0" fmla="*/ 164265 w 178701"/>
                <a:gd name="connsiteY0" fmla="*/ 0 h 354133"/>
                <a:gd name="connsiteX1" fmla="*/ 14399 w 178701"/>
                <a:gd name="connsiteY1" fmla="*/ 0 h 354133"/>
                <a:gd name="connsiteX2" fmla="*/ 0 w 178701"/>
                <a:gd name="connsiteY2" fmla="*/ 14399 h 354133"/>
                <a:gd name="connsiteX3" fmla="*/ 0 w 178701"/>
                <a:gd name="connsiteY3" fmla="*/ 339735 h 354133"/>
                <a:gd name="connsiteX4" fmla="*/ 14399 w 178701"/>
                <a:gd name="connsiteY4" fmla="*/ 354134 h 354133"/>
                <a:gd name="connsiteX5" fmla="*/ 164265 w 178701"/>
                <a:gd name="connsiteY5" fmla="*/ 354134 h 354133"/>
                <a:gd name="connsiteX6" fmla="*/ 178664 w 178701"/>
                <a:gd name="connsiteY6" fmla="*/ 339735 h 354133"/>
                <a:gd name="connsiteX7" fmla="*/ 178701 w 178701"/>
                <a:gd name="connsiteY7" fmla="*/ 14437 h 354133"/>
                <a:gd name="connsiteX8" fmla="*/ 164265 w 178701"/>
                <a:gd name="connsiteY8" fmla="*/ 1 h 354133"/>
                <a:gd name="connsiteX9" fmla="*/ 149904 w 178701"/>
                <a:gd name="connsiteY9" fmla="*/ 325336 h 354133"/>
                <a:gd name="connsiteX10" fmla="*/ 28793 w 178701"/>
                <a:gd name="connsiteY10" fmla="*/ 325336 h 354133"/>
                <a:gd name="connsiteX11" fmla="*/ 28793 w 178701"/>
                <a:gd name="connsiteY11" fmla="*/ 28794 h 354133"/>
                <a:gd name="connsiteX12" fmla="*/ 149904 w 178701"/>
                <a:gd name="connsiteY12" fmla="*/ 28794 h 35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701" h="354133">
                  <a:moveTo>
                    <a:pt x="164265" y="0"/>
                  </a:moveTo>
                  <a:lnTo>
                    <a:pt x="14399" y="0"/>
                  </a:lnTo>
                  <a:cubicBezTo>
                    <a:pt x="6474" y="0"/>
                    <a:pt x="0" y="6437"/>
                    <a:pt x="0" y="14399"/>
                  </a:cubicBezTo>
                  <a:lnTo>
                    <a:pt x="0" y="339735"/>
                  </a:lnTo>
                  <a:cubicBezTo>
                    <a:pt x="0" y="347660"/>
                    <a:pt x="6437" y="354134"/>
                    <a:pt x="14399" y="354134"/>
                  </a:cubicBezTo>
                  <a:lnTo>
                    <a:pt x="164265" y="354134"/>
                  </a:lnTo>
                  <a:cubicBezTo>
                    <a:pt x="172190" y="354134"/>
                    <a:pt x="178664" y="347697"/>
                    <a:pt x="178664" y="339735"/>
                  </a:cubicBezTo>
                  <a:lnTo>
                    <a:pt x="178701" y="14437"/>
                  </a:lnTo>
                  <a:cubicBezTo>
                    <a:pt x="178701" y="6475"/>
                    <a:pt x="172227" y="1"/>
                    <a:pt x="164265" y="1"/>
                  </a:cubicBezTo>
                  <a:close/>
                  <a:moveTo>
                    <a:pt x="149904" y="325336"/>
                  </a:moveTo>
                  <a:lnTo>
                    <a:pt x="28793" y="325336"/>
                  </a:lnTo>
                  <a:lnTo>
                    <a:pt x="28793" y="28794"/>
                  </a:lnTo>
                  <a:lnTo>
                    <a:pt x="149904" y="28794"/>
                  </a:lnTo>
                  <a:close/>
                </a:path>
              </a:pathLst>
            </a:custGeom>
            <a:grpFill/>
            <a:ln w="9525" cap="flat">
              <a:noFill/>
              <a:prstDash val="solid"/>
              <a:miter/>
            </a:ln>
          </p:spPr>
          <p:txBody>
            <a:bodyPr rtlCol="0" anchor="ctr"/>
            <a:lstStyle/>
            <a:p>
              <a:endParaRPr lang="en-IN"/>
            </a:p>
          </p:txBody>
        </p:sp>
        <p:sp>
          <p:nvSpPr>
            <p:cNvPr id="78" name="Freeform: Shape 77">
              <a:extLst>
                <a:ext uri="{FF2B5EF4-FFF2-40B4-BE49-F238E27FC236}">
                  <a16:creationId xmlns:a16="http://schemas.microsoft.com/office/drawing/2014/main" id="{F07D980C-904C-65D9-55BF-B91ACB2272D3}"/>
                </a:ext>
              </a:extLst>
            </p:cNvPr>
            <p:cNvSpPr/>
            <p:nvPr/>
          </p:nvSpPr>
          <p:spPr>
            <a:xfrm>
              <a:off x="6027356" y="3231431"/>
              <a:ext cx="178701" cy="477368"/>
            </a:xfrm>
            <a:custGeom>
              <a:avLst/>
              <a:gdLst>
                <a:gd name="connsiteX0" fmla="*/ 164265 w 178701"/>
                <a:gd name="connsiteY0" fmla="*/ 0 h 477368"/>
                <a:gd name="connsiteX1" fmla="*/ 14399 w 178701"/>
                <a:gd name="connsiteY1" fmla="*/ 0 h 477368"/>
                <a:gd name="connsiteX2" fmla="*/ 0 w 178701"/>
                <a:gd name="connsiteY2" fmla="*/ 14399 h 477368"/>
                <a:gd name="connsiteX3" fmla="*/ 0 w 178701"/>
                <a:gd name="connsiteY3" fmla="*/ 462969 h 477368"/>
                <a:gd name="connsiteX4" fmla="*/ 14399 w 178701"/>
                <a:gd name="connsiteY4" fmla="*/ 477368 h 477368"/>
                <a:gd name="connsiteX5" fmla="*/ 164265 w 178701"/>
                <a:gd name="connsiteY5" fmla="*/ 477368 h 477368"/>
                <a:gd name="connsiteX6" fmla="*/ 178664 w 178701"/>
                <a:gd name="connsiteY6" fmla="*/ 462969 h 477368"/>
                <a:gd name="connsiteX7" fmla="*/ 178701 w 178701"/>
                <a:gd name="connsiteY7" fmla="*/ 14399 h 477368"/>
                <a:gd name="connsiteX8" fmla="*/ 164265 w 178701"/>
                <a:gd name="connsiteY8" fmla="*/ 0 h 477368"/>
                <a:gd name="connsiteX9" fmla="*/ 149904 w 178701"/>
                <a:gd name="connsiteY9" fmla="*/ 448570 h 477368"/>
                <a:gd name="connsiteX10" fmla="*/ 28793 w 178701"/>
                <a:gd name="connsiteY10" fmla="*/ 448570 h 477368"/>
                <a:gd name="connsiteX11" fmla="*/ 28793 w 178701"/>
                <a:gd name="connsiteY11" fmla="*/ 28804 h 477368"/>
                <a:gd name="connsiteX12" fmla="*/ 149904 w 178701"/>
                <a:gd name="connsiteY12" fmla="*/ 28804 h 47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701" h="477368">
                  <a:moveTo>
                    <a:pt x="164265" y="0"/>
                  </a:moveTo>
                  <a:lnTo>
                    <a:pt x="14399" y="0"/>
                  </a:lnTo>
                  <a:cubicBezTo>
                    <a:pt x="6474" y="0"/>
                    <a:pt x="0" y="6437"/>
                    <a:pt x="0" y="14399"/>
                  </a:cubicBezTo>
                  <a:lnTo>
                    <a:pt x="0" y="462969"/>
                  </a:lnTo>
                  <a:cubicBezTo>
                    <a:pt x="0" y="470894"/>
                    <a:pt x="6437" y="477368"/>
                    <a:pt x="14399" y="477368"/>
                  </a:cubicBezTo>
                  <a:lnTo>
                    <a:pt x="164265" y="477368"/>
                  </a:lnTo>
                  <a:cubicBezTo>
                    <a:pt x="172190" y="477368"/>
                    <a:pt x="178664" y="470931"/>
                    <a:pt x="178664" y="462969"/>
                  </a:cubicBezTo>
                  <a:lnTo>
                    <a:pt x="178701" y="14399"/>
                  </a:lnTo>
                  <a:cubicBezTo>
                    <a:pt x="178701" y="6474"/>
                    <a:pt x="172227" y="0"/>
                    <a:pt x="164265" y="0"/>
                  </a:cubicBezTo>
                  <a:close/>
                  <a:moveTo>
                    <a:pt x="149904" y="448570"/>
                  </a:moveTo>
                  <a:lnTo>
                    <a:pt x="28793" y="448570"/>
                  </a:lnTo>
                  <a:lnTo>
                    <a:pt x="28793" y="28804"/>
                  </a:lnTo>
                  <a:lnTo>
                    <a:pt x="149904" y="28804"/>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30847845-9963-2264-5C92-A59792CA089B}"/>
                </a:ext>
              </a:extLst>
            </p:cNvPr>
            <p:cNvSpPr/>
            <p:nvPr/>
          </p:nvSpPr>
          <p:spPr>
            <a:xfrm>
              <a:off x="6164057" y="2921159"/>
              <a:ext cx="330797" cy="787671"/>
            </a:xfrm>
            <a:custGeom>
              <a:avLst/>
              <a:gdLst>
                <a:gd name="connsiteX0" fmla="*/ 327602 w 330797"/>
                <a:gd name="connsiteY0" fmla="*/ 192400 h 787671"/>
                <a:gd name="connsiteX1" fmla="*/ 176583 w 330797"/>
                <a:gd name="connsiteY1" fmla="*/ 5358 h 787671"/>
                <a:gd name="connsiteX2" fmla="*/ 165383 w 330797"/>
                <a:gd name="connsiteY2" fmla="*/ 0 h 787671"/>
                <a:gd name="connsiteX3" fmla="*/ 154184 w 330797"/>
                <a:gd name="connsiteY3" fmla="*/ 5358 h 787671"/>
                <a:gd name="connsiteX4" fmla="*/ 3193 w 330797"/>
                <a:gd name="connsiteY4" fmla="*/ 192400 h 787671"/>
                <a:gd name="connsiteX5" fmla="*/ 1407 w 330797"/>
                <a:gd name="connsiteY5" fmla="*/ 207655 h 787671"/>
                <a:gd name="connsiteX6" fmla="*/ 14393 w 330797"/>
                <a:gd name="connsiteY6" fmla="*/ 215841 h 787671"/>
                <a:gd name="connsiteX7" fmla="*/ 76045 w 330797"/>
                <a:gd name="connsiteY7" fmla="*/ 215841 h 787671"/>
                <a:gd name="connsiteX8" fmla="*/ 76045 w 330797"/>
                <a:gd name="connsiteY8" fmla="*/ 773273 h 787671"/>
                <a:gd name="connsiteX9" fmla="*/ 90444 w 330797"/>
                <a:gd name="connsiteY9" fmla="*/ 787672 h 787671"/>
                <a:gd name="connsiteX10" fmla="*/ 240311 w 330797"/>
                <a:gd name="connsiteY10" fmla="*/ 787672 h 787671"/>
                <a:gd name="connsiteX11" fmla="*/ 254710 w 330797"/>
                <a:gd name="connsiteY11" fmla="*/ 773273 h 787671"/>
                <a:gd name="connsiteX12" fmla="*/ 254710 w 330797"/>
                <a:gd name="connsiteY12" fmla="*/ 215841 h 787671"/>
                <a:gd name="connsiteX13" fmla="*/ 316399 w 330797"/>
                <a:gd name="connsiteY13" fmla="*/ 215841 h 787671"/>
                <a:gd name="connsiteX14" fmla="*/ 329385 w 330797"/>
                <a:gd name="connsiteY14" fmla="*/ 207655 h 787671"/>
                <a:gd name="connsiteX15" fmla="*/ 327599 w 330797"/>
                <a:gd name="connsiteY15" fmla="*/ 192400 h 787671"/>
                <a:gd name="connsiteX16" fmla="*/ 240314 w 330797"/>
                <a:gd name="connsiteY16" fmla="*/ 187042 h 787671"/>
                <a:gd name="connsiteX17" fmla="*/ 225915 w 330797"/>
                <a:gd name="connsiteY17" fmla="*/ 201441 h 787671"/>
                <a:gd name="connsiteX18" fmla="*/ 225915 w 330797"/>
                <a:gd name="connsiteY18" fmla="*/ 758873 h 787671"/>
                <a:gd name="connsiteX19" fmla="*/ 104804 w 330797"/>
                <a:gd name="connsiteY19" fmla="*/ 758873 h 787671"/>
                <a:gd name="connsiteX20" fmla="*/ 104804 w 330797"/>
                <a:gd name="connsiteY20" fmla="*/ 201403 h 787671"/>
                <a:gd name="connsiteX21" fmla="*/ 90405 w 330797"/>
                <a:gd name="connsiteY21" fmla="*/ 187004 h 787671"/>
                <a:gd name="connsiteX22" fmla="*/ 44492 w 330797"/>
                <a:gd name="connsiteY22" fmla="*/ 187004 h 787671"/>
                <a:gd name="connsiteX23" fmla="*/ 165374 w 330797"/>
                <a:gd name="connsiteY23" fmla="*/ 37281 h 787671"/>
                <a:gd name="connsiteX24" fmla="*/ 286255 w 330797"/>
                <a:gd name="connsiteY24" fmla="*/ 187004 h 787671"/>
                <a:gd name="connsiteX25" fmla="*/ 240305 w 330797"/>
                <a:gd name="connsiteY25" fmla="*/ 187004 h 787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0797" h="787671">
                  <a:moveTo>
                    <a:pt x="327602" y="192400"/>
                  </a:moveTo>
                  <a:lnTo>
                    <a:pt x="176583" y="5358"/>
                  </a:lnTo>
                  <a:cubicBezTo>
                    <a:pt x="173829" y="1972"/>
                    <a:pt x="169737" y="0"/>
                    <a:pt x="165383" y="0"/>
                  </a:cubicBezTo>
                  <a:cubicBezTo>
                    <a:pt x="161030" y="0"/>
                    <a:pt x="156900" y="1972"/>
                    <a:pt x="154184" y="5358"/>
                  </a:cubicBezTo>
                  <a:lnTo>
                    <a:pt x="3193" y="192400"/>
                  </a:lnTo>
                  <a:cubicBezTo>
                    <a:pt x="-304" y="196716"/>
                    <a:pt x="-974" y="202669"/>
                    <a:pt x="1407" y="207655"/>
                  </a:cubicBezTo>
                  <a:cubicBezTo>
                    <a:pt x="3826" y="212641"/>
                    <a:pt x="8849" y="215841"/>
                    <a:pt x="14393" y="215841"/>
                  </a:cubicBezTo>
                  <a:lnTo>
                    <a:pt x="76045" y="215841"/>
                  </a:lnTo>
                  <a:lnTo>
                    <a:pt x="76045" y="773273"/>
                  </a:lnTo>
                  <a:cubicBezTo>
                    <a:pt x="76045" y="781198"/>
                    <a:pt x="82482" y="787672"/>
                    <a:pt x="90444" y="787672"/>
                  </a:cubicBezTo>
                  <a:lnTo>
                    <a:pt x="240311" y="787672"/>
                  </a:lnTo>
                  <a:cubicBezTo>
                    <a:pt x="248236" y="787672"/>
                    <a:pt x="254710" y="781235"/>
                    <a:pt x="254710" y="773273"/>
                  </a:cubicBezTo>
                  <a:lnTo>
                    <a:pt x="254710" y="215841"/>
                  </a:lnTo>
                  <a:lnTo>
                    <a:pt x="316399" y="215841"/>
                  </a:lnTo>
                  <a:cubicBezTo>
                    <a:pt x="321943" y="215841"/>
                    <a:pt x="326966" y="212641"/>
                    <a:pt x="329385" y="207655"/>
                  </a:cubicBezTo>
                  <a:cubicBezTo>
                    <a:pt x="331803" y="202633"/>
                    <a:pt x="331059" y="196717"/>
                    <a:pt x="327599" y="192400"/>
                  </a:cubicBezTo>
                  <a:close/>
                  <a:moveTo>
                    <a:pt x="240314" y="187042"/>
                  </a:moveTo>
                  <a:cubicBezTo>
                    <a:pt x="232388" y="187042"/>
                    <a:pt x="225915" y="193479"/>
                    <a:pt x="225915" y="201441"/>
                  </a:cubicBezTo>
                  <a:lnTo>
                    <a:pt x="225915" y="758873"/>
                  </a:lnTo>
                  <a:lnTo>
                    <a:pt x="104804" y="758873"/>
                  </a:lnTo>
                  <a:lnTo>
                    <a:pt x="104804" y="201403"/>
                  </a:lnTo>
                  <a:cubicBezTo>
                    <a:pt x="104804" y="193478"/>
                    <a:pt x="98367" y="187004"/>
                    <a:pt x="90405" y="187004"/>
                  </a:cubicBezTo>
                  <a:lnTo>
                    <a:pt x="44492" y="187004"/>
                  </a:lnTo>
                  <a:lnTo>
                    <a:pt x="165374" y="37281"/>
                  </a:lnTo>
                  <a:lnTo>
                    <a:pt x="286255" y="187004"/>
                  </a:lnTo>
                  <a:lnTo>
                    <a:pt x="240305" y="187004"/>
                  </a:lnTo>
                  <a:close/>
                </a:path>
              </a:pathLst>
            </a:custGeom>
            <a:grpFill/>
            <a:ln w="9525" cap="flat">
              <a:noFill/>
              <a:prstDash val="solid"/>
              <a:miter/>
            </a:ln>
          </p:spPr>
          <p:txBody>
            <a:bodyPr rtlCol="0" anchor="ctr"/>
            <a:lstStyle/>
            <a:p>
              <a:endParaRPr lang="en-IN"/>
            </a:p>
          </p:txBody>
        </p:sp>
      </p:grpSp>
      <p:grpSp>
        <p:nvGrpSpPr>
          <p:cNvPr id="103" name="Group 102">
            <a:extLst>
              <a:ext uri="{FF2B5EF4-FFF2-40B4-BE49-F238E27FC236}">
                <a16:creationId xmlns:a16="http://schemas.microsoft.com/office/drawing/2014/main" id="{FBF559FD-E8FF-7D4E-4565-CBD0CAF5F5C3}"/>
              </a:ext>
            </a:extLst>
          </p:cNvPr>
          <p:cNvGrpSpPr/>
          <p:nvPr/>
        </p:nvGrpSpPr>
        <p:grpSpPr>
          <a:xfrm>
            <a:off x="6756707" y="4476531"/>
            <a:ext cx="448774" cy="485829"/>
            <a:chOff x="5705189" y="2890792"/>
            <a:chExt cx="686317" cy="742987"/>
          </a:xfrm>
          <a:solidFill>
            <a:schemeClr val="bg1"/>
          </a:solidFill>
        </p:grpSpPr>
        <p:sp>
          <p:nvSpPr>
            <p:cNvPr id="95" name="Freeform: Shape 94">
              <a:extLst>
                <a:ext uri="{FF2B5EF4-FFF2-40B4-BE49-F238E27FC236}">
                  <a16:creationId xmlns:a16="http://schemas.microsoft.com/office/drawing/2014/main" id="{C280BD54-A701-4D2E-5DDF-1C432EC0DB59}"/>
                </a:ext>
              </a:extLst>
            </p:cNvPr>
            <p:cNvSpPr/>
            <p:nvPr/>
          </p:nvSpPr>
          <p:spPr>
            <a:xfrm>
              <a:off x="5874505" y="3501627"/>
              <a:ext cx="347703" cy="66526"/>
            </a:xfrm>
            <a:custGeom>
              <a:avLst/>
              <a:gdLst>
                <a:gd name="connsiteX0" fmla="*/ 340814 w 347703"/>
                <a:gd name="connsiteY0" fmla="*/ 0 h 66526"/>
                <a:gd name="connsiteX1" fmla="*/ 333930 w 347703"/>
                <a:gd name="connsiteY1" fmla="*/ 6883 h 66526"/>
                <a:gd name="connsiteX2" fmla="*/ 333930 w 347703"/>
                <a:gd name="connsiteY2" fmla="*/ 52760 h 66526"/>
                <a:gd name="connsiteX3" fmla="*/ 13767 w 347703"/>
                <a:gd name="connsiteY3" fmla="*/ 52760 h 66526"/>
                <a:gd name="connsiteX4" fmla="*/ 13767 w 347703"/>
                <a:gd name="connsiteY4" fmla="*/ 6883 h 66526"/>
                <a:gd name="connsiteX5" fmla="*/ 6883 w 347703"/>
                <a:gd name="connsiteY5" fmla="*/ 0 h 66526"/>
                <a:gd name="connsiteX6" fmla="*/ 0 w 347703"/>
                <a:gd name="connsiteY6" fmla="*/ 6883 h 66526"/>
                <a:gd name="connsiteX7" fmla="*/ 0 w 347703"/>
                <a:gd name="connsiteY7" fmla="*/ 59643 h 66526"/>
                <a:gd name="connsiteX8" fmla="*/ 6883 w 347703"/>
                <a:gd name="connsiteY8" fmla="*/ 66527 h 66526"/>
                <a:gd name="connsiteX9" fmla="*/ 340820 w 347703"/>
                <a:gd name="connsiteY9" fmla="*/ 66527 h 66526"/>
                <a:gd name="connsiteX10" fmla="*/ 347704 w 347703"/>
                <a:gd name="connsiteY10" fmla="*/ 59643 h 66526"/>
                <a:gd name="connsiteX11" fmla="*/ 347704 w 347703"/>
                <a:gd name="connsiteY11" fmla="*/ 6883 h 66526"/>
                <a:gd name="connsiteX12" fmla="*/ 340820 w 347703"/>
                <a:gd name="connsiteY12" fmla="*/ 0 h 6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703" h="66526">
                  <a:moveTo>
                    <a:pt x="340814" y="0"/>
                  </a:moveTo>
                  <a:cubicBezTo>
                    <a:pt x="337019" y="0"/>
                    <a:pt x="333930" y="3088"/>
                    <a:pt x="333930" y="6883"/>
                  </a:cubicBezTo>
                  <a:lnTo>
                    <a:pt x="333930" y="52760"/>
                  </a:lnTo>
                  <a:lnTo>
                    <a:pt x="13767" y="52760"/>
                  </a:lnTo>
                  <a:lnTo>
                    <a:pt x="13767" y="6883"/>
                  </a:lnTo>
                  <a:cubicBezTo>
                    <a:pt x="13767" y="3088"/>
                    <a:pt x="10678" y="0"/>
                    <a:pt x="6883" y="0"/>
                  </a:cubicBezTo>
                  <a:cubicBezTo>
                    <a:pt x="3088" y="0"/>
                    <a:pt x="0" y="3088"/>
                    <a:pt x="0" y="6883"/>
                  </a:cubicBezTo>
                  <a:lnTo>
                    <a:pt x="0" y="59643"/>
                  </a:lnTo>
                  <a:cubicBezTo>
                    <a:pt x="0" y="63438"/>
                    <a:pt x="3088" y="66527"/>
                    <a:pt x="6883" y="66527"/>
                  </a:cubicBezTo>
                  <a:lnTo>
                    <a:pt x="340820" y="66527"/>
                  </a:lnTo>
                  <a:cubicBezTo>
                    <a:pt x="344615" y="66527"/>
                    <a:pt x="347704" y="63438"/>
                    <a:pt x="347704" y="59643"/>
                  </a:cubicBezTo>
                  <a:lnTo>
                    <a:pt x="347704" y="6883"/>
                  </a:lnTo>
                  <a:cubicBezTo>
                    <a:pt x="347704" y="3088"/>
                    <a:pt x="344615" y="0"/>
                    <a:pt x="340820" y="0"/>
                  </a:cubicBezTo>
                  <a:close/>
                </a:path>
              </a:pathLst>
            </a:custGeom>
            <a:grpFill/>
            <a:ln w="3175" cap="flat">
              <a:solidFill>
                <a:schemeClr val="bg1"/>
              </a:solidFill>
              <a:prstDash val="solid"/>
              <a:miter/>
            </a:ln>
          </p:spPr>
          <p:txBody>
            <a:bodyPr rtlCol="0" anchor="ctr"/>
            <a:lstStyle/>
            <a:p>
              <a:endParaRPr lang="en-IN"/>
            </a:p>
          </p:txBody>
        </p:sp>
        <p:sp>
          <p:nvSpPr>
            <p:cNvPr id="96" name="Freeform: Shape 95">
              <a:extLst>
                <a:ext uri="{FF2B5EF4-FFF2-40B4-BE49-F238E27FC236}">
                  <a16:creationId xmlns:a16="http://schemas.microsoft.com/office/drawing/2014/main" id="{C915088D-A2AD-6E9F-5150-26C582C7D979}"/>
                </a:ext>
              </a:extLst>
            </p:cNvPr>
            <p:cNvSpPr/>
            <p:nvPr/>
          </p:nvSpPr>
          <p:spPr>
            <a:xfrm>
              <a:off x="5902006" y="3240056"/>
              <a:ext cx="292790" cy="283447"/>
            </a:xfrm>
            <a:custGeom>
              <a:avLst/>
              <a:gdLst>
                <a:gd name="connsiteX0" fmla="*/ 6846 w 292790"/>
                <a:gd name="connsiteY0" fmla="*/ 163978 h 283447"/>
                <a:gd name="connsiteX1" fmla="*/ 69652 w 292790"/>
                <a:gd name="connsiteY1" fmla="*/ 163978 h 283447"/>
                <a:gd name="connsiteX2" fmla="*/ 69652 w 292790"/>
                <a:gd name="connsiteY2" fmla="*/ 276564 h 283447"/>
                <a:gd name="connsiteX3" fmla="*/ 76535 w 292790"/>
                <a:gd name="connsiteY3" fmla="*/ 283447 h 283447"/>
                <a:gd name="connsiteX4" fmla="*/ 216210 w 292790"/>
                <a:gd name="connsiteY4" fmla="*/ 283447 h 283447"/>
                <a:gd name="connsiteX5" fmla="*/ 223093 w 292790"/>
                <a:gd name="connsiteY5" fmla="*/ 276564 h 283447"/>
                <a:gd name="connsiteX6" fmla="*/ 223093 w 292790"/>
                <a:gd name="connsiteY6" fmla="*/ 163978 h 283447"/>
                <a:gd name="connsiteX7" fmla="*/ 285899 w 292790"/>
                <a:gd name="connsiteY7" fmla="*/ 163978 h 283447"/>
                <a:gd name="connsiteX8" fmla="*/ 292224 w 292790"/>
                <a:gd name="connsiteY8" fmla="*/ 159848 h 283447"/>
                <a:gd name="connsiteX9" fmla="*/ 290959 w 292790"/>
                <a:gd name="connsiteY9" fmla="*/ 152407 h 283447"/>
                <a:gd name="connsiteX10" fmla="*/ 151437 w 292790"/>
                <a:gd name="connsiteY10" fmla="*/ 2093 h 283447"/>
                <a:gd name="connsiteX11" fmla="*/ 141354 w 292790"/>
                <a:gd name="connsiteY11" fmla="*/ 2093 h 283447"/>
                <a:gd name="connsiteX12" fmla="*/ 1832 w 292790"/>
                <a:gd name="connsiteY12" fmla="*/ 152407 h 283447"/>
                <a:gd name="connsiteX13" fmla="*/ 567 w 292790"/>
                <a:gd name="connsiteY13" fmla="*/ 159848 h 283447"/>
                <a:gd name="connsiteX14" fmla="*/ 6892 w 292790"/>
                <a:gd name="connsiteY14" fmla="*/ 163978 h 283447"/>
                <a:gd name="connsiteX15" fmla="*/ 146368 w 292790"/>
                <a:gd name="connsiteY15" fmla="*/ 16903 h 283447"/>
                <a:gd name="connsiteX16" fmla="*/ 270117 w 292790"/>
                <a:gd name="connsiteY16" fmla="*/ 150215 h 283447"/>
                <a:gd name="connsiteX17" fmla="*/ 216204 w 292790"/>
                <a:gd name="connsiteY17" fmla="*/ 150215 h 283447"/>
                <a:gd name="connsiteX18" fmla="*/ 209320 w 292790"/>
                <a:gd name="connsiteY18" fmla="*/ 157098 h 283447"/>
                <a:gd name="connsiteX19" fmla="*/ 209320 w 292790"/>
                <a:gd name="connsiteY19" fmla="*/ 269684 h 283447"/>
                <a:gd name="connsiteX20" fmla="*/ 83409 w 292790"/>
                <a:gd name="connsiteY20" fmla="*/ 269684 h 283447"/>
                <a:gd name="connsiteX21" fmla="*/ 83409 w 292790"/>
                <a:gd name="connsiteY21" fmla="*/ 157098 h 283447"/>
                <a:gd name="connsiteX22" fmla="*/ 76526 w 292790"/>
                <a:gd name="connsiteY22" fmla="*/ 150215 h 283447"/>
                <a:gd name="connsiteX23" fmla="*/ 22612 w 292790"/>
                <a:gd name="connsiteY23" fmla="*/ 150215 h 28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2790" h="283447">
                  <a:moveTo>
                    <a:pt x="6846" y="163978"/>
                  </a:moveTo>
                  <a:lnTo>
                    <a:pt x="69652" y="163978"/>
                  </a:lnTo>
                  <a:lnTo>
                    <a:pt x="69652" y="276564"/>
                  </a:lnTo>
                  <a:cubicBezTo>
                    <a:pt x="69652" y="280359"/>
                    <a:pt x="72740" y="283447"/>
                    <a:pt x="76535" y="283447"/>
                  </a:cubicBezTo>
                  <a:lnTo>
                    <a:pt x="216210" y="283447"/>
                  </a:lnTo>
                  <a:cubicBezTo>
                    <a:pt x="220005" y="283447"/>
                    <a:pt x="223093" y="280359"/>
                    <a:pt x="223093" y="276564"/>
                  </a:cubicBezTo>
                  <a:lnTo>
                    <a:pt x="223093" y="163978"/>
                  </a:lnTo>
                  <a:lnTo>
                    <a:pt x="285899" y="163978"/>
                  </a:lnTo>
                  <a:cubicBezTo>
                    <a:pt x="288652" y="163978"/>
                    <a:pt x="291108" y="162341"/>
                    <a:pt x="292224" y="159848"/>
                  </a:cubicBezTo>
                  <a:cubicBezTo>
                    <a:pt x="293303" y="157355"/>
                    <a:pt x="292820" y="154416"/>
                    <a:pt x="290959" y="152407"/>
                  </a:cubicBezTo>
                  <a:lnTo>
                    <a:pt x="151437" y="2093"/>
                  </a:lnTo>
                  <a:cubicBezTo>
                    <a:pt x="148833" y="-698"/>
                    <a:pt x="143958" y="-698"/>
                    <a:pt x="141354" y="2093"/>
                  </a:cubicBezTo>
                  <a:lnTo>
                    <a:pt x="1832" y="152407"/>
                  </a:lnTo>
                  <a:cubicBezTo>
                    <a:pt x="-29" y="154416"/>
                    <a:pt x="-512" y="157318"/>
                    <a:pt x="567" y="159848"/>
                  </a:cubicBezTo>
                  <a:cubicBezTo>
                    <a:pt x="1646" y="162341"/>
                    <a:pt x="4139" y="163978"/>
                    <a:pt x="6892" y="163978"/>
                  </a:cubicBezTo>
                  <a:close/>
                  <a:moveTo>
                    <a:pt x="146368" y="16903"/>
                  </a:moveTo>
                  <a:lnTo>
                    <a:pt x="270117" y="150215"/>
                  </a:lnTo>
                  <a:lnTo>
                    <a:pt x="216204" y="150215"/>
                  </a:lnTo>
                  <a:cubicBezTo>
                    <a:pt x="212408" y="150215"/>
                    <a:pt x="209320" y="153303"/>
                    <a:pt x="209320" y="157098"/>
                  </a:cubicBezTo>
                  <a:lnTo>
                    <a:pt x="209320" y="269684"/>
                  </a:lnTo>
                  <a:lnTo>
                    <a:pt x="83409" y="269684"/>
                  </a:lnTo>
                  <a:lnTo>
                    <a:pt x="83409" y="157098"/>
                  </a:lnTo>
                  <a:cubicBezTo>
                    <a:pt x="83409" y="153303"/>
                    <a:pt x="80321" y="150215"/>
                    <a:pt x="76526" y="150215"/>
                  </a:cubicBezTo>
                  <a:lnTo>
                    <a:pt x="22612" y="150215"/>
                  </a:lnTo>
                  <a:close/>
                </a:path>
              </a:pathLst>
            </a:custGeom>
            <a:grpFill/>
            <a:ln w="3175" cap="flat">
              <a:solidFill>
                <a:schemeClr val="bg1"/>
              </a:solidFill>
              <a:prstDash val="solid"/>
              <a:miter/>
            </a:ln>
          </p:spPr>
          <p:txBody>
            <a:bodyPr rtlCol="0" anchor="ctr"/>
            <a:lstStyle/>
            <a:p>
              <a:endParaRPr lang="en-IN"/>
            </a:p>
          </p:txBody>
        </p:sp>
        <p:sp>
          <p:nvSpPr>
            <p:cNvPr id="97" name="Freeform: Shape 96">
              <a:extLst>
                <a:ext uri="{FF2B5EF4-FFF2-40B4-BE49-F238E27FC236}">
                  <a16:creationId xmlns:a16="http://schemas.microsoft.com/office/drawing/2014/main" id="{29A639D0-AB1A-CFCE-9E54-1071940F9E9F}"/>
                </a:ext>
              </a:extLst>
            </p:cNvPr>
            <p:cNvSpPr/>
            <p:nvPr/>
          </p:nvSpPr>
          <p:spPr>
            <a:xfrm>
              <a:off x="6025899" y="2972768"/>
              <a:ext cx="176691" cy="13766"/>
            </a:xfrm>
            <a:custGeom>
              <a:avLst/>
              <a:gdLst>
                <a:gd name="connsiteX0" fmla="*/ 6883 w 176691"/>
                <a:gd name="connsiteY0" fmla="*/ 13767 h 13766"/>
                <a:gd name="connsiteX1" fmla="*/ 169809 w 176691"/>
                <a:gd name="connsiteY1" fmla="*/ 13767 h 13766"/>
                <a:gd name="connsiteX2" fmla="*/ 176692 w 176691"/>
                <a:gd name="connsiteY2" fmla="*/ 6883 h 13766"/>
                <a:gd name="connsiteX3" fmla="*/ 169809 w 176691"/>
                <a:gd name="connsiteY3" fmla="*/ 0 h 13766"/>
                <a:gd name="connsiteX4" fmla="*/ 6883 w 176691"/>
                <a:gd name="connsiteY4" fmla="*/ 0 h 13766"/>
                <a:gd name="connsiteX5" fmla="*/ 0 w 176691"/>
                <a:gd name="connsiteY5" fmla="*/ 6883 h 13766"/>
                <a:gd name="connsiteX6" fmla="*/ 6883 w 176691"/>
                <a:gd name="connsiteY6"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91" h="13766">
                  <a:moveTo>
                    <a:pt x="6883" y="13767"/>
                  </a:moveTo>
                  <a:lnTo>
                    <a:pt x="169809" y="13767"/>
                  </a:lnTo>
                  <a:cubicBezTo>
                    <a:pt x="173604" y="13767"/>
                    <a:pt x="176692" y="10678"/>
                    <a:pt x="176692" y="6883"/>
                  </a:cubicBezTo>
                  <a:cubicBezTo>
                    <a:pt x="176692" y="3088"/>
                    <a:pt x="173604" y="0"/>
                    <a:pt x="169809" y="0"/>
                  </a:cubicBezTo>
                  <a:lnTo>
                    <a:pt x="6883" y="0"/>
                  </a:lnTo>
                  <a:cubicBezTo>
                    <a:pt x="3088" y="0"/>
                    <a:pt x="0" y="3088"/>
                    <a:pt x="0" y="6883"/>
                  </a:cubicBezTo>
                  <a:cubicBezTo>
                    <a:pt x="0" y="10678"/>
                    <a:pt x="3088" y="13767"/>
                    <a:pt x="6883" y="13767"/>
                  </a:cubicBezTo>
                  <a:close/>
                </a:path>
              </a:pathLst>
            </a:custGeom>
            <a:grpFill/>
            <a:ln w="3175" cap="flat">
              <a:solidFill>
                <a:schemeClr val="bg1"/>
              </a:solidFill>
              <a:prstDash val="solid"/>
              <a:miter/>
            </a:ln>
          </p:spPr>
          <p:txBody>
            <a:bodyPr rtlCol="0" anchor="ctr"/>
            <a:lstStyle/>
            <a:p>
              <a:endParaRPr lang="en-IN"/>
            </a:p>
          </p:txBody>
        </p:sp>
        <p:sp>
          <p:nvSpPr>
            <p:cNvPr id="98" name="Freeform: Shape 97">
              <a:extLst>
                <a:ext uri="{FF2B5EF4-FFF2-40B4-BE49-F238E27FC236}">
                  <a16:creationId xmlns:a16="http://schemas.microsoft.com/office/drawing/2014/main" id="{87369AD0-FAE9-1139-35BE-6369B6020744}"/>
                </a:ext>
              </a:extLst>
            </p:cNvPr>
            <p:cNvSpPr/>
            <p:nvPr/>
          </p:nvSpPr>
          <p:spPr>
            <a:xfrm>
              <a:off x="6025899" y="3045615"/>
              <a:ext cx="176691" cy="13766"/>
            </a:xfrm>
            <a:custGeom>
              <a:avLst/>
              <a:gdLst>
                <a:gd name="connsiteX0" fmla="*/ 6883 w 176691"/>
                <a:gd name="connsiteY0" fmla="*/ 13767 h 13766"/>
                <a:gd name="connsiteX1" fmla="*/ 169809 w 176691"/>
                <a:gd name="connsiteY1" fmla="*/ 13767 h 13766"/>
                <a:gd name="connsiteX2" fmla="*/ 176692 w 176691"/>
                <a:gd name="connsiteY2" fmla="*/ 6883 h 13766"/>
                <a:gd name="connsiteX3" fmla="*/ 169809 w 176691"/>
                <a:gd name="connsiteY3" fmla="*/ 0 h 13766"/>
                <a:gd name="connsiteX4" fmla="*/ 6883 w 176691"/>
                <a:gd name="connsiteY4" fmla="*/ 0 h 13766"/>
                <a:gd name="connsiteX5" fmla="*/ 0 w 176691"/>
                <a:gd name="connsiteY5" fmla="*/ 6883 h 13766"/>
                <a:gd name="connsiteX6" fmla="*/ 6883 w 176691"/>
                <a:gd name="connsiteY6"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91" h="13766">
                  <a:moveTo>
                    <a:pt x="6883" y="13767"/>
                  </a:moveTo>
                  <a:lnTo>
                    <a:pt x="169809" y="13767"/>
                  </a:lnTo>
                  <a:cubicBezTo>
                    <a:pt x="173604" y="13767"/>
                    <a:pt x="176692" y="10678"/>
                    <a:pt x="176692" y="6883"/>
                  </a:cubicBezTo>
                  <a:cubicBezTo>
                    <a:pt x="176692" y="3088"/>
                    <a:pt x="173604" y="0"/>
                    <a:pt x="169809" y="0"/>
                  </a:cubicBezTo>
                  <a:lnTo>
                    <a:pt x="6883" y="0"/>
                  </a:lnTo>
                  <a:cubicBezTo>
                    <a:pt x="3088" y="0"/>
                    <a:pt x="0" y="3088"/>
                    <a:pt x="0" y="6883"/>
                  </a:cubicBezTo>
                  <a:cubicBezTo>
                    <a:pt x="0" y="10678"/>
                    <a:pt x="3088" y="13767"/>
                    <a:pt x="6883" y="13767"/>
                  </a:cubicBezTo>
                  <a:close/>
                </a:path>
              </a:pathLst>
            </a:custGeom>
            <a:grpFill/>
            <a:ln w="3175" cap="flat">
              <a:solidFill>
                <a:schemeClr val="bg1"/>
              </a:solidFill>
              <a:prstDash val="solid"/>
              <a:miter/>
            </a:ln>
          </p:spPr>
          <p:txBody>
            <a:bodyPr rtlCol="0" anchor="ctr"/>
            <a:lstStyle/>
            <a:p>
              <a:endParaRPr lang="en-IN"/>
            </a:p>
          </p:txBody>
        </p:sp>
        <p:sp>
          <p:nvSpPr>
            <p:cNvPr id="99" name="Freeform: Shape 98">
              <a:extLst>
                <a:ext uri="{FF2B5EF4-FFF2-40B4-BE49-F238E27FC236}">
                  <a16:creationId xmlns:a16="http://schemas.microsoft.com/office/drawing/2014/main" id="{D4C69CB3-8D50-D731-9558-D94B1369CD92}"/>
                </a:ext>
              </a:extLst>
            </p:cNvPr>
            <p:cNvSpPr/>
            <p:nvPr/>
          </p:nvSpPr>
          <p:spPr>
            <a:xfrm>
              <a:off x="6025899" y="3118471"/>
              <a:ext cx="176691" cy="13766"/>
            </a:xfrm>
            <a:custGeom>
              <a:avLst/>
              <a:gdLst>
                <a:gd name="connsiteX0" fmla="*/ 6883 w 176691"/>
                <a:gd name="connsiteY0" fmla="*/ 13767 h 13766"/>
                <a:gd name="connsiteX1" fmla="*/ 169809 w 176691"/>
                <a:gd name="connsiteY1" fmla="*/ 13767 h 13766"/>
                <a:gd name="connsiteX2" fmla="*/ 176692 w 176691"/>
                <a:gd name="connsiteY2" fmla="*/ 6883 h 13766"/>
                <a:gd name="connsiteX3" fmla="*/ 169809 w 176691"/>
                <a:gd name="connsiteY3" fmla="*/ 0 h 13766"/>
                <a:gd name="connsiteX4" fmla="*/ 6883 w 176691"/>
                <a:gd name="connsiteY4" fmla="*/ 0 h 13766"/>
                <a:gd name="connsiteX5" fmla="*/ 0 w 176691"/>
                <a:gd name="connsiteY5" fmla="*/ 6883 h 13766"/>
                <a:gd name="connsiteX6" fmla="*/ 6883 w 176691"/>
                <a:gd name="connsiteY6"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91" h="13766">
                  <a:moveTo>
                    <a:pt x="6883" y="13767"/>
                  </a:moveTo>
                  <a:lnTo>
                    <a:pt x="169809" y="13767"/>
                  </a:lnTo>
                  <a:cubicBezTo>
                    <a:pt x="173604" y="13767"/>
                    <a:pt x="176692" y="10678"/>
                    <a:pt x="176692" y="6883"/>
                  </a:cubicBezTo>
                  <a:cubicBezTo>
                    <a:pt x="176692" y="3088"/>
                    <a:pt x="173604" y="0"/>
                    <a:pt x="169809" y="0"/>
                  </a:cubicBezTo>
                  <a:lnTo>
                    <a:pt x="6883" y="0"/>
                  </a:lnTo>
                  <a:cubicBezTo>
                    <a:pt x="3088" y="0"/>
                    <a:pt x="0" y="3088"/>
                    <a:pt x="0" y="6883"/>
                  </a:cubicBezTo>
                  <a:cubicBezTo>
                    <a:pt x="0" y="10678"/>
                    <a:pt x="3088" y="13767"/>
                    <a:pt x="6883" y="13767"/>
                  </a:cubicBezTo>
                  <a:close/>
                </a:path>
              </a:pathLst>
            </a:custGeom>
            <a:grpFill/>
            <a:ln w="3175" cap="flat">
              <a:solidFill>
                <a:schemeClr val="bg1"/>
              </a:solidFill>
              <a:prstDash val="solid"/>
              <a:miter/>
            </a:ln>
          </p:spPr>
          <p:txBody>
            <a:bodyPr rtlCol="0" anchor="ctr"/>
            <a:lstStyle/>
            <a:p>
              <a:endParaRPr lang="en-IN"/>
            </a:p>
          </p:txBody>
        </p:sp>
        <p:sp>
          <p:nvSpPr>
            <p:cNvPr id="100" name="Freeform: Shape 99">
              <a:extLst>
                <a:ext uri="{FF2B5EF4-FFF2-40B4-BE49-F238E27FC236}">
                  <a16:creationId xmlns:a16="http://schemas.microsoft.com/office/drawing/2014/main" id="{070944E7-DF68-CCD4-AB14-86CF39FBF629}"/>
                </a:ext>
              </a:extLst>
            </p:cNvPr>
            <p:cNvSpPr/>
            <p:nvPr/>
          </p:nvSpPr>
          <p:spPr>
            <a:xfrm>
              <a:off x="5705189" y="2890792"/>
              <a:ext cx="686317" cy="742987"/>
            </a:xfrm>
            <a:custGeom>
              <a:avLst/>
              <a:gdLst>
                <a:gd name="connsiteX0" fmla="*/ 679466 w 686317"/>
                <a:gd name="connsiteY0" fmla="*/ 293567 h 742987"/>
                <a:gd name="connsiteX1" fmla="*/ 619228 w 686317"/>
                <a:gd name="connsiteY1" fmla="*/ 293567 h 742987"/>
                <a:gd name="connsiteX2" fmla="*/ 619228 w 686317"/>
                <a:gd name="connsiteY2" fmla="*/ 6883 h 742987"/>
                <a:gd name="connsiteX3" fmla="*/ 612345 w 686317"/>
                <a:gd name="connsiteY3" fmla="*/ 0 h 742987"/>
                <a:gd name="connsiteX4" fmla="*/ 245003 w 686317"/>
                <a:gd name="connsiteY4" fmla="*/ 0 h 742987"/>
                <a:gd name="connsiteX5" fmla="*/ 241915 w 686317"/>
                <a:gd name="connsiteY5" fmla="*/ 744 h 742987"/>
                <a:gd name="connsiteX6" fmla="*/ 241617 w 686317"/>
                <a:gd name="connsiteY6" fmla="*/ 893 h 742987"/>
                <a:gd name="connsiteX7" fmla="*/ 240092 w 686317"/>
                <a:gd name="connsiteY7" fmla="*/ 2009 h 742987"/>
                <a:gd name="connsiteX8" fmla="*/ 138184 w 686317"/>
                <a:gd name="connsiteY8" fmla="*/ 103917 h 742987"/>
                <a:gd name="connsiteX9" fmla="*/ 137068 w 686317"/>
                <a:gd name="connsiteY9" fmla="*/ 105443 h 742987"/>
                <a:gd name="connsiteX10" fmla="*/ 136882 w 686317"/>
                <a:gd name="connsiteY10" fmla="*/ 105740 h 742987"/>
                <a:gd name="connsiteX11" fmla="*/ 136138 w 686317"/>
                <a:gd name="connsiteY11" fmla="*/ 108791 h 742987"/>
                <a:gd name="connsiteX12" fmla="*/ 136138 w 686317"/>
                <a:gd name="connsiteY12" fmla="*/ 227635 h 742987"/>
                <a:gd name="connsiteX13" fmla="*/ 6883 w 686317"/>
                <a:gd name="connsiteY13" fmla="*/ 227635 h 742987"/>
                <a:gd name="connsiteX14" fmla="*/ 0 w 686317"/>
                <a:gd name="connsiteY14" fmla="*/ 234518 h 742987"/>
                <a:gd name="connsiteX15" fmla="*/ 0 w 686317"/>
                <a:gd name="connsiteY15" fmla="*/ 736105 h 742987"/>
                <a:gd name="connsiteX16" fmla="*/ 6883 w 686317"/>
                <a:gd name="connsiteY16" fmla="*/ 742988 h 742987"/>
                <a:gd name="connsiteX17" fmla="*/ 679434 w 686317"/>
                <a:gd name="connsiteY17" fmla="*/ 742988 h 742987"/>
                <a:gd name="connsiteX18" fmla="*/ 686317 w 686317"/>
                <a:gd name="connsiteY18" fmla="*/ 736105 h 742987"/>
                <a:gd name="connsiteX19" fmla="*/ 686317 w 686317"/>
                <a:gd name="connsiteY19" fmla="*/ 300412 h 742987"/>
                <a:gd name="connsiteX20" fmla="*/ 679434 w 686317"/>
                <a:gd name="connsiteY20" fmla="*/ 293529 h 742987"/>
                <a:gd name="connsiteX21" fmla="*/ 238115 w 686317"/>
                <a:gd name="connsiteY21" fmla="*/ 101952 h 742987"/>
                <a:gd name="connsiteX22" fmla="*/ 159683 w 686317"/>
                <a:gd name="connsiteY22" fmla="*/ 101952 h 742987"/>
                <a:gd name="connsiteX23" fmla="*/ 238115 w 686317"/>
                <a:gd name="connsiteY23" fmla="*/ 23520 h 742987"/>
                <a:gd name="connsiteX24" fmla="*/ 149935 w 686317"/>
                <a:gd name="connsiteY24" fmla="*/ 115719 h 742987"/>
                <a:gd name="connsiteX25" fmla="*/ 244999 w 686317"/>
                <a:gd name="connsiteY25" fmla="*/ 115719 h 742987"/>
                <a:gd name="connsiteX26" fmla="*/ 251882 w 686317"/>
                <a:gd name="connsiteY26" fmla="*/ 108836 h 742987"/>
                <a:gd name="connsiteX27" fmla="*/ 251882 w 686317"/>
                <a:gd name="connsiteY27" fmla="*/ 13771 h 742987"/>
                <a:gd name="connsiteX28" fmla="*/ 605460 w 686317"/>
                <a:gd name="connsiteY28" fmla="*/ 13771 h 742987"/>
                <a:gd name="connsiteX29" fmla="*/ 605460 w 686317"/>
                <a:gd name="connsiteY29" fmla="*/ 293568 h 742987"/>
                <a:gd name="connsiteX30" fmla="*/ 265017 w 686317"/>
                <a:gd name="connsiteY30" fmla="*/ 293568 h 742987"/>
                <a:gd name="connsiteX31" fmla="*/ 220220 w 686317"/>
                <a:gd name="connsiteY31" fmla="*/ 230576 h 742987"/>
                <a:gd name="connsiteX32" fmla="*/ 214602 w 686317"/>
                <a:gd name="connsiteY32" fmla="*/ 227674 h 742987"/>
                <a:gd name="connsiteX33" fmla="*/ 149899 w 686317"/>
                <a:gd name="connsiteY33" fmla="*/ 227674 h 742987"/>
                <a:gd name="connsiteX34" fmla="*/ 149899 w 686317"/>
                <a:gd name="connsiteY34" fmla="*/ 115717 h 742987"/>
                <a:gd name="connsiteX35" fmla="*/ 672581 w 686317"/>
                <a:gd name="connsiteY35" fmla="*/ 729262 h 742987"/>
                <a:gd name="connsiteX36" fmla="*/ 13794 w 686317"/>
                <a:gd name="connsiteY36" fmla="*/ 729262 h 742987"/>
                <a:gd name="connsiteX37" fmla="*/ 13794 w 686317"/>
                <a:gd name="connsiteY37" fmla="*/ 241439 h 742987"/>
                <a:gd name="connsiteX38" fmla="*/ 211104 w 686317"/>
                <a:gd name="connsiteY38" fmla="*/ 241439 h 742987"/>
                <a:gd name="connsiteX39" fmla="*/ 255901 w 686317"/>
                <a:gd name="connsiteY39" fmla="*/ 304431 h 742987"/>
                <a:gd name="connsiteX40" fmla="*/ 261520 w 686317"/>
                <a:gd name="connsiteY40" fmla="*/ 307333 h 742987"/>
                <a:gd name="connsiteX41" fmla="*/ 672619 w 686317"/>
                <a:gd name="connsiteY41" fmla="*/ 307333 h 742987"/>
                <a:gd name="connsiteX42" fmla="*/ 672619 w 686317"/>
                <a:gd name="connsiteY42" fmla="*/ 729262 h 74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86317" h="742987">
                  <a:moveTo>
                    <a:pt x="679466" y="293567"/>
                  </a:moveTo>
                  <a:lnTo>
                    <a:pt x="619228" y="293567"/>
                  </a:lnTo>
                  <a:lnTo>
                    <a:pt x="619228" y="6883"/>
                  </a:lnTo>
                  <a:cubicBezTo>
                    <a:pt x="619228" y="3088"/>
                    <a:pt x="616140" y="0"/>
                    <a:pt x="612345" y="0"/>
                  </a:cubicBezTo>
                  <a:lnTo>
                    <a:pt x="245003" y="0"/>
                  </a:lnTo>
                  <a:cubicBezTo>
                    <a:pt x="243887" y="0"/>
                    <a:pt x="242845" y="298"/>
                    <a:pt x="241915" y="744"/>
                  </a:cubicBezTo>
                  <a:cubicBezTo>
                    <a:pt x="241804" y="781"/>
                    <a:pt x="241729" y="856"/>
                    <a:pt x="241617" y="893"/>
                  </a:cubicBezTo>
                  <a:cubicBezTo>
                    <a:pt x="241059" y="1191"/>
                    <a:pt x="240538" y="1563"/>
                    <a:pt x="240092" y="2009"/>
                  </a:cubicBezTo>
                  <a:lnTo>
                    <a:pt x="138184" y="103917"/>
                  </a:lnTo>
                  <a:cubicBezTo>
                    <a:pt x="137738" y="104364"/>
                    <a:pt x="137365" y="104885"/>
                    <a:pt x="137068" y="105443"/>
                  </a:cubicBezTo>
                  <a:cubicBezTo>
                    <a:pt x="136993" y="105554"/>
                    <a:pt x="136956" y="105666"/>
                    <a:pt x="136882" y="105740"/>
                  </a:cubicBezTo>
                  <a:cubicBezTo>
                    <a:pt x="136435" y="106671"/>
                    <a:pt x="136138" y="107712"/>
                    <a:pt x="136138" y="108791"/>
                  </a:cubicBezTo>
                  <a:lnTo>
                    <a:pt x="136138" y="227635"/>
                  </a:lnTo>
                  <a:lnTo>
                    <a:pt x="6883" y="227635"/>
                  </a:lnTo>
                  <a:cubicBezTo>
                    <a:pt x="3088" y="227635"/>
                    <a:pt x="0" y="230723"/>
                    <a:pt x="0" y="234518"/>
                  </a:cubicBezTo>
                  <a:lnTo>
                    <a:pt x="0" y="736105"/>
                  </a:lnTo>
                  <a:cubicBezTo>
                    <a:pt x="0" y="739900"/>
                    <a:pt x="3088" y="742988"/>
                    <a:pt x="6883" y="742988"/>
                  </a:cubicBezTo>
                  <a:lnTo>
                    <a:pt x="679434" y="742988"/>
                  </a:lnTo>
                  <a:cubicBezTo>
                    <a:pt x="683229" y="742988"/>
                    <a:pt x="686317" y="739900"/>
                    <a:pt x="686317" y="736105"/>
                  </a:cubicBezTo>
                  <a:lnTo>
                    <a:pt x="686317" y="300412"/>
                  </a:lnTo>
                  <a:cubicBezTo>
                    <a:pt x="686317" y="296617"/>
                    <a:pt x="683229" y="293529"/>
                    <a:pt x="679434" y="293529"/>
                  </a:cubicBezTo>
                  <a:close/>
                  <a:moveTo>
                    <a:pt x="238115" y="101952"/>
                  </a:moveTo>
                  <a:lnTo>
                    <a:pt x="159683" y="101952"/>
                  </a:lnTo>
                  <a:lnTo>
                    <a:pt x="238115" y="23520"/>
                  </a:lnTo>
                  <a:close/>
                  <a:moveTo>
                    <a:pt x="149935" y="115719"/>
                  </a:moveTo>
                  <a:lnTo>
                    <a:pt x="244999" y="115719"/>
                  </a:lnTo>
                  <a:cubicBezTo>
                    <a:pt x="248794" y="115719"/>
                    <a:pt x="251882" y="112631"/>
                    <a:pt x="251882" y="108836"/>
                  </a:cubicBezTo>
                  <a:lnTo>
                    <a:pt x="251882" y="13771"/>
                  </a:lnTo>
                  <a:lnTo>
                    <a:pt x="605460" y="13771"/>
                  </a:lnTo>
                  <a:lnTo>
                    <a:pt x="605460" y="293568"/>
                  </a:lnTo>
                  <a:lnTo>
                    <a:pt x="265017" y="293568"/>
                  </a:lnTo>
                  <a:lnTo>
                    <a:pt x="220220" y="230576"/>
                  </a:lnTo>
                  <a:cubicBezTo>
                    <a:pt x="218918" y="228753"/>
                    <a:pt x="216835" y="227674"/>
                    <a:pt x="214602" y="227674"/>
                  </a:cubicBezTo>
                  <a:lnTo>
                    <a:pt x="149899" y="227674"/>
                  </a:lnTo>
                  <a:lnTo>
                    <a:pt x="149899" y="115717"/>
                  </a:lnTo>
                  <a:close/>
                  <a:moveTo>
                    <a:pt x="672581" y="729262"/>
                  </a:moveTo>
                  <a:lnTo>
                    <a:pt x="13794" y="729262"/>
                  </a:lnTo>
                  <a:lnTo>
                    <a:pt x="13794" y="241439"/>
                  </a:lnTo>
                  <a:lnTo>
                    <a:pt x="211104" y="241439"/>
                  </a:lnTo>
                  <a:lnTo>
                    <a:pt x="255901" y="304431"/>
                  </a:lnTo>
                  <a:cubicBezTo>
                    <a:pt x="257204" y="306254"/>
                    <a:pt x="259287" y="307333"/>
                    <a:pt x="261520" y="307333"/>
                  </a:cubicBezTo>
                  <a:lnTo>
                    <a:pt x="672619" y="307333"/>
                  </a:lnTo>
                  <a:lnTo>
                    <a:pt x="672619" y="729262"/>
                  </a:lnTo>
                  <a:close/>
                </a:path>
              </a:pathLst>
            </a:custGeom>
            <a:grpFill/>
            <a:ln w="3175" cap="flat">
              <a:solidFill>
                <a:schemeClr val="bg1"/>
              </a:solidFill>
              <a:prstDash val="solid"/>
              <a:miter/>
            </a:ln>
          </p:spPr>
          <p:txBody>
            <a:bodyPr rtlCol="0" anchor="ctr"/>
            <a:lstStyle/>
            <a:p>
              <a:endParaRPr lang="en-IN"/>
            </a:p>
          </p:txBody>
        </p:sp>
      </p:grpSp>
    </p:spTree>
    <p:extLst>
      <p:ext uri="{BB962C8B-B14F-4D97-AF65-F5344CB8AC3E}">
        <p14:creationId xmlns:p14="http://schemas.microsoft.com/office/powerpoint/2010/main" val="1737979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0B640-C9DB-A993-68E9-C918C07F1A0B}"/>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09E66738-4A67-145C-D75B-C5CA84787F44}"/>
              </a:ext>
            </a:extLst>
          </p:cNvPr>
          <p:cNvSpPr/>
          <p:nvPr/>
        </p:nvSpPr>
        <p:spPr>
          <a:xfrm>
            <a:off x="534186" y="458101"/>
            <a:ext cx="9451478" cy="523220"/>
          </a:xfrm>
          <a:prstGeom prst="rect">
            <a:avLst/>
          </a:prstGeom>
          <a:noFill/>
        </p:spPr>
        <p:txBody>
          <a:bodyPr wrap="square" lIns="91440" tIns="45720" rIns="91440" bIns="45720" anchor="t">
            <a:spAutoFit/>
          </a:bodyPr>
          <a:lstStyle/>
          <a:p>
            <a:r>
              <a:rPr lang="en-US" sz="2800">
                <a:solidFill>
                  <a:srgbClr val="FF0000"/>
                </a:solidFill>
                <a:effectLst/>
                <a:latin typeface="Roboto" panose="02000000000000000000" pitchFamily="2" charset="0"/>
                <a:ea typeface="Roboto" panose="02000000000000000000" pitchFamily="2" charset="0"/>
                <a:cs typeface="Roboto medium"/>
              </a:rPr>
              <a:t>Health Care Employee and AI Assistant Relationship </a:t>
            </a:r>
            <a:endParaRPr lang="en-US" sz="2800" cap="none" spc="0">
              <a:solidFill>
                <a:srgbClr val="FF0000"/>
              </a:solidFill>
              <a:effectLst/>
              <a:latin typeface="Roboto" panose="02000000000000000000" pitchFamily="2" charset="0"/>
              <a:ea typeface="Roboto" panose="02000000000000000000" pitchFamily="2" charset="0"/>
              <a:cs typeface="Roboto medium"/>
            </a:endParaRPr>
          </a:p>
        </p:txBody>
      </p:sp>
      <p:pic>
        <p:nvPicPr>
          <p:cNvPr id="29" name="Picture 28" descr="A logo in a circle&#10;&#10;AI-generated content may be incorrect.">
            <a:extLst>
              <a:ext uri="{FF2B5EF4-FFF2-40B4-BE49-F238E27FC236}">
                <a16:creationId xmlns:a16="http://schemas.microsoft.com/office/drawing/2014/main" id="{AD24AD3B-84F4-BCD7-3D6E-F2987B26A9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8919" y="0"/>
            <a:ext cx="1403080" cy="1330959"/>
          </a:xfrm>
          <a:prstGeom prst="rect">
            <a:avLst/>
          </a:prstGeom>
        </p:spPr>
      </p:pic>
      <p:sp>
        <p:nvSpPr>
          <p:cNvPr id="19" name="TextBox 18">
            <a:extLst>
              <a:ext uri="{FF2B5EF4-FFF2-40B4-BE49-F238E27FC236}">
                <a16:creationId xmlns:a16="http://schemas.microsoft.com/office/drawing/2014/main" id="{F9709F2B-5D4A-B8DB-24DF-6F1AA1E09445}"/>
              </a:ext>
            </a:extLst>
          </p:cNvPr>
          <p:cNvSpPr txBox="1"/>
          <p:nvPr/>
        </p:nvSpPr>
        <p:spPr>
          <a:xfrm>
            <a:off x="1470037" y="3169617"/>
            <a:ext cx="994588" cy="338554"/>
          </a:xfrm>
          <a:prstGeom prst="rect">
            <a:avLst/>
          </a:prstGeom>
          <a:noFill/>
        </p:spPr>
        <p:txBody>
          <a:bodyPr wrap="square">
            <a:spAutoFit/>
          </a:bodyPr>
          <a:lstStyle/>
          <a:p>
            <a:pPr algn="ctr" defTabSz="456926">
              <a:defRPr/>
            </a:pPr>
            <a:r>
              <a:rPr lang="en-US" sz="800">
                <a:solidFill>
                  <a:schemeClr val="bg1"/>
                </a:solidFill>
                <a:latin typeface="Roboto" panose="02000000000000000000" pitchFamily="2" charset="0"/>
                <a:ea typeface="Roboto" panose="02000000000000000000" pitchFamily="2" charset="0"/>
              </a:rPr>
              <a:t>Batch Creation/ Payment Logging</a:t>
            </a:r>
            <a:endParaRPr lang="en-US" altLang="ja-JP" sz="800">
              <a:solidFill>
                <a:schemeClr val="bg1"/>
              </a:solidFill>
              <a:latin typeface="Roboto" panose="02000000000000000000" pitchFamily="2" charset="0"/>
              <a:ea typeface="Roboto" panose="02000000000000000000" pitchFamily="2" charset="0"/>
            </a:endParaRPr>
          </a:p>
        </p:txBody>
      </p:sp>
      <p:sp>
        <p:nvSpPr>
          <p:cNvPr id="22" name="TextBox 21">
            <a:extLst>
              <a:ext uri="{FF2B5EF4-FFF2-40B4-BE49-F238E27FC236}">
                <a16:creationId xmlns:a16="http://schemas.microsoft.com/office/drawing/2014/main" id="{1F811672-63AF-E086-5435-2212170D0063}"/>
              </a:ext>
            </a:extLst>
          </p:cNvPr>
          <p:cNvSpPr txBox="1"/>
          <p:nvPr/>
        </p:nvSpPr>
        <p:spPr>
          <a:xfrm>
            <a:off x="3603305" y="3180282"/>
            <a:ext cx="994588" cy="707886"/>
          </a:xfrm>
          <a:prstGeom prst="rect">
            <a:avLst/>
          </a:prstGeom>
          <a:noFill/>
        </p:spPr>
        <p:txBody>
          <a:bodyPr wrap="square">
            <a:spAutoFit/>
          </a:bodyPr>
          <a:lstStyle/>
          <a:p>
            <a:r>
              <a:rPr lang="en-US" sz="800">
                <a:solidFill>
                  <a:schemeClr val="bg1"/>
                </a:solidFill>
                <a:latin typeface="Roboto" panose="02000000000000000000" pitchFamily="2" charset="0"/>
                <a:ea typeface="Roboto" panose="02000000000000000000" pitchFamily="2" charset="0"/>
              </a:rPr>
              <a:t>Remittance Processing &amp; Adjustment Decisioning	</a:t>
            </a:r>
          </a:p>
        </p:txBody>
      </p:sp>
      <p:sp>
        <p:nvSpPr>
          <p:cNvPr id="27" name="TextBox 26">
            <a:extLst>
              <a:ext uri="{FF2B5EF4-FFF2-40B4-BE49-F238E27FC236}">
                <a16:creationId xmlns:a16="http://schemas.microsoft.com/office/drawing/2014/main" id="{025BFBBE-69E4-88BE-44AB-97B44DE62896}"/>
              </a:ext>
            </a:extLst>
          </p:cNvPr>
          <p:cNvSpPr txBox="1"/>
          <p:nvPr/>
        </p:nvSpPr>
        <p:spPr>
          <a:xfrm>
            <a:off x="7554266" y="3200954"/>
            <a:ext cx="888655" cy="461665"/>
          </a:xfrm>
          <a:prstGeom prst="rect">
            <a:avLst/>
          </a:prstGeom>
          <a:noFill/>
        </p:spPr>
        <p:txBody>
          <a:bodyPr wrap="square">
            <a:spAutoFit/>
          </a:bodyPr>
          <a:lstStyle/>
          <a:p>
            <a:pPr algn="ctr"/>
            <a:r>
              <a:rPr lang="en-IN" sz="800">
                <a:solidFill>
                  <a:schemeClr val="bg1"/>
                </a:solidFill>
                <a:latin typeface="Roboto" panose="02000000000000000000" pitchFamily="2" charset="0"/>
                <a:ea typeface="Roboto" panose="02000000000000000000" pitchFamily="2" charset="0"/>
              </a:rPr>
              <a:t>Reconciliation &amp; Exception Resolution</a:t>
            </a:r>
          </a:p>
        </p:txBody>
      </p:sp>
      <p:sp>
        <p:nvSpPr>
          <p:cNvPr id="28" name="TextBox 27">
            <a:extLst>
              <a:ext uri="{FF2B5EF4-FFF2-40B4-BE49-F238E27FC236}">
                <a16:creationId xmlns:a16="http://schemas.microsoft.com/office/drawing/2014/main" id="{7C663C08-D208-E339-B2F8-C5EC52B1D7D4}"/>
              </a:ext>
            </a:extLst>
          </p:cNvPr>
          <p:cNvSpPr txBox="1"/>
          <p:nvPr/>
        </p:nvSpPr>
        <p:spPr>
          <a:xfrm>
            <a:off x="5525235" y="3197613"/>
            <a:ext cx="994588" cy="338554"/>
          </a:xfrm>
          <a:prstGeom prst="rect">
            <a:avLst/>
          </a:prstGeom>
          <a:noFill/>
        </p:spPr>
        <p:txBody>
          <a:bodyPr wrap="square">
            <a:spAutoFit/>
          </a:bodyPr>
          <a:lstStyle/>
          <a:p>
            <a:r>
              <a:rPr lang="en-US" sz="800">
                <a:solidFill>
                  <a:schemeClr val="bg1"/>
                </a:solidFill>
                <a:latin typeface="Roboto" panose="02000000000000000000" pitchFamily="2" charset="0"/>
                <a:ea typeface="Roboto" panose="02000000000000000000" pitchFamily="2" charset="0"/>
              </a:rPr>
              <a:t>Contract &amp; Denial Analysis Agent</a:t>
            </a:r>
          </a:p>
        </p:txBody>
      </p:sp>
      <p:sp>
        <p:nvSpPr>
          <p:cNvPr id="37" name="TextBox 36">
            <a:extLst>
              <a:ext uri="{FF2B5EF4-FFF2-40B4-BE49-F238E27FC236}">
                <a16:creationId xmlns:a16="http://schemas.microsoft.com/office/drawing/2014/main" id="{03BB0DED-B73B-D1C2-1317-A61DA721A589}"/>
              </a:ext>
            </a:extLst>
          </p:cNvPr>
          <p:cNvSpPr txBox="1"/>
          <p:nvPr/>
        </p:nvSpPr>
        <p:spPr>
          <a:xfrm>
            <a:off x="472221" y="3171564"/>
            <a:ext cx="994588" cy="338554"/>
          </a:xfrm>
          <a:prstGeom prst="rect">
            <a:avLst/>
          </a:prstGeom>
          <a:noFill/>
        </p:spPr>
        <p:txBody>
          <a:bodyPr wrap="square">
            <a:spAutoFit/>
          </a:bodyPr>
          <a:lstStyle/>
          <a:p>
            <a:r>
              <a:rPr lang="en-US" sz="800">
                <a:solidFill>
                  <a:schemeClr val="bg1"/>
                </a:solidFill>
                <a:latin typeface="Roboto" panose="02000000000000000000" pitchFamily="2" charset="0"/>
                <a:ea typeface="Roboto" panose="02000000000000000000" pitchFamily="2" charset="0"/>
              </a:rPr>
              <a:t>Payment Receipt &amp; Retrieval</a:t>
            </a:r>
          </a:p>
        </p:txBody>
      </p:sp>
      <p:pic>
        <p:nvPicPr>
          <p:cNvPr id="51" name="Picture 50" descr="A blue text on a black background&#10;&#10;AI-generated content may be incorrect.">
            <a:extLst>
              <a:ext uri="{FF2B5EF4-FFF2-40B4-BE49-F238E27FC236}">
                <a16:creationId xmlns:a16="http://schemas.microsoft.com/office/drawing/2014/main" id="{D762DB2F-A47B-A3CA-220D-05AEBEB451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09271" y="2299284"/>
            <a:ext cx="624507" cy="271524"/>
          </a:xfrm>
          <a:prstGeom prst="rect">
            <a:avLst/>
          </a:prstGeom>
        </p:spPr>
      </p:pic>
      <p:pic>
        <p:nvPicPr>
          <p:cNvPr id="54" name="Picture 53" descr="A blue square object with a black background&#10;&#10;AI-generated content may be incorrect.">
            <a:extLst>
              <a:ext uri="{FF2B5EF4-FFF2-40B4-BE49-F238E27FC236}">
                <a16:creationId xmlns:a16="http://schemas.microsoft.com/office/drawing/2014/main" id="{99F0BC4E-1839-58D7-2F61-72D5727925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72699" y="2344160"/>
            <a:ext cx="237585" cy="237585"/>
          </a:xfrm>
          <a:prstGeom prst="rect">
            <a:avLst/>
          </a:prstGeom>
        </p:spPr>
      </p:pic>
      <p:pic>
        <p:nvPicPr>
          <p:cNvPr id="55" name="Picture 54" descr="A blue text on a black background&#10;&#10;AI-generated content may be incorrect.">
            <a:extLst>
              <a:ext uri="{FF2B5EF4-FFF2-40B4-BE49-F238E27FC236}">
                <a16:creationId xmlns:a16="http://schemas.microsoft.com/office/drawing/2014/main" id="{2ADD24BF-FAF2-7F6D-C2D3-4F521F8CA1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39369" y="2327566"/>
            <a:ext cx="624507" cy="271524"/>
          </a:xfrm>
          <a:prstGeom prst="rect">
            <a:avLst/>
          </a:prstGeom>
        </p:spPr>
      </p:pic>
      <p:pic>
        <p:nvPicPr>
          <p:cNvPr id="58" name="Picture 57" descr="A blue square object with a black background&#10;&#10;AI-generated content may be incorrect.">
            <a:extLst>
              <a:ext uri="{FF2B5EF4-FFF2-40B4-BE49-F238E27FC236}">
                <a16:creationId xmlns:a16="http://schemas.microsoft.com/office/drawing/2014/main" id="{4DF2A986-3B75-E12D-F0B2-0994657855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81432" y="2354721"/>
            <a:ext cx="237585" cy="237585"/>
          </a:xfrm>
          <a:prstGeom prst="rect">
            <a:avLst/>
          </a:prstGeom>
        </p:spPr>
      </p:pic>
      <p:pic>
        <p:nvPicPr>
          <p:cNvPr id="59" name="Picture 58" descr="A blue text on a black background&#10;&#10;AI-generated content may be incorrect.">
            <a:extLst>
              <a:ext uri="{FF2B5EF4-FFF2-40B4-BE49-F238E27FC236}">
                <a16:creationId xmlns:a16="http://schemas.microsoft.com/office/drawing/2014/main" id="{2E5B7EA6-893A-36F8-0EFA-27E58BC351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42589" y="2319973"/>
            <a:ext cx="624507" cy="271524"/>
          </a:xfrm>
          <a:prstGeom prst="rect">
            <a:avLst/>
          </a:prstGeom>
        </p:spPr>
      </p:pic>
      <p:pic>
        <p:nvPicPr>
          <p:cNvPr id="60" name="Picture 59" descr="A blue square object with a black background&#10;&#10;AI-generated content may be incorrect.">
            <a:extLst>
              <a:ext uri="{FF2B5EF4-FFF2-40B4-BE49-F238E27FC236}">
                <a16:creationId xmlns:a16="http://schemas.microsoft.com/office/drawing/2014/main" id="{8D96D220-3819-2483-E658-3178EC8758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87590" y="2338268"/>
            <a:ext cx="237585" cy="237585"/>
          </a:xfrm>
          <a:prstGeom prst="rect">
            <a:avLst/>
          </a:prstGeom>
        </p:spPr>
      </p:pic>
      <p:pic>
        <p:nvPicPr>
          <p:cNvPr id="61" name="Picture 60" descr="A blue square object with a black background&#10;&#10;AI-generated content may be incorrect.">
            <a:extLst>
              <a:ext uri="{FF2B5EF4-FFF2-40B4-BE49-F238E27FC236}">
                <a16:creationId xmlns:a16="http://schemas.microsoft.com/office/drawing/2014/main" id="{C9CCFDAD-22FA-BF9F-D942-B7BD4B4622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57437" y="2388862"/>
            <a:ext cx="237585" cy="237585"/>
          </a:xfrm>
          <a:prstGeom prst="rect">
            <a:avLst/>
          </a:prstGeom>
        </p:spPr>
      </p:pic>
      <p:pic>
        <p:nvPicPr>
          <p:cNvPr id="63" name="Picture 62" descr="A blue circle on a black background&#10;&#10;AI-generated content may be incorrect.">
            <a:extLst>
              <a:ext uri="{FF2B5EF4-FFF2-40B4-BE49-F238E27FC236}">
                <a16:creationId xmlns:a16="http://schemas.microsoft.com/office/drawing/2014/main" id="{5F935B89-E093-C55E-C5E8-857D4474D5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22753" y="2377742"/>
            <a:ext cx="173049" cy="251707"/>
          </a:xfrm>
          <a:prstGeom prst="rect">
            <a:avLst/>
          </a:prstGeom>
        </p:spPr>
      </p:pic>
      <p:sp>
        <p:nvSpPr>
          <p:cNvPr id="2" name="Rectángulo: esquinas redondeadas 1">
            <a:extLst>
              <a:ext uri="{FF2B5EF4-FFF2-40B4-BE49-F238E27FC236}">
                <a16:creationId xmlns:a16="http://schemas.microsoft.com/office/drawing/2014/main" id="{C2EC9AB1-688C-7920-0B75-7682379E3542}"/>
              </a:ext>
            </a:extLst>
          </p:cNvPr>
          <p:cNvSpPr/>
          <p:nvPr/>
        </p:nvSpPr>
        <p:spPr>
          <a:xfrm>
            <a:off x="1177388" y="1217977"/>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bg1"/>
                </a:solidFill>
                <a:latin typeface="Roboto" panose="02000000000000000000" pitchFamily="2" charset="0"/>
                <a:ea typeface="Roboto" panose="02000000000000000000" pitchFamily="2" charset="0"/>
              </a:rPr>
              <a:t>Remittance Intake &amp; Normalization Agent </a:t>
            </a:r>
            <a:endParaRPr lang="es-ES">
              <a:solidFill>
                <a:schemeClr val="bg1"/>
              </a:solidFill>
              <a:latin typeface="Roboto" panose="02000000000000000000" pitchFamily="2" charset="0"/>
              <a:ea typeface="Roboto" panose="02000000000000000000" pitchFamily="2" charset="0"/>
            </a:endParaRPr>
          </a:p>
        </p:txBody>
      </p:sp>
      <p:sp>
        <p:nvSpPr>
          <p:cNvPr id="3" name="Rectángulo: esquinas redondeadas 2">
            <a:extLst>
              <a:ext uri="{FF2B5EF4-FFF2-40B4-BE49-F238E27FC236}">
                <a16:creationId xmlns:a16="http://schemas.microsoft.com/office/drawing/2014/main" id="{3B9214A2-3696-1C76-6A28-1E6CE1660506}"/>
              </a:ext>
            </a:extLst>
          </p:cNvPr>
          <p:cNvSpPr/>
          <p:nvPr/>
        </p:nvSpPr>
        <p:spPr>
          <a:xfrm>
            <a:off x="4139814" y="1217977"/>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bg1"/>
                </a:solidFill>
                <a:ea typeface="+mn-lt"/>
                <a:cs typeface="+mn-lt"/>
              </a:rPr>
              <a:t>Posting &amp; Adjustment Decisioning Agent</a:t>
            </a:r>
            <a:endParaRPr lang="es-ES" b="1">
              <a:solidFill>
                <a:schemeClr val="bg1"/>
              </a:solidFill>
            </a:endParaRPr>
          </a:p>
        </p:txBody>
      </p:sp>
      <p:sp>
        <p:nvSpPr>
          <p:cNvPr id="4" name="Rectángulo: esquinas redondeadas 3">
            <a:extLst>
              <a:ext uri="{FF2B5EF4-FFF2-40B4-BE49-F238E27FC236}">
                <a16:creationId xmlns:a16="http://schemas.microsoft.com/office/drawing/2014/main" id="{C25075EB-884D-19CE-84FF-C31B11E90A33}"/>
              </a:ext>
            </a:extLst>
          </p:cNvPr>
          <p:cNvSpPr/>
          <p:nvPr/>
        </p:nvSpPr>
        <p:spPr>
          <a:xfrm>
            <a:off x="6556821" y="1235698"/>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bg1"/>
                </a:solidFill>
                <a:latin typeface="Roboto" panose="02000000000000000000" pitchFamily="2" charset="0"/>
                <a:ea typeface="Roboto" panose="02000000000000000000" pitchFamily="2" charset="0"/>
              </a:rPr>
              <a:t>Contract &amp; Denial Analysis Agent</a:t>
            </a:r>
            <a:endParaRPr lang="es-ES" sz="1000">
              <a:solidFill>
                <a:schemeClr val="bg1"/>
              </a:solidFill>
              <a:latin typeface="Roboto" panose="02000000000000000000" pitchFamily="2" charset="0"/>
              <a:ea typeface="Roboto" panose="02000000000000000000" pitchFamily="2" charset="0"/>
            </a:endParaRPr>
          </a:p>
        </p:txBody>
      </p:sp>
      <p:sp>
        <p:nvSpPr>
          <p:cNvPr id="6" name="Rectángulo: esquinas redondeadas 5">
            <a:extLst>
              <a:ext uri="{FF2B5EF4-FFF2-40B4-BE49-F238E27FC236}">
                <a16:creationId xmlns:a16="http://schemas.microsoft.com/office/drawing/2014/main" id="{E7514363-FC90-8E80-9F26-EFCFD85559B4}"/>
              </a:ext>
            </a:extLst>
          </p:cNvPr>
          <p:cNvSpPr/>
          <p:nvPr/>
        </p:nvSpPr>
        <p:spPr>
          <a:xfrm>
            <a:off x="9329302" y="1251994"/>
            <a:ext cx="1444428" cy="919252"/>
          </a:xfrm>
          <a:prstGeom prst="roundRect">
            <a:avLst/>
          </a:prstGeom>
          <a:solidFill>
            <a:srgbClr val="35A1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bg1"/>
                </a:solidFill>
                <a:latin typeface="Roboto"/>
                <a:ea typeface="Roboto"/>
                <a:cs typeface="Roboto"/>
              </a:rPr>
              <a:t>Cash Reconciliation &amp; Exception Resolution Agent</a:t>
            </a:r>
            <a:endParaRPr lang="es-ES" sz="1000">
              <a:solidFill>
                <a:schemeClr val="bg1"/>
              </a:solidFill>
              <a:latin typeface="Roboto"/>
              <a:ea typeface="Roboto"/>
              <a:cs typeface="Roboto"/>
            </a:endParaRPr>
          </a:p>
        </p:txBody>
      </p:sp>
      <p:sp>
        <p:nvSpPr>
          <p:cNvPr id="8" name="Rectángulo: esquinas redondeadas 7">
            <a:extLst>
              <a:ext uri="{FF2B5EF4-FFF2-40B4-BE49-F238E27FC236}">
                <a16:creationId xmlns:a16="http://schemas.microsoft.com/office/drawing/2014/main" id="{FE1F1B74-84A6-6B5D-CF1D-FCD0EA5782B6}"/>
              </a:ext>
            </a:extLst>
          </p:cNvPr>
          <p:cNvSpPr/>
          <p:nvPr/>
        </p:nvSpPr>
        <p:spPr>
          <a:xfrm>
            <a:off x="229166" y="2932476"/>
            <a:ext cx="1567896" cy="865056"/>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a:solidFill>
                  <a:schemeClr val="bg1"/>
                </a:solidFill>
                <a:latin typeface="Roboto"/>
                <a:ea typeface="Roboto"/>
                <a:cs typeface="Roboto"/>
              </a:rPr>
              <a:t>Payment Receipt &amp; Retrieval</a:t>
            </a:r>
            <a:endParaRPr lang="es-ES" sz="800">
              <a:solidFill>
                <a:schemeClr val="bg1"/>
              </a:solidFill>
              <a:latin typeface="Roboto"/>
              <a:ea typeface="Roboto"/>
              <a:cs typeface="Roboto"/>
            </a:endParaRPr>
          </a:p>
        </p:txBody>
      </p:sp>
      <p:sp>
        <p:nvSpPr>
          <p:cNvPr id="9" name="Rectángulo: esquinas redondeadas 8">
            <a:extLst>
              <a:ext uri="{FF2B5EF4-FFF2-40B4-BE49-F238E27FC236}">
                <a16:creationId xmlns:a16="http://schemas.microsoft.com/office/drawing/2014/main" id="{A34651A6-D3CA-6072-2D97-E543FCD63B9F}"/>
              </a:ext>
            </a:extLst>
          </p:cNvPr>
          <p:cNvSpPr/>
          <p:nvPr/>
        </p:nvSpPr>
        <p:spPr>
          <a:xfrm>
            <a:off x="1954871" y="2932476"/>
            <a:ext cx="1567896" cy="865056"/>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latin typeface="Roboto" panose="02000000000000000000" pitchFamily="2" charset="0"/>
                <a:ea typeface="Roboto" panose="02000000000000000000" pitchFamily="2" charset="0"/>
              </a:rPr>
              <a:t>Batch Creation/ Payment Logging</a:t>
            </a:r>
            <a:endParaRPr lang="es-ES" sz="800">
              <a:solidFill>
                <a:schemeClr val="bg1"/>
              </a:solidFill>
              <a:latin typeface="Roboto" panose="02000000000000000000" pitchFamily="2" charset="0"/>
              <a:ea typeface="Roboto" panose="02000000000000000000" pitchFamily="2" charset="0"/>
            </a:endParaRPr>
          </a:p>
        </p:txBody>
      </p:sp>
      <p:sp>
        <p:nvSpPr>
          <p:cNvPr id="10" name="Rectángulo: esquinas redondeadas 9">
            <a:extLst>
              <a:ext uri="{FF2B5EF4-FFF2-40B4-BE49-F238E27FC236}">
                <a16:creationId xmlns:a16="http://schemas.microsoft.com/office/drawing/2014/main" id="{068719A8-6448-319B-D5DC-536A9A559428}"/>
              </a:ext>
            </a:extLst>
          </p:cNvPr>
          <p:cNvSpPr/>
          <p:nvPr/>
        </p:nvSpPr>
        <p:spPr>
          <a:xfrm>
            <a:off x="6466150" y="2932475"/>
            <a:ext cx="1567896" cy="865056"/>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a:solidFill>
                  <a:schemeClr val="bg1"/>
                </a:solidFill>
                <a:latin typeface="Roboto" panose="02000000000000000000" pitchFamily="2" charset="0"/>
                <a:ea typeface="Roboto" panose="02000000000000000000" pitchFamily="2" charset="0"/>
              </a:rPr>
              <a:t>Contract &amp; Denial Analysis Agent</a:t>
            </a:r>
            <a:endParaRPr lang="es-ES" sz="800">
              <a:solidFill>
                <a:schemeClr val="bg1"/>
              </a:solidFill>
              <a:latin typeface="Roboto" panose="02000000000000000000" pitchFamily="2" charset="0"/>
              <a:ea typeface="Roboto" panose="02000000000000000000" pitchFamily="2" charset="0"/>
            </a:endParaRPr>
          </a:p>
        </p:txBody>
      </p:sp>
      <p:sp>
        <p:nvSpPr>
          <p:cNvPr id="11" name="Rectángulo: esquinas redondeadas 10">
            <a:extLst>
              <a:ext uri="{FF2B5EF4-FFF2-40B4-BE49-F238E27FC236}">
                <a16:creationId xmlns:a16="http://schemas.microsoft.com/office/drawing/2014/main" id="{263A02AE-C5F2-1E2C-3BB0-6299EBF774E8}"/>
              </a:ext>
            </a:extLst>
          </p:cNvPr>
          <p:cNvSpPr/>
          <p:nvPr/>
        </p:nvSpPr>
        <p:spPr>
          <a:xfrm>
            <a:off x="4073505" y="2932475"/>
            <a:ext cx="1567896" cy="865056"/>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a:solidFill>
                  <a:schemeClr val="bg1"/>
                </a:solidFill>
                <a:latin typeface="Roboto"/>
                <a:ea typeface="Roboto"/>
                <a:cs typeface="Roboto"/>
              </a:rPr>
              <a:t>Remittance Processing &amp; Adjustment Decisioning</a:t>
            </a:r>
            <a:endParaRPr lang="es-ES" sz="800">
              <a:solidFill>
                <a:schemeClr val="bg1"/>
              </a:solidFill>
              <a:latin typeface="Roboto"/>
              <a:ea typeface="Roboto"/>
              <a:cs typeface="Roboto"/>
            </a:endParaRPr>
          </a:p>
        </p:txBody>
      </p:sp>
      <p:sp>
        <p:nvSpPr>
          <p:cNvPr id="13" name="Rectángulo: esquinas redondeadas 12">
            <a:extLst>
              <a:ext uri="{FF2B5EF4-FFF2-40B4-BE49-F238E27FC236}">
                <a16:creationId xmlns:a16="http://schemas.microsoft.com/office/drawing/2014/main" id="{CF35979E-AA49-A1D3-31A4-F8C0E13D7391}"/>
              </a:ext>
            </a:extLst>
          </p:cNvPr>
          <p:cNvSpPr/>
          <p:nvPr/>
        </p:nvSpPr>
        <p:spPr>
          <a:xfrm>
            <a:off x="8420664" y="2932475"/>
            <a:ext cx="1567896" cy="865056"/>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IN" sz="800">
                <a:solidFill>
                  <a:schemeClr val="bg1"/>
                </a:solidFill>
                <a:latin typeface="Roboto" panose="02000000000000000000" pitchFamily="2" charset="0"/>
                <a:ea typeface="Roboto" panose="02000000000000000000" pitchFamily="2" charset="0"/>
                <a:cs typeface="Roboto"/>
              </a:rPr>
              <a:t>Reconciliation&amp; Exception Resolution</a:t>
            </a:r>
            <a:endParaRPr lang="es-ES" sz="800" err="1">
              <a:solidFill>
                <a:schemeClr val="bg1"/>
              </a:solidFill>
              <a:latin typeface="Roboto" panose="02000000000000000000" pitchFamily="2" charset="0"/>
              <a:ea typeface="Roboto" panose="02000000000000000000" pitchFamily="2" charset="0"/>
              <a:cs typeface="Roboto"/>
            </a:endParaRPr>
          </a:p>
        </p:txBody>
      </p:sp>
      <p:sp>
        <p:nvSpPr>
          <p:cNvPr id="16" name="Rectángulo: esquinas redondeadas 15">
            <a:extLst>
              <a:ext uri="{FF2B5EF4-FFF2-40B4-BE49-F238E27FC236}">
                <a16:creationId xmlns:a16="http://schemas.microsoft.com/office/drawing/2014/main" id="{B6C7FB16-CFB4-CD30-52C8-5F2558F70437}"/>
              </a:ext>
            </a:extLst>
          </p:cNvPr>
          <p:cNvSpPr/>
          <p:nvPr/>
        </p:nvSpPr>
        <p:spPr>
          <a:xfrm>
            <a:off x="10112752" y="2932474"/>
            <a:ext cx="1567896" cy="865056"/>
          </a:xfrm>
          <a:prstGeom prst="roundRect">
            <a:avLst/>
          </a:prstGeom>
          <a:solidFill>
            <a:srgbClr val="0751D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IN" sz="800">
                <a:solidFill>
                  <a:schemeClr val="bg1"/>
                </a:solidFill>
                <a:latin typeface="Roboto"/>
                <a:ea typeface="Roboto"/>
                <a:cs typeface="Roboto"/>
              </a:rPr>
              <a:t>Reporting &amp; Exceptions</a:t>
            </a:r>
            <a:endParaRPr lang="es-ES">
              <a:solidFill>
                <a:schemeClr val="bg1"/>
              </a:solidFill>
              <a:latin typeface="Roboto"/>
              <a:ea typeface="Roboto"/>
              <a:cs typeface="Roboto"/>
            </a:endParaRPr>
          </a:p>
        </p:txBody>
      </p:sp>
      <p:sp>
        <p:nvSpPr>
          <p:cNvPr id="18" name="Rectángulo: esquinas redondeadas 17">
            <a:extLst>
              <a:ext uri="{FF2B5EF4-FFF2-40B4-BE49-F238E27FC236}">
                <a16:creationId xmlns:a16="http://schemas.microsoft.com/office/drawing/2014/main" id="{62E8A102-7A5B-AAB3-9E35-51EDFD9CBEBA}"/>
              </a:ext>
            </a:extLst>
          </p:cNvPr>
          <p:cNvSpPr/>
          <p:nvPr/>
        </p:nvSpPr>
        <p:spPr>
          <a:xfrm>
            <a:off x="229869" y="4153916"/>
            <a:ext cx="1567896"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a:solidFill>
                  <a:srgbClr val="000000"/>
                </a:solidFill>
                <a:latin typeface="Roboto" panose="02000000000000000000" pitchFamily="2" charset="0"/>
                <a:ea typeface="Roboto" panose="02000000000000000000" pitchFamily="2" charset="0"/>
              </a:rPr>
              <a:t>Retrieve ERAs (835files) through payer clearing </a:t>
            </a:r>
            <a:r>
              <a:rPr lang="en-US" sz="700" err="1">
                <a:solidFill>
                  <a:srgbClr val="000000"/>
                </a:solidFill>
                <a:latin typeface="Roboto" panose="02000000000000000000" pitchFamily="2" charset="0"/>
                <a:ea typeface="Roboto" panose="02000000000000000000" pitchFamily="2" charset="0"/>
              </a:rPr>
              <a:t>house,portals</a:t>
            </a:r>
            <a:r>
              <a:rPr lang="en-US" sz="700">
                <a:solidFill>
                  <a:srgbClr val="000000"/>
                </a:solidFill>
                <a:latin typeface="Roboto" panose="02000000000000000000" pitchFamily="2" charset="0"/>
                <a:ea typeface="Roboto" panose="02000000000000000000" pitchFamily="2" charset="0"/>
              </a:rPr>
              <a:t>, or direct connection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Collect </a:t>
            </a:r>
            <a:r>
              <a:rPr lang="en-US" sz="700" err="1">
                <a:solidFill>
                  <a:srgbClr val="000000"/>
                </a:solidFill>
                <a:latin typeface="Roboto" panose="02000000000000000000" pitchFamily="2" charset="0"/>
                <a:ea typeface="Roboto" panose="02000000000000000000" pitchFamily="2" charset="0"/>
              </a:rPr>
              <a:t>paperEOBs</a:t>
            </a:r>
            <a:r>
              <a:rPr lang="en-US" sz="700">
                <a:solidFill>
                  <a:srgbClr val="000000"/>
                </a:solidFill>
                <a:latin typeface="Roboto" panose="02000000000000000000" pitchFamily="2" charset="0"/>
                <a:ea typeface="Roboto" panose="02000000000000000000" pitchFamily="2" charset="0"/>
              </a:rPr>
              <a:t> from mail, lockboxes, </a:t>
            </a:r>
            <a:r>
              <a:rPr lang="en-US" sz="700" err="1">
                <a:solidFill>
                  <a:srgbClr val="000000"/>
                </a:solidFill>
                <a:latin typeface="Roboto" panose="02000000000000000000" pitchFamily="2" charset="0"/>
                <a:ea typeface="Roboto" panose="02000000000000000000" pitchFamily="2" charset="0"/>
              </a:rPr>
              <a:t>orscanning</a:t>
            </a:r>
            <a:r>
              <a:rPr lang="en-US" sz="700">
                <a:solidFill>
                  <a:srgbClr val="000000"/>
                </a:solidFill>
                <a:latin typeface="Roboto" panose="02000000000000000000" pitchFamily="2" charset="0"/>
                <a:ea typeface="Roboto" panose="02000000000000000000" pitchFamily="2" charset="0"/>
              </a:rPr>
              <a:t> center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Access bank deposits for EFTs, checks, and patient payment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Separate patient self-pay from insurance remittances for proper routing</a:t>
            </a:r>
            <a:r>
              <a:rPr lang="en-US" sz="800">
                <a:solidFill>
                  <a:srgbClr val="000000"/>
                </a:solidFill>
                <a:latin typeface="Roboto" panose="02000000000000000000" pitchFamily="2" charset="0"/>
                <a:ea typeface="Roboto" panose="02000000000000000000" pitchFamily="2" charset="0"/>
              </a:rPr>
              <a:t>.</a:t>
            </a:r>
          </a:p>
          <a:p>
            <a:pPr algn="ctr"/>
            <a:endParaRPr lang="es-ES">
              <a:latin typeface="Roboto" panose="02000000000000000000" pitchFamily="2" charset="0"/>
              <a:ea typeface="Roboto" panose="02000000000000000000" pitchFamily="2" charset="0"/>
            </a:endParaRPr>
          </a:p>
        </p:txBody>
      </p:sp>
      <p:sp>
        <p:nvSpPr>
          <p:cNvPr id="20" name="Rectángulo: esquinas redondeadas 19">
            <a:extLst>
              <a:ext uri="{FF2B5EF4-FFF2-40B4-BE49-F238E27FC236}">
                <a16:creationId xmlns:a16="http://schemas.microsoft.com/office/drawing/2014/main" id="{EC510BC2-368A-FE97-93EF-93B7F97C1081}"/>
              </a:ext>
            </a:extLst>
          </p:cNvPr>
          <p:cNvSpPr/>
          <p:nvPr/>
        </p:nvSpPr>
        <p:spPr>
          <a:xfrm>
            <a:off x="1963732" y="4153916"/>
            <a:ext cx="1567896"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a:solidFill>
                  <a:srgbClr val="000000"/>
                </a:solidFill>
                <a:latin typeface="Roboto" panose="02000000000000000000" pitchFamily="2" charset="0"/>
                <a:ea typeface="Roboto" panose="02000000000000000000" pitchFamily="2" charset="0"/>
              </a:rPr>
              <a:t>Create daily payment batches grouped by payer, location, or deposit source.</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Record total deposit amounts for reconciliation later in the workflow </a:t>
            </a:r>
          </a:p>
          <a:p>
            <a:br>
              <a:rPr lang="en-US" sz="700">
                <a:solidFill>
                  <a:srgbClr val="000000"/>
                </a:solidFill>
                <a:latin typeface="Roboto" panose="02000000000000000000" pitchFamily="2" charset="0"/>
                <a:ea typeface="Roboto" panose="02000000000000000000" pitchFamily="2" charset="0"/>
              </a:rPr>
            </a:br>
            <a:r>
              <a:rPr lang="en-US" sz="700">
                <a:solidFill>
                  <a:srgbClr val="000000"/>
                </a:solidFill>
                <a:latin typeface="Roboto" panose="02000000000000000000" pitchFamily="2" charset="0"/>
                <a:ea typeface="Roboto" panose="02000000000000000000" pitchFamily="2" charset="0"/>
              </a:rPr>
              <a:t>Attach documentation (ERA, EOB, deposit slip) to batch record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Balance cash and check deposits against bank-reported deposits.</a:t>
            </a:r>
          </a:p>
          <a:p>
            <a:pPr algn="ctr"/>
            <a:endParaRPr lang="es-ES">
              <a:latin typeface="Roboto" panose="02000000000000000000" pitchFamily="2" charset="0"/>
              <a:ea typeface="Roboto" panose="02000000000000000000" pitchFamily="2" charset="0"/>
            </a:endParaRPr>
          </a:p>
        </p:txBody>
      </p:sp>
      <p:sp>
        <p:nvSpPr>
          <p:cNvPr id="21" name="Rectángulo: esquinas redondeadas 20">
            <a:extLst>
              <a:ext uri="{FF2B5EF4-FFF2-40B4-BE49-F238E27FC236}">
                <a16:creationId xmlns:a16="http://schemas.microsoft.com/office/drawing/2014/main" id="{278618BA-986E-2996-AC3A-D7AB980C2065}"/>
              </a:ext>
            </a:extLst>
          </p:cNvPr>
          <p:cNvSpPr/>
          <p:nvPr/>
        </p:nvSpPr>
        <p:spPr>
          <a:xfrm>
            <a:off x="4061577" y="4153916"/>
            <a:ext cx="1567896"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700">
              <a:solidFill>
                <a:srgbClr val="000000"/>
              </a:solidFill>
              <a:latin typeface="Roboto" panose="02000000000000000000" pitchFamily="2" charset="0"/>
              <a:ea typeface="Roboto" panose="02000000000000000000" pitchFamily="2" charset="0"/>
            </a:endParaRP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Import ERA 835 files into billing/practice management system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Manually key details from EOBs when electronic files are unavailable.</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Apply payments, adjustments, reversals, and recoupments at the line level.</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Review payer adjustment codes (CO,PR), OAT for financial impact.</a:t>
            </a:r>
          </a:p>
          <a:p>
            <a:r>
              <a:rPr lang="en-US" sz="700">
                <a:solidFill>
                  <a:srgbClr val="000000"/>
                </a:solidFill>
                <a:latin typeface="Roboto" panose="02000000000000000000" pitchFamily="2" charset="0"/>
                <a:ea typeface="Roboto" panose="02000000000000000000" pitchFamily="2" charset="0"/>
              </a:rPr>
              <a:t>Flag denials for follow-up; document root-causes and create denial tasks.</a:t>
            </a:r>
          </a:p>
          <a:p>
            <a:pPr algn="ctr"/>
            <a:endParaRPr lang="es-ES">
              <a:latin typeface="Roboto" panose="02000000000000000000" pitchFamily="2" charset="0"/>
              <a:ea typeface="Roboto" panose="02000000000000000000" pitchFamily="2" charset="0"/>
            </a:endParaRPr>
          </a:p>
        </p:txBody>
      </p:sp>
      <p:sp>
        <p:nvSpPr>
          <p:cNvPr id="23" name="Rectángulo: esquinas redondeadas 22">
            <a:extLst>
              <a:ext uri="{FF2B5EF4-FFF2-40B4-BE49-F238E27FC236}">
                <a16:creationId xmlns:a16="http://schemas.microsoft.com/office/drawing/2014/main" id="{C3350357-FE98-BA77-D1E7-03ED849D9780}"/>
              </a:ext>
            </a:extLst>
          </p:cNvPr>
          <p:cNvSpPr/>
          <p:nvPr/>
        </p:nvSpPr>
        <p:spPr>
          <a:xfrm>
            <a:off x="6492731" y="4154176"/>
            <a:ext cx="1567896"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a:solidFill>
                  <a:srgbClr val="000000"/>
                </a:solidFill>
                <a:latin typeface="Roboto" panose="02000000000000000000" pitchFamily="2" charset="0"/>
                <a:ea typeface="Roboto" panose="02000000000000000000" pitchFamily="2" charset="0"/>
              </a:rPr>
              <a:t>Compare allowed amounts to contracted rates; detect under/overpayment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Classify denials using CARC/RARC codes and payer message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Generate variance and denial worklists with supporting documentation.</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Suggest next-best actions (appeal, rebill, refund, write-off).</a:t>
            </a:r>
          </a:p>
        </p:txBody>
      </p:sp>
      <p:sp>
        <p:nvSpPr>
          <p:cNvPr id="24" name="Rectángulo: esquinas redondeadas 23">
            <a:extLst>
              <a:ext uri="{FF2B5EF4-FFF2-40B4-BE49-F238E27FC236}">
                <a16:creationId xmlns:a16="http://schemas.microsoft.com/office/drawing/2014/main" id="{0CAAEBA1-F090-1C1B-8CFF-A8657EEBF225}"/>
              </a:ext>
            </a:extLst>
          </p:cNvPr>
          <p:cNvSpPr/>
          <p:nvPr/>
        </p:nvSpPr>
        <p:spPr>
          <a:xfrm>
            <a:off x="8419882" y="4163036"/>
            <a:ext cx="1567896"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a:solidFill>
                  <a:srgbClr val="000000"/>
                </a:solidFill>
                <a:latin typeface="Roboto" panose="02000000000000000000" pitchFamily="2" charset="0"/>
                <a:ea typeface="Roboto" panose="02000000000000000000" pitchFamily="2" charset="0"/>
              </a:rPr>
              <a:t>Match total payments posted against the actual bank deposit amount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Investigate variances (e.g., missing ERAs, unapplied cash, misapplied check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Escalate discrepancies for correction or exception handling.</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Reconcile unapplied cash and ensure balances are allocated appropriately.</a:t>
            </a:r>
          </a:p>
        </p:txBody>
      </p:sp>
      <p:sp>
        <p:nvSpPr>
          <p:cNvPr id="25" name="Rectángulo: esquinas redondeadas 24">
            <a:extLst>
              <a:ext uri="{FF2B5EF4-FFF2-40B4-BE49-F238E27FC236}">
                <a16:creationId xmlns:a16="http://schemas.microsoft.com/office/drawing/2014/main" id="{CBEA97ED-789A-0AD7-DCE4-554ECB4D2400}"/>
              </a:ext>
            </a:extLst>
          </p:cNvPr>
          <p:cNvSpPr/>
          <p:nvPr/>
        </p:nvSpPr>
        <p:spPr>
          <a:xfrm>
            <a:off x="10116140" y="4163036"/>
            <a:ext cx="1567896" cy="2265791"/>
          </a:xfrm>
          <a:prstGeom prst="roundRect">
            <a:avLst/>
          </a:prstGeom>
          <a:solidFill>
            <a:schemeClr val="tx2">
              <a:lumMod val="10000"/>
              <a:lumOff val="90000"/>
            </a:schemeClr>
          </a:solidFill>
          <a:ln>
            <a:solidFill>
              <a:srgbClr val="F6F9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a:solidFill>
                  <a:srgbClr val="000000"/>
                </a:solidFill>
                <a:latin typeface="Roboto" panose="02000000000000000000" pitchFamily="2" charset="0"/>
                <a:ea typeface="Roboto" panose="02000000000000000000" pitchFamily="2" charset="0"/>
              </a:rPr>
              <a:t>Run daily cash posting and reconciliation report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Track payer trends in denials, under payments,or posting delays.</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Monitor exception queues and ensure timely resolution.</a:t>
            </a:r>
          </a:p>
          <a:p>
            <a:endParaRPr lang="en-US" sz="700">
              <a:solidFill>
                <a:srgbClr val="000000"/>
              </a:solidFill>
              <a:latin typeface="Roboto" panose="02000000000000000000" pitchFamily="2" charset="0"/>
              <a:ea typeface="Roboto" panose="02000000000000000000" pitchFamily="2" charset="0"/>
            </a:endParaRPr>
          </a:p>
          <a:p>
            <a:r>
              <a:rPr lang="en-US" sz="700">
                <a:solidFill>
                  <a:srgbClr val="000000"/>
                </a:solidFill>
                <a:latin typeface="Roboto" panose="02000000000000000000" pitchFamily="2" charset="0"/>
                <a:ea typeface="Roboto" panose="02000000000000000000" pitchFamily="2" charset="0"/>
              </a:rPr>
              <a:t>Provide leadership visibility into variances, exceptions, and workload volumes.</a:t>
            </a:r>
          </a:p>
        </p:txBody>
      </p:sp>
      <p:cxnSp>
        <p:nvCxnSpPr>
          <p:cNvPr id="7" name="Connector: Elbow 6">
            <a:extLst>
              <a:ext uri="{FF2B5EF4-FFF2-40B4-BE49-F238E27FC236}">
                <a16:creationId xmlns:a16="http://schemas.microsoft.com/office/drawing/2014/main" id="{9AF8CFCB-EC4E-978E-6645-78E8A3959CAB}"/>
              </a:ext>
            </a:extLst>
          </p:cNvPr>
          <p:cNvCxnSpPr>
            <a:cxnSpLocks/>
            <a:stCxn id="2" idx="2"/>
            <a:endCxn id="8" idx="0"/>
          </p:cNvCxnSpPr>
          <p:nvPr/>
        </p:nvCxnSpPr>
        <p:spPr>
          <a:xfrm rot="5400000">
            <a:off x="1058735" y="2091608"/>
            <a:ext cx="795247" cy="886488"/>
          </a:xfrm>
          <a:prstGeom prst="bentConnector3">
            <a:avLst>
              <a:gd name="adj1" fmla="val 70442"/>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33" name="Connector: Elbow 32">
            <a:extLst>
              <a:ext uri="{FF2B5EF4-FFF2-40B4-BE49-F238E27FC236}">
                <a16:creationId xmlns:a16="http://schemas.microsoft.com/office/drawing/2014/main" id="{29A8A70C-AF13-F5BB-DACB-A74992143400}"/>
              </a:ext>
            </a:extLst>
          </p:cNvPr>
          <p:cNvCxnSpPr>
            <a:cxnSpLocks/>
            <a:stCxn id="2" idx="2"/>
            <a:endCxn id="9" idx="0"/>
          </p:cNvCxnSpPr>
          <p:nvPr/>
        </p:nvCxnSpPr>
        <p:spPr>
          <a:xfrm rot="16200000" flipH="1">
            <a:off x="1921587" y="2115243"/>
            <a:ext cx="795247" cy="839217"/>
          </a:xfrm>
          <a:prstGeom prst="bentConnector3">
            <a:avLst>
              <a:gd name="adj1" fmla="val 70441"/>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17" name="Connector: Elbow 16">
            <a:extLst>
              <a:ext uri="{FF2B5EF4-FFF2-40B4-BE49-F238E27FC236}">
                <a16:creationId xmlns:a16="http://schemas.microsoft.com/office/drawing/2014/main" id="{42F25565-D820-B64F-CDF8-D759E4B5AF58}"/>
              </a:ext>
            </a:extLst>
          </p:cNvPr>
          <p:cNvCxnSpPr>
            <a:cxnSpLocks/>
            <a:stCxn id="13" idx="2"/>
            <a:endCxn id="24" idx="0"/>
          </p:cNvCxnSpPr>
          <p:nvPr/>
        </p:nvCxnSpPr>
        <p:spPr>
          <a:xfrm rot="5400000">
            <a:off x="9021469" y="3979892"/>
            <a:ext cx="365505" cy="78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30" name="Connector: Elbow 29">
            <a:extLst>
              <a:ext uri="{FF2B5EF4-FFF2-40B4-BE49-F238E27FC236}">
                <a16:creationId xmlns:a16="http://schemas.microsoft.com/office/drawing/2014/main" id="{4ABF3C50-ACD3-04A3-F51D-991E2A28BDEE}"/>
              </a:ext>
            </a:extLst>
          </p:cNvPr>
          <p:cNvCxnSpPr>
            <a:cxnSpLocks/>
          </p:cNvCxnSpPr>
          <p:nvPr/>
        </p:nvCxnSpPr>
        <p:spPr>
          <a:xfrm flipH="1">
            <a:off x="4856471" y="2137227"/>
            <a:ext cx="2526" cy="795248"/>
          </a:xfrm>
          <a:prstGeom prst="bentConnector3">
            <a:avLst>
              <a:gd name="adj1" fmla="val 70441"/>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31" name="Connector: Elbow 30">
            <a:extLst>
              <a:ext uri="{FF2B5EF4-FFF2-40B4-BE49-F238E27FC236}">
                <a16:creationId xmlns:a16="http://schemas.microsoft.com/office/drawing/2014/main" id="{D1F8C501-22E3-FB79-9061-C1E61BF5AF10}"/>
              </a:ext>
            </a:extLst>
          </p:cNvPr>
          <p:cNvCxnSpPr>
            <a:cxnSpLocks/>
          </p:cNvCxnSpPr>
          <p:nvPr/>
        </p:nvCxnSpPr>
        <p:spPr>
          <a:xfrm flipH="1">
            <a:off x="7275378" y="2146087"/>
            <a:ext cx="2526" cy="795248"/>
          </a:xfrm>
          <a:prstGeom prst="bentConnector3">
            <a:avLst>
              <a:gd name="adj1" fmla="val 70441"/>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35" name="Connector: Elbow 34">
            <a:extLst>
              <a:ext uri="{FF2B5EF4-FFF2-40B4-BE49-F238E27FC236}">
                <a16:creationId xmlns:a16="http://schemas.microsoft.com/office/drawing/2014/main" id="{67F85B01-B236-E09F-457F-F952BCA2C7BE}"/>
              </a:ext>
            </a:extLst>
          </p:cNvPr>
          <p:cNvCxnSpPr>
            <a:cxnSpLocks/>
          </p:cNvCxnSpPr>
          <p:nvPr/>
        </p:nvCxnSpPr>
        <p:spPr>
          <a:xfrm rot="5400000">
            <a:off x="9210362" y="2118189"/>
            <a:ext cx="795247" cy="886488"/>
          </a:xfrm>
          <a:prstGeom prst="bentConnector3">
            <a:avLst>
              <a:gd name="adj1" fmla="val 70442"/>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36" name="Connector: Elbow 35">
            <a:extLst>
              <a:ext uri="{FF2B5EF4-FFF2-40B4-BE49-F238E27FC236}">
                <a16:creationId xmlns:a16="http://schemas.microsoft.com/office/drawing/2014/main" id="{ADE38C95-B1C8-97B1-926E-C433A440EC14}"/>
              </a:ext>
            </a:extLst>
          </p:cNvPr>
          <p:cNvCxnSpPr>
            <a:cxnSpLocks/>
          </p:cNvCxnSpPr>
          <p:nvPr/>
        </p:nvCxnSpPr>
        <p:spPr>
          <a:xfrm rot="16200000" flipH="1">
            <a:off x="10073214" y="2141823"/>
            <a:ext cx="795247" cy="839217"/>
          </a:xfrm>
          <a:prstGeom prst="bentConnector3">
            <a:avLst>
              <a:gd name="adj1" fmla="val 70441"/>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FBE50FF8-6243-4C41-9C45-E8B48B06A409}"/>
              </a:ext>
            </a:extLst>
          </p:cNvPr>
          <p:cNvCxnSpPr/>
          <p:nvPr/>
        </p:nvCxnSpPr>
        <p:spPr>
          <a:xfrm flipV="1">
            <a:off x="2618756" y="1673185"/>
            <a:ext cx="1515092" cy="1585"/>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68BC59E8-5C1B-00A7-12CB-442810474943}"/>
              </a:ext>
            </a:extLst>
          </p:cNvPr>
          <p:cNvCxnSpPr>
            <a:cxnSpLocks/>
          </p:cNvCxnSpPr>
          <p:nvPr/>
        </p:nvCxnSpPr>
        <p:spPr>
          <a:xfrm flipV="1">
            <a:off x="5572880" y="1676019"/>
            <a:ext cx="978408" cy="1584"/>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53E593F3-00E2-A954-9EEB-078A490BB402}"/>
              </a:ext>
            </a:extLst>
          </p:cNvPr>
          <p:cNvCxnSpPr>
            <a:cxnSpLocks/>
          </p:cNvCxnSpPr>
          <p:nvPr/>
        </p:nvCxnSpPr>
        <p:spPr>
          <a:xfrm flipV="1">
            <a:off x="7997058" y="1673184"/>
            <a:ext cx="1329731" cy="1584"/>
          </a:xfrm>
          <a:prstGeom prst="straightConnector1">
            <a:avLst/>
          </a:prstGeom>
          <a:ln w="47625">
            <a:solidFill>
              <a:srgbClr val="DCEBFF"/>
            </a:solidFill>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38" name="Connector: Elbow 37">
            <a:extLst>
              <a:ext uri="{FF2B5EF4-FFF2-40B4-BE49-F238E27FC236}">
                <a16:creationId xmlns:a16="http://schemas.microsoft.com/office/drawing/2014/main" id="{B9D6216F-4EE7-42A8-C131-82BCBDD31824}"/>
              </a:ext>
            </a:extLst>
          </p:cNvPr>
          <p:cNvCxnSpPr>
            <a:cxnSpLocks/>
          </p:cNvCxnSpPr>
          <p:nvPr/>
        </p:nvCxnSpPr>
        <p:spPr>
          <a:xfrm rot="5400000">
            <a:off x="10717726" y="3970771"/>
            <a:ext cx="365505" cy="78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0" name="Connector: Elbow 39">
            <a:extLst>
              <a:ext uri="{FF2B5EF4-FFF2-40B4-BE49-F238E27FC236}">
                <a16:creationId xmlns:a16="http://schemas.microsoft.com/office/drawing/2014/main" id="{855F05D1-0500-1DA5-7640-0A3F6CCC9D89}"/>
              </a:ext>
            </a:extLst>
          </p:cNvPr>
          <p:cNvCxnSpPr>
            <a:cxnSpLocks/>
          </p:cNvCxnSpPr>
          <p:nvPr/>
        </p:nvCxnSpPr>
        <p:spPr>
          <a:xfrm rot="5400000">
            <a:off x="829970" y="3970772"/>
            <a:ext cx="365505" cy="78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1" name="Connector: Elbow 40">
            <a:extLst>
              <a:ext uri="{FF2B5EF4-FFF2-40B4-BE49-F238E27FC236}">
                <a16:creationId xmlns:a16="http://schemas.microsoft.com/office/drawing/2014/main" id="{832F0D61-1928-119E-D879-E18947C5FF3D}"/>
              </a:ext>
            </a:extLst>
          </p:cNvPr>
          <p:cNvCxnSpPr>
            <a:cxnSpLocks/>
          </p:cNvCxnSpPr>
          <p:nvPr/>
        </p:nvCxnSpPr>
        <p:spPr>
          <a:xfrm rot="5400000">
            <a:off x="2556457" y="3979893"/>
            <a:ext cx="365505" cy="78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4" name="Connector: Elbow 43">
            <a:extLst>
              <a:ext uri="{FF2B5EF4-FFF2-40B4-BE49-F238E27FC236}">
                <a16:creationId xmlns:a16="http://schemas.microsoft.com/office/drawing/2014/main" id="{6A7E396B-AAF2-3ABB-C96E-872ADDE2A656}"/>
              </a:ext>
            </a:extLst>
          </p:cNvPr>
          <p:cNvCxnSpPr>
            <a:cxnSpLocks/>
          </p:cNvCxnSpPr>
          <p:nvPr/>
        </p:nvCxnSpPr>
        <p:spPr>
          <a:xfrm rot="5400000">
            <a:off x="4673327" y="3965118"/>
            <a:ext cx="365505" cy="78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cxnSp>
        <p:nvCxnSpPr>
          <p:cNvPr id="48" name="Connector: Elbow 47">
            <a:extLst>
              <a:ext uri="{FF2B5EF4-FFF2-40B4-BE49-F238E27FC236}">
                <a16:creationId xmlns:a16="http://schemas.microsoft.com/office/drawing/2014/main" id="{B6B316C5-3890-618F-9EC7-FA4799E173D4}"/>
              </a:ext>
            </a:extLst>
          </p:cNvPr>
          <p:cNvCxnSpPr>
            <a:cxnSpLocks/>
          </p:cNvCxnSpPr>
          <p:nvPr/>
        </p:nvCxnSpPr>
        <p:spPr>
          <a:xfrm rot="5400000">
            <a:off x="7092234" y="3979893"/>
            <a:ext cx="365505" cy="782"/>
          </a:xfrm>
          <a:prstGeom prst="bentConnector3">
            <a:avLst>
              <a:gd name="adj1" fmla="val 50000"/>
            </a:avLst>
          </a:prstGeom>
          <a:ln w="47625">
            <a:solidFill>
              <a:srgbClr val="DCEBFF"/>
            </a:solidFill>
            <a:tailEnd type="triangle"/>
          </a:ln>
          <a:effectLst>
            <a:outerShdw>
              <a:srgbClr val="000000"/>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41413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7673E-AC7B-1C0D-62D5-9131B39C763A}"/>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49CE1208-D810-6803-7EF1-8BF8D1B71492}"/>
              </a:ext>
            </a:extLst>
          </p:cNvPr>
          <p:cNvSpPr/>
          <p:nvPr/>
        </p:nvSpPr>
        <p:spPr>
          <a:xfrm>
            <a:off x="534186" y="458101"/>
            <a:ext cx="9451478" cy="523220"/>
          </a:xfrm>
          <a:prstGeom prst="rect">
            <a:avLst/>
          </a:prstGeom>
          <a:noFill/>
        </p:spPr>
        <p:txBody>
          <a:bodyPr wrap="square" lIns="91440" tIns="45720" rIns="91440" bIns="45720" anchor="t">
            <a:spAutoFit/>
          </a:bodyPr>
          <a:lstStyle/>
          <a:p>
            <a:r>
              <a:rPr lang="en-US" sz="2800">
                <a:solidFill>
                  <a:srgbClr val="FF0000"/>
                </a:solidFill>
                <a:latin typeface="Roboto medium"/>
                <a:ea typeface="Roboto medium"/>
                <a:cs typeface="Roboto medium"/>
              </a:rPr>
              <a:t>Demonstration of Payment Posting Agent</a:t>
            </a:r>
            <a:endParaRPr lang="en-US" sz="2800" cap="none" spc="0">
              <a:solidFill>
                <a:srgbClr val="FF0000"/>
              </a:solidFill>
              <a:effectLst/>
              <a:latin typeface="Roboto" panose="02000000000000000000" pitchFamily="2" charset="0"/>
              <a:ea typeface="Roboto" panose="02000000000000000000" pitchFamily="2" charset="0"/>
              <a:cs typeface="Roboto medium"/>
            </a:endParaRPr>
          </a:p>
        </p:txBody>
      </p:sp>
      <p:pic>
        <p:nvPicPr>
          <p:cNvPr id="12" name="Payment Posting Agentic Demo - Webinar AcceliHealth">
            <a:hlinkClick r:id="" action="ppaction://media"/>
            <a:extLst>
              <a:ext uri="{FF2B5EF4-FFF2-40B4-BE49-F238E27FC236}">
                <a16:creationId xmlns:a16="http://schemas.microsoft.com/office/drawing/2014/main" id="{D4C6B3B3-D2E4-2308-D7AA-30C9953CADA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0261" y="1083442"/>
            <a:ext cx="9451478" cy="5316457"/>
          </a:xfrm>
          <a:prstGeom prst="rect">
            <a:avLst/>
          </a:prstGeom>
        </p:spPr>
      </p:pic>
    </p:spTree>
    <p:extLst>
      <p:ext uri="{BB962C8B-B14F-4D97-AF65-F5344CB8AC3E}">
        <p14:creationId xmlns:p14="http://schemas.microsoft.com/office/powerpoint/2010/main" val="3031862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211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7jmw6FH3kS2En6ST3Zw_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PdeO8Pxk0GJBtwo8kAD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xSi3mxFZ0Clbm3zxPEj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ridecFJvkK3bSmqpC5l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MIy6rJSVUq5rQNzp8R2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jmw6FH3kS2En6ST3Zw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PdeO8Pxk0GJBtwo8kAD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xSi3mxFZ0Clbm3zxPEj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ridecFJvkK3bSmqpC5l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MIy6rJSVUq5rQNzp8R2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7jmw6FH3kS2En6ST3Zw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PdeO8Pxk0GJBtwo8kAD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xSi3mxFZ0Clbm3zxPEj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SPHAUs4Umi64bxxgOS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ridecFJvkK3bSmqpC5l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MIy6rJSVUq5rQNzp8R2h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03EB6BFD620F468355CD36DB6287FC" ma:contentTypeVersion="27" ma:contentTypeDescription="Create a new document." ma:contentTypeScope="" ma:versionID="41e4394d18138d8f7fff21476d31dfc0">
  <xsd:schema xmlns:xsd="http://www.w3.org/2001/XMLSchema" xmlns:xs="http://www.w3.org/2001/XMLSchema" xmlns:p="http://schemas.microsoft.com/office/2006/metadata/properties" xmlns:ns1="http://schemas.microsoft.com/sharepoint/v3" xmlns:ns2="66715d66-da05-496c-95a9-0030c62daf33" xmlns:ns3="e3f7ba95-cda1-4116-9117-cdcdbf8868d9" targetNamespace="http://schemas.microsoft.com/office/2006/metadata/properties" ma:root="true" ma:fieldsID="bb63628a8c8c404470d9f35a5bb04bc2" ns1:_="" ns2:_="" ns3:_="">
    <xsd:import namespace="http://schemas.microsoft.com/sharepoint/v3"/>
    <xsd:import namespace="66715d66-da05-496c-95a9-0030c62daf33"/>
    <xsd:import namespace="e3f7ba95-cda1-4116-9117-cdcdbf8868d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Completed24Websitemodules_x002e_" minOccurs="0"/>
                <xsd:element ref="ns1:_ip_UnifiedCompliancePolicyProperties" minOccurs="0"/>
                <xsd:element ref="ns1:_ip_UnifiedCompliancePolicyUIAction"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DateHandedtoSupport" minOccurs="0"/>
                <xsd:element ref="ns2:MediaServiceSearchProperties" minOccurs="0"/>
                <xsd:element ref="ns2:Desc_x002e_"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6715d66-da05-496c-95a9-0030c62daf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Completed24Websitemodules_x002e_" ma:index="19" nillable="true" ma:displayName="Notes" ma:format="Dropdown" ma:internalName="Completed24Websitemodules_x002e_">
      <xsd:simpleType>
        <xsd:restriction base="dms:Text">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b5f313a6-e7eb-49fc-89c1-151ad4024d5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Location" ma:index="27" nillable="true" ma:displayName="Location" ma:description="" ma:indexed="true" ma:internalName="MediaServiceLocation" ma:readOnly="true">
      <xsd:simpleType>
        <xsd:restriction base="dms:Text"/>
      </xsd:simpleType>
    </xsd:element>
    <xsd:element name="DateHandedtoSupport" ma:index="28" nillable="true" ma:displayName="Date Handed to Support" ma:description="The official date the process was transitioned to support." ma:format="DateOnly" ma:internalName="DateHandedtoSupport">
      <xsd:simpleType>
        <xsd:restriction base="dms:DateTime"/>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Desc_x002e_" ma:index="30" nillable="true" ma:displayName="Desc." ma:description="Template" ma:format="Dropdown" ma:internalName="Desc_x002e_">
      <xsd:simpleType>
        <xsd:restriction base="dms:Note">
          <xsd:maxLength value="255"/>
        </xsd:restriction>
      </xsd:simpleType>
    </xsd:element>
    <xsd:element name="MediaServiceBillingMetadata" ma:index="3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3f7ba95-cda1-4116-9117-cdcdbf8868d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1b6605a8-8133-437d-969c-a8e2d63b957f}" ma:internalName="TaxCatchAll" ma:showField="CatchAllData" ma:web="e3f7ba95-cda1-4116-9117-cdcdbf8868d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e3f7ba95-cda1-4116-9117-cdcdbf8868d9" xsi:nil="true"/>
    <lcf76f155ced4ddcb4097134ff3c332f xmlns="66715d66-da05-496c-95a9-0030c62daf33">
      <Terms xmlns="http://schemas.microsoft.com/office/infopath/2007/PartnerControls"/>
    </lcf76f155ced4ddcb4097134ff3c332f>
    <_ip_UnifiedCompliancePolicyProperties xmlns="http://schemas.microsoft.com/sharepoint/v3" xsi:nil="true"/>
    <Completed24Websitemodules_x002e_ xmlns="66715d66-da05-496c-95a9-0030c62daf33" xsi:nil="true"/>
    <DateHandedtoSupport xmlns="66715d66-da05-496c-95a9-0030c62daf33" xsi:nil="true"/>
    <Desc_x002e_ xmlns="66715d66-da05-496c-95a9-0030c62daf3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D97AA2-4ED3-4994-8F67-4982F077CFDB}">
  <ds:schemaRefs>
    <ds:schemaRef ds:uri="66715d66-da05-496c-95a9-0030c62daf33"/>
    <ds:schemaRef ds:uri="e3f7ba95-cda1-4116-9117-cdcdbf8868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0A4DFF8-7D89-4A4C-9EF4-C079F4A20471}">
  <ds:schemaRefs>
    <ds:schemaRef ds:uri="e3f7ba95-cda1-4116-9117-cdcdbf8868d9"/>
    <ds:schemaRef ds:uri="http://schemas.microsoft.com/office/2006/documentManagement/types"/>
    <ds:schemaRef ds:uri="http://purl.org/dc/elements/1.1/"/>
    <ds:schemaRef ds:uri="http://schemas.openxmlformats.org/package/2006/metadata/core-properties"/>
    <ds:schemaRef ds:uri="http://www.w3.org/XML/1998/namespace"/>
    <ds:schemaRef ds:uri="http://schemas.microsoft.com/sharepoint/v3"/>
    <ds:schemaRef ds:uri="http://purl.org/dc/terms/"/>
    <ds:schemaRef ds:uri="http://schemas.microsoft.com/office/infopath/2007/PartnerControls"/>
    <ds:schemaRef ds:uri="66715d66-da05-496c-95a9-0030c62daf33"/>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94CAB38A-8C26-406A-BD6E-E270B6012AF5}">
  <ds:schemaRefs>
    <ds:schemaRef ds:uri="http://schemas.microsoft.com/sharepoint/v3/contenttype/forms"/>
  </ds:schemaRefs>
</ds:datastoreItem>
</file>

<file path=docMetadata/LabelInfo.xml><?xml version="1.0" encoding="utf-8"?>
<clbl:labelList xmlns:clbl="http://schemas.microsoft.com/office/2020/mipLabelMetadata">
  <clbl:label id="{9cf9babb-7d7d-4d1c-be6e-2b6d5d928bb6}" enabled="0" method="" siteId="{9cf9babb-7d7d-4d1c-be6e-2b6d5d928bb6}" removed="1"/>
</clbl:labelList>
</file>

<file path=docProps/app.xml><?xml version="1.0" encoding="utf-8"?>
<Properties xmlns="http://schemas.openxmlformats.org/officeDocument/2006/extended-properties" xmlns:vt="http://schemas.openxmlformats.org/officeDocument/2006/docPropsVTypes">
  <TotalTime>0</TotalTime>
  <Words>2892</Words>
  <Application>Microsoft Office PowerPoint</Application>
  <PresentationFormat>Widescreen</PresentationFormat>
  <Paragraphs>423</Paragraphs>
  <Slides>15</Slides>
  <Notes>9</Notes>
  <HiddenSlides>0</HiddenSlides>
  <MMClips>1</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5</vt:i4>
      </vt:variant>
    </vt:vector>
  </HeadingPairs>
  <TitlesOfParts>
    <vt:vector size="25" baseType="lpstr">
      <vt:lpstr>Aptos</vt:lpstr>
      <vt:lpstr>Aptos Display</vt:lpstr>
      <vt:lpstr>Arial</vt:lpstr>
      <vt:lpstr>Calibri</vt:lpstr>
      <vt:lpstr>Noto Sans Symbols</vt:lpstr>
      <vt:lpstr>Roboto</vt:lpstr>
      <vt:lpstr>Roboto Medium</vt:lpstr>
      <vt:lpstr>Roboto Medium</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riyanshu Mahajan</dc:creator>
  <cp:lastModifiedBy>Aaron Arsenault</cp:lastModifiedBy>
  <cp:revision>1</cp:revision>
  <dcterms:created xsi:type="dcterms:W3CDTF">2025-02-25T08:00:36Z</dcterms:created>
  <dcterms:modified xsi:type="dcterms:W3CDTF">2025-09-26T21:1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03EB6BFD620F468355CD36DB6287FC</vt:lpwstr>
  </property>
  <property fmtid="{D5CDD505-2E9C-101B-9397-08002B2CF9AE}" pid="3" name="MediaServiceImageTags">
    <vt:lpwstr/>
  </property>
</Properties>
</file>